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0.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3.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5.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7.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8.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9.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20.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21.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19" r:id="rId6"/>
    <p:sldMasterId id="2147483733" r:id="rId7"/>
    <p:sldMasterId id="2147483746" r:id="rId8"/>
    <p:sldMasterId id="2147483754" r:id="rId9"/>
    <p:sldMasterId id="2147483780" r:id="rId10"/>
    <p:sldMasterId id="2147483823" r:id="rId11"/>
    <p:sldMasterId id="2147483838" r:id="rId12"/>
    <p:sldMasterId id="2147483851" r:id="rId13"/>
    <p:sldMasterId id="2147483861" r:id="rId14"/>
    <p:sldMasterId id="2147483887" r:id="rId15"/>
    <p:sldMasterId id="2147483902" r:id="rId16"/>
    <p:sldMasterId id="2147483928" r:id="rId17"/>
    <p:sldMasterId id="2147483932" r:id="rId18"/>
    <p:sldMasterId id="2147483944" r:id="rId19"/>
    <p:sldMasterId id="2147483979" r:id="rId20"/>
    <p:sldMasterId id="2147484001" r:id="rId21"/>
    <p:sldMasterId id="2147484019" r:id="rId22"/>
    <p:sldMasterId id="2147484042" r:id="rId23"/>
    <p:sldMasterId id="2147484080" r:id="rId24"/>
    <p:sldMasterId id="2147484110" r:id="rId25"/>
  </p:sldMasterIdLst>
  <p:notesMasterIdLst>
    <p:notesMasterId r:id="rId47"/>
  </p:notesMasterIdLst>
  <p:sldIdLst>
    <p:sldId id="2147472549" r:id="rId26"/>
    <p:sldId id="2147472623" r:id="rId27"/>
    <p:sldId id="2147472685" r:id="rId28"/>
    <p:sldId id="272" r:id="rId29"/>
    <p:sldId id="2147472689" r:id="rId30"/>
    <p:sldId id="2147472694" r:id="rId31"/>
    <p:sldId id="2147472684" r:id="rId32"/>
    <p:sldId id="263" r:id="rId33"/>
    <p:sldId id="2147472677" r:id="rId34"/>
    <p:sldId id="2147472681" r:id="rId35"/>
    <p:sldId id="2147472640" r:id="rId36"/>
    <p:sldId id="2147472638" r:id="rId37"/>
    <p:sldId id="2147472637" r:id="rId38"/>
    <p:sldId id="2147472639" r:id="rId39"/>
    <p:sldId id="2147472672" r:id="rId40"/>
    <p:sldId id="2147472687" r:id="rId41"/>
    <p:sldId id="2147472679" r:id="rId42"/>
    <p:sldId id="2147472680" r:id="rId43"/>
    <p:sldId id="2147472678" r:id="rId44"/>
    <p:sldId id="2147472634" r:id="rId45"/>
    <p:sldId id="2147472625" r:id="rId46"/>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6CFDC1-0DEC-CED9-363D-5E553E4F504E}" name="Mauricio De Paula" initials="MDP" userId="S::Mauricio.DePaulaAvelino@fit-tecnologia.org.br::748950d3-5321-4232-82fe-1f7fda4dd93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sue Graton" initials="JG" lastIdx="1" clrIdx="0">
    <p:extLst>
      <p:ext uri="{19B8F6BF-5375-455C-9EA6-DF929625EA0E}">
        <p15:presenceInfo xmlns:p15="http://schemas.microsoft.com/office/powerpoint/2012/main" userId="S::Josue.Graton@fit-tecnologia.org.br::d2c19b82-8b0d-41e8-9244-bf6e8e692e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3F5F8"/>
    <a:srgbClr val="F0F1F4"/>
    <a:srgbClr val="8DCFEF"/>
    <a:srgbClr val="E9ECF4"/>
    <a:srgbClr val="009ADD"/>
    <a:srgbClr val="000532"/>
    <a:srgbClr val="FF55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05" autoAdjust="0"/>
    <p:restoredTop sz="93792" autoAdjust="0"/>
  </p:normalViewPr>
  <p:slideViewPr>
    <p:cSldViewPr snapToGrid="0">
      <p:cViewPr varScale="1">
        <p:scale>
          <a:sx n="66" d="100"/>
          <a:sy n="66" d="100"/>
        </p:scale>
        <p:origin x="616" y="32"/>
      </p:cViewPr>
      <p:guideLst/>
    </p:cSldViewPr>
  </p:slideViewPr>
  <p:notesTextViewPr>
    <p:cViewPr>
      <p:scale>
        <a:sx n="3" d="2"/>
        <a:sy n="3" d="2"/>
      </p:scale>
      <p:origin x="0" y="0"/>
    </p:cViewPr>
  </p:notesTextViewPr>
  <p:sorterViewPr>
    <p:cViewPr>
      <p:scale>
        <a:sx n="100" d="100"/>
        <a:sy n="100" d="100"/>
      </p:scale>
      <p:origin x="0" y="-279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20" Type="http://schemas.openxmlformats.org/officeDocument/2006/relationships/slideMaster" Target="slideMasters/slideMaster17.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A8E566-8706-4DC7-B4A9-61DED25F77B6}" type="datetimeFigureOut">
              <a:rPr lang="pt-BR" smtClean="0"/>
              <a:t>30/09/2024</a:t>
            </a:fld>
            <a:endParaRPr lang="pt-B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1DB814-7C62-485D-B1ED-0856C7A15F97}" type="slidenum">
              <a:rPr lang="pt-BR" smtClean="0"/>
              <a:t>‹#›</a:t>
            </a:fld>
            <a:endParaRPr lang="pt-BR"/>
          </a:p>
        </p:txBody>
      </p:sp>
    </p:spTree>
    <p:extLst>
      <p:ext uri="{BB962C8B-B14F-4D97-AF65-F5344CB8AC3E}">
        <p14:creationId xmlns:p14="http://schemas.microsoft.com/office/powerpoint/2010/main" val="9549403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TBH – Estagiario</a:t>
            </a:r>
          </a:p>
          <a:p>
            <a:endParaRPr lang="en-US"/>
          </a:p>
          <a:p>
            <a:r>
              <a:rPr lang="en-US"/>
              <a:t>8</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Deixar a apresentação + Fluida e contando uma história</a:t>
            </a:r>
          </a:p>
        </p:txBody>
      </p:sp>
      <p:sp>
        <p:nvSpPr>
          <p:cNvPr id="4" name="Slide Number Placeholder 3"/>
          <p:cNvSpPr>
            <a:spLocks noGrp="1"/>
          </p:cNvSpPr>
          <p:nvPr>
            <p:ph type="sldNum" sz="quarter" idx="5"/>
          </p:nvPr>
        </p:nvSpPr>
        <p:spPr/>
        <p:txBody>
          <a:bodyPr/>
          <a:lstStyle/>
          <a:p>
            <a:fld id="{B91DB814-7C62-485D-B1ED-0856C7A15F97}" type="slidenum">
              <a:rPr lang="pt-BR" smtClean="0"/>
              <a:t>21</a:t>
            </a:fld>
            <a:endParaRPr lang="pt-BR"/>
          </a:p>
        </p:txBody>
      </p:sp>
    </p:spTree>
    <p:extLst>
      <p:ext uri="{BB962C8B-B14F-4D97-AF65-F5344CB8AC3E}">
        <p14:creationId xmlns:p14="http://schemas.microsoft.com/office/powerpoint/2010/main" val="2358752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47.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48.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49.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0.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5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4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2.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6.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8.xml"/><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9.xml"/><Relationship Id="rId4" Type="http://schemas.openxmlformats.org/officeDocument/2006/relationships/image" Target="../media/image3.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9.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9.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22.emf"/></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emf"/><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emf"/><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25.emf"/></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2.xml"/><Relationship Id="rId4" Type="http://schemas.openxmlformats.org/officeDocument/2006/relationships/image" Target="../media/image26.emf"/></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2.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2.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2.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2.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75.jpe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6.xml"/><Relationship Id="rId7" Type="http://schemas.openxmlformats.org/officeDocument/2006/relationships/image" Target="../media/image78.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7.emf"/><Relationship Id="rId5" Type="http://schemas.openxmlformats.org/officeDocument/2006/relationships/oleObject" Target="../embeddings/oleObject3.bin"/><Relationship Id="rId4"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5.png"/><Relationship Id="rId2" Type="http://schemas.openxmlformats.org/officeDocument/2006/relationships/image" Target="../media/image74.png"/><Relationship Id="rId1" Type="http://schemas.openxmlformats.org/officeDocument/2006/relationships/slideMaster" Target="../slideMasters/slideMaster13.xml"/><Relationship Id="rId6" Type="http://schemas.openxmlformats.org/officeDocument/2006/relationships/image" Target="../media/image84.svg"/><Relationship Id="rId5" Type="http://schemas.openxmlformats.org/officeDocument/2006/relationships/image" Target="../media/image2.png"/><Relationship Id="rId4" Type="http://schemas.openxmlformats.org/officeDocument/2006/relationships/image" Target="../media/image83.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85.png"/><Relationship Id="rId2" Type="http://schemas.openxmlformats.org/officeDocument/2006/relationships/image" Target="../media/image74.png"/><Relationship Id="rId1" Type="http://schemas.openxmlformats.org/officeDocument/2006/relationships/slideMaster" Target="../slideMasters/slideMaster13.xml"/><Relationship Id="rId6" Type="http://schemas.openxmlformats.org/officeDocument/2006/relationships/image" Target="../media/image84.svg"/><Relationship Id="rId5" Type="http://schemas.openxmlformats.org/officeDocument/2006/relationships/image" Target="../media/image2.png"/><Relationship Id="rId4" Type="http://schemas.openxmlformats.org/officeDocument/2006/relationships/image" Target="../media/image86.jpeg"/></Relationships>
</file>

<file path=ppt/slideLayouts/_rels/slideLayout2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3.xml"/><Relationship Id="rId5" Type="http://schemas.openxmlformats.org/officeDocument/2006/relationships/image" Target="../media/image87.svg"/><Relationship Id="rId4" Type="http://schemas.openxmlformats.org/officeDocument/2006/relationships/image" Target="../media/image2.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3.xml"/><Relationship Id="rId5" Type="http://schemas.openxmlformats.org/officeDocument/2006/relationships/image" Target="../media/image89.svg"/><Relationship Id="rId4" Type="http://schemas.openxmlformats.org/officeDocument/2006/relationships/image" Target="../media/image88.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90.png"/><Relationship Id="rId1" Type="http://schemas.openxmlformats.org/officeDocument/2006/relationships/slideMaster" Target="../slideMasters/slideMaster1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3.xml"/><Relationship Id="rId5" Type="http://schemas.openxmlformats.org/officeDocument/2006/relationships/image" Target="../media/image94.svg"/><Relationship Id="rId4" Type="http://schemas.openxmlformats.org/officeDocument/2006/relationships/image" Target="../media/image9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Master" Target="../slideMasters/slideMaster1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3.xml"/><Relationship Id="rId5" Type="http://schemas.openxmlformats.org/officeDocument/2006/relationships/image" Target="../media/image98.svg"/><Relationship Id="rId4" Type="http://schemas.openxmlformats.org/officeDocument/2006/relationships/image" Target="../media/image97.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99.png"/><Relationship Id="rId1" Type="http://schemas.openxmlformats.org/officeDocument/2006/relationships/slideMaster" Target="../slideMasters/slideMaster1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3.xml"/><Relationship Id="rId5" Type="http://schemas.openxmlformats.org/officeDocument/2006/relationships/image" Target="../media/image102.svg"/><Relationship Id="rId4" Type="http://schemas.openxmlformats.org/officeDocument/2006/relationships/image" Target="../media/image101.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Master" Target="../slideMasters/slideMaster1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3.xml"/><Relationship Id="rId5" Type="http://schemas.openxmlformats.org/officeDocument/2006/relationships/image" Target="../media/image106.svg"/><Relationship Id="rId4" Type="http://schemas.openxmlformats.org/officeDocument/2006/relationships/image" Target="../media/image105.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08.svg"/><Relationship Id="rId2" Type="http://schemas.openxmlformats.org/officeDocument/2006/relationships/image" Target="../media/image107.png"/><Relationship Id="rId1" Type="http://schemas.openxmlformats.org/officeDocument/2006/relationships/slideMaster" Target="../slideMasters/slideMaster1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9.png"/><Relationship Id="rId1" Type="http://schemas.openxmlformats.org/officeDocument/2006/relationships/slideMaster" Target="../slideMasters/slideMaster13.xml"/><Relationship Id="rId4" Type="http://schemas.openxmlformats.org/officeDocument/2006/relationships/image" Target="../media/image3.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10.emf"/></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5.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6.xml"/><Relationship Id="rId4" Type="http://schemas.openxmlformats.org/officeDocument/2006/relationships/image" Target="../media/image3.sv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image" Target="../media/image111.png"/><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6.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6.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115.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115.png"/></Relationships>
</file>

<file path=ppt/slideLayouts/_rels/slideLayout2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Master" Target="../slideMasters/slideMaster16.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17.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7.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 Id="rId4" Type="http://schemas.openxmlformats.org/officeDocument/2006/relationships/image" Target="../media/image117.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emf"/><Relationship Id="rId1" Type="http://schemas.openxmlformats.org/officeDocument/2006/relationships/slideMaster" Target="../slideMasters/slideMaster17.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9.jpeg"/><Relationship Id="rId1" Type="http://schemas.openxmlformats.org/officeDocument/2006/relationships/slideMaster" Target="../slideMasters/slideMaster18.xml"/><Relationship Id="rId4" Type="http://schemas.openxmlformats.org/officeDocument/2006/relationships/image" Target="../media/image3.sv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20.png"/><Relationship Id="rId1" Type="http://schemas.openxmlformats.org/officeDocument/2006/relationships/slideMaster" Target="../slideMasters/slideMaster1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2.png"/><Relationship Id="rId1" Type="http://schemas.openxmlformats.org/officeDocument/2006/relationships/slideMaster" Target="../slideMasters/slideMaster18.xml"/><Relationship Id="rId4" Type="http://schemas.openxmlformats.org/officeDocument/2006/relationships/image" Target="../media/image5.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emf"/><Relationship Id="rId1" Type="http://schemas.openxmlformats.org/officeDocument/2006/relationships/slideMaster" Target="../slideMasters/slideMaster18.xml"/><Relationship Id="rId4" Type="http://schemas.openxmlformats.org/officeDocument/2006/relationships/image" Target="../media/image92.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8.xml"/><Relationship Id="rId5" Type="http://schemas.openxmlformats.org/officeDocument/2006/relationships/image" Target="../media/image124.svg"/><Relationship Id="rId4" Type="http://schemas.openxmlformats.org/officeDocument/2006/relationships/image" Target="../media/image123.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8.xml"/><Relationship Id="rId4" Type="http://schemas.openxmlformats.org/officeDocument/2006/relationships/image" Target="../media/image23.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8.xml"/><Relationship Id="rId4" Type="http://schemas.openxmlformats.org/officeDocument/2006/relationships/image" Target="../media/image22.emf"/></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9.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9.xml"/><Relationship Id="rId4" Type="http://schemas.openxmlformats.org/officeDocument/2006/relationships/image" Target="../media/image12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2.emf"/></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2.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Master" Target="../slideMasters/slideMaster20.xml"/><Relationship Id="rId5" Type="http://schemas.openxmlformats.org/officeDocument/2006/relationships/image" Target="../media/image133.png"/><Relationship Id="rId4" Type="http://schemas.openxmlformats.org/officeDocument/2006/relationships/image" Target="../media/image132.png"/></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35.svg"/><Relationship Id="rId2" Type="http://schemas.openxmlformats.org/officeDocument/2006/relationships/image" Target="../media/image134.png"/><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37.svg"/><Relationship Id="rId2" Type="http://schemas.openxmlformats.org/officeDocument/2006/relationships/image" Target="../media/image136.png"/><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5.emf"/></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1.png"/><Relationship Id="rId1" Type="http://schemas.openxmlformats.org/officeDocument/2006/relationships/slideMaster" Target="../slideMasters/slideMaster21.xml"/><Relationship Id="rId4" Type="http://schemas.openxmlformats.org/officeDocument/2006/relationships/image" Target="../media/image26.emf"/></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Master" Target="../slideMasters/slideMaster2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1.png"/><Relationship Id="rId1" Type="http://schemas.openxmlformats.org/officeDocument/2006/relationships/slideMaster" Target="../slideMasters/slideMaster22.xml"/><Relationship Id="rId4" Type="http://schemas.openxmlformats.org/officeDocument/2006/relationships/image" Target="../media/image26.emf"/></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26.emf"/><Relationship Id="rId4" Type="http://schemas.openxmlformats.org/officeDocument/2006/relationships/image" Target="../media/image28.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2.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30.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slideMaster" Target="../slideMasters/slideMaster5.xml"/><Relationship Id="rId9"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Master" Target="../slideMasters/slideMaster6.xml"/><Relationship Id="rId4" Type="http://schemas.openxmlformats.org/officeDocument/2006/relationships/image" Target="../media/image30.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emf"/><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emf"/><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25.emf"/></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9.jpg"/><Relationship Id="rId1" Type="http://schemas.openxmlformats.org/officeDocument/2006/relationships/slideMaster" Target="../slideMasters/slideMaster7.xml"/><Relationship Id="rId4" Type="http://schemas.openxmlformats.org/officeDocument/2006/relationships/image" Target="../media/image3.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solidFill>
                  <a:schemeClr val="tx1"/>
                </a:solidFill>
              </a:defRPr>
            </a:lvl1pPr>
          </a:lstStyle>
          <a:p>
            <a:r>
              <a:rPr lang="en-US" dirty="0"/>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475510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dirty="0">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1746190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_Connected dots">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9F7D64A2-62D5-4D71-A21A-3917D0F7AC9E}"/>
              </a:ext>
            </a:extLst>
          </p:cNvPr>
          <p:cNvPicPr>
            <a:picLocks noChangeAspect="1"/>
          </p:cNvPicPr>
          <p:nvPr userDrawn="1"/>
        </p:nvPicPr>
        <p:blipFill>
          <a:blip r:embed="rId2"/>
          <a:stretch>
            <a:fillRect/>
          </a:stretch>
        </p:blipFill>
        <p:spPr>
          <a:xfrm flipH="1">
            <a:off x="8348662" y="0"/>
            <a:ext cx="3843338" cy="6858000"/>
          </a:xfrm>
          <a:prstGeom prst="rect">
            <a:avLst/>
          </a:prstGeom>
        </p:spPr>
      </p:pic>
      <p:sp>
        <p:nvSpPr>
          <p:cNvPr id="6" name="Title 2">
            <a:extLst>
              <a:ext uri="{FF2B5EF4-FFF2-40B4-BE49-F238E27FC236}">
                <a16:creationId xmlns:a16="http://schemas.microsoft.com/office/drawing/2014/main" id="{5E415432-7644-4576-8081-D12D04B3B184}"/>
              </a:ext>
            </a:extLst>
          </p:cNvPr>
          <p:cNvSpPr>
            <a:spLocks noGrp="1"/>
          </p:cNvSpPr>
          <p:nvPr>
            <p:ph type="title" hasCustomPrompt="1"/>
          </p:nvPr>
        </p:nvSpPr>
        <p:spPr>
          <a:xfrm>
            <a:off x="617220" y="219456"/>
            <a:ext cx="10972800" cy="905256"/>
          </a:xfrm>
        </p:spPr>
        <p:txBody>
          <a:bodyPr anchor="b"/>
          <a:lstStyle>
            <a:lvl1pPr>
              <a:defRPr/>
            </a:lvl1pPr>
          </a:lstStyle>
          <a:p>
            <a:r>
              <a:rPr lang="en-US" dirty="0"/>
              <a:t>Click to edit your title</a:t>
            </a:r>
          </a:p>
        </p:txBody>
      </p:sp>
      <p:sp>
        <p:nvSpPr>
          <p:cNvPr id="9" name="Content Placeholder 2">
            <a:extLst>
              <a:ext uri="{FF2B5EF4-FFF2-40B4-BE49-F238E27FC236}">
                <a16:creationId xmlns:a16="http://schemas.microsoft.com/office/drawing/2014/main" id="{4E0B04BA-023D-43F9-A5EF-1F82243CF8A0}"/>
              </a:ext>
            </a:extLst>
          </p:cNvPr>
          <p:cNvSpPr>
            <a:spLocks noGrp="1"/>
          </p:cNvSpPr>
          <p:nvPr>
            <p:ph sz="quarter" idx="10" hasCustomPrompt="1"/>
          </p:nvPr>
        </p:nvSpPr>
        <p:spPr>
          <a:xfrm>
            <a:off x="617220" y="1543050"/>
            <a:ext cx="10972800" cy="4457700"/>
          </a:xfrm>
          <a:prstGeom prst="rect">
            <a:avLst/>
          </a:prstGeom>
        </p:spPr>
        <p:txBody>
          <a:bodyPr/>
          <a:lstStyle>
            <a:lvl1pPr>
              <a:defRPr sz="2100"/>
            </a:lvl1pPr>
          </a:lstStyle>
          <a:p>
            <a:pPr lvl="0"/>
            <a:r>
              <a:rPr lang="en-US" dirty="0"/>
              <a:t>1 | Agenda item one</a:t>
            </a:r>
          </a:p>
          <a:p>
            <a:pPr lvl="0"/>
            <a:r>
              <a:rPr lang="en-US" dirty="0"/>
              <a:t>2 | Agenda item two</a:t>
            </a:r>
          </a:p>
          <a:p>
            <a:pPr lvl="0"/>
            <a:r>
              <a:rPr lang="en-US" dirty="0"/>
              <a:t>3 | Agenda item three</a:t>
            </a:r>
          </a:p>
          <a:p>
            <a:pPr lvl="0"/>
            <a:r>
              <a:rPr lang="en-US" dirty="0"/>
              <a:t>4 | Agenda item four</a:t>
            </a:r>
          </a:p>
          <a:p>
            <a:pPr lvl="0"/>
            <a:r>
              <a:rPr lang="en-US" dirty="0"/>
              <a:t>5 | Agenda item five</a:t>
            </a:r>
          </a:p>
        </p:txBody>
      </p:sp>
      <p:pic>
        <p:nvPicPr>
          <p:cNvPr id="10" name="Picture 9" descr="Icon&#10;&#10;Description automatically generated with low confidence">
            <a:extLst>
              <a:ext uri="{FF2B5EF4-FFF2-40B4-BE49-F238E27FC236}">
                <a16:creationId xmlns:a16="http://schemas.microsoft.com/office/drawing/2014/main" id="{522B3D49-09D7-4BD9-A42B-C21EE5D9C22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585" t="12373" r="5847" b="10967"/>
          <a:stretch/>
        </p:blipFill>
        <p:spPr>
          <a:xfrm>
            <a:off x="10887421" y="6199744"/>
            <a:ext cx="694981" cy="313981"/>
          </a:xfrm>
          <a:prstGeom prst="rect">
            <a:avLst/>
          </a:prstGeom>
        </p:spPr>
      </p:pic>
      <p:sp>
        <p:nvSpPr>
          <p:cNvPr id="11" name="Footer Placeholder 3">
            <a:extLst>
              <a:ext uri="{FF2B5EF4-FFF2-40B4-BE49-F238E27FC236}">
                <a16:creationId xmlns:a16="http://schemas.microsoft.com/office/drawing/2014/main" id="{D4A0A9AD-346B-4566-88C3-025EBEA0C067}"/>
              </a:ext>
            </a:extLst>
          </p:cNvPr>
          <p:cNvSpPr>
            <a:spLocks noGrp="1"/>
          </p:cNvSpPr>
          <p:nvPr>
            <p:ph type="ftr" sz="quarter" idx="11"/>
          </p:nvPr>
        </p:nvSpPr>
        <p:spPr>
          <a:xfrm>
            <a:off x="1127760" y="6356747"/>
            <a:ext cx="4114800" cy="342900"/>
          </a:xfrm>
          <a:prstGeom prst="rect">
            <a:avLst/>
          </a:prstGeom>
        </p:spPr>
        <p:txBody>
          <a:bodyPr anchor="ctr"/>
          <a:lstStyle>
            <a:lvl1pPr>
              <a:defRPr sz="900"/>
            </a:lvl1pPr>
          </a:lstStyle>
          <a:p>
            <a:r>
              <a:rPr lang="en-US" b="1" dirty="0"/>
              <a:t>© </a:t>
            </a:r>
            <a:fld id="{328BEB6C-0C1F-4073-8D16-59A47A8936F4}" type="datetimeyyyy">
              <a:rPr lang="en-US" b="1" smtClean="0"/>
              <a:pPr/>
              <a:t>2024</a:t>
            </a:fld>
            <a:r>
              <a:rPr lang="en-US" b="1" dirty="0"/>
              <a:t> Flex – Confidential</a:t>
            </a:r>
          </a:p>
        </p:txBody>
      </p:sp>
      <p:sp>
        <p:nvSpPr>
          <p:cNvPr id="12" name="Slide Number Placeholder 5">
            <a:extLst>
              <a:ext uri="{FF2B5EF4-FFF2-40B4-BE49-F238E27FC236}">
                <a16:creationId xmlns:a16="http://schemas.microsoft.com/office/drawing/2014/main" id="{E451AC76-9154-4B6B-A8EE-71EDA677B6E5}"/>
              </a:ext>
            </a:extLst>
          </p:cNvPr>
          <p:cNvSpPr>
            <a:spLocks noGrp="1"/>
          </p:cNvSpPr>
          <p:nvPr>
            <p:ph type="sldNum" sz="quarter" idx="12"/>
          </p:nvPr>
        </p:nvSpPr>
        <p:spPr>
          <a:xfrm>
            <a:off x="617220" y="6356747"/>
            <a:ext cx="508374" cy="342900"/>
          </a:xfrm>
          <a:prstGeom prst="rect">
            <a:avLst/>
          </a:prstGeom>
        </p:spPr>
        <p:txBody>
          <a:bodyPr anchor="ctr"/>
          <a:lstStyle>
            <a:lvl1pPr>
              <a:defRPr sz="900"/>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709747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_Ribbon">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userDrawn="1"/>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DD355166-3785-41E3-B7FD-660E6D291B28}"/>
              </a:ext>
            </a:extLst>
          </p:cNvPr>
          <p:cNvPicPr>
            <a:picLocks noChangeAspect="1"/>
          </p:cNvPicPr>
          <p:nvPr userDrawn="1"/>
        </p:nvPicPr>
        <p:blipFill>
          <a:blip r:embed="rId2"/>
          <a:stretch>
            <a:fillRect/>
          </a:stretch>
        </p:blipFill>
        <p:spPr>
          <a:xfrm flipH="1">
            <a:off x="5348288" y="0"/>
            <a:ext cx="6843713" cy="6858000"/>
          </a:xfrm>
          <a:prstGeom prst="rect">
            <a:avLst/>
          </a:prstGeom>
        </p:spPr>
      </p:pic>
      <p:sp>
        <p:nvSpPr>
          <p:cNvPr id="6" name="Title 2">
            <a:extLst>
              <a:ext uri="{FF2B5EF4-FFF2-40B4-BE49-F238E27FC236}">
                <a16:creationId xmlns:a16="http://schemas.microsoft.com/office/drawing/2014/main" id="{87FD622E-C231-4EEF-8897-476BAAA5B3C4}"/>
              </a:ext>
            </a:extLst>
          </p:cNvPr>
          <p:cNvSpPr>
            <a:spLocks noGrp="1"/>
          </p:cNvSpPr>
          <p:nvPr>
            <p:ph type="title" hasCustomPrompt="1"/>
          </p:nvPr>
        </p:nvSpPr>
        <p:spPr>
          <a:xfrm>
            <a:off x="617220" y="219456"/>
            <a:ext cx="10972800" cy="905256"/>
          </a:xfrm>
        </p:spPr>
        <p:txBody>
          <a:bodyPr anchor="b"/>
          <a:lstStyle>
            <a:lvl1pPr>
              <a:defRPr/>
            </a:lvl1pPr>
          </a:lstStyle>
          <a:p>
            <a:r>
              <a:rPr lang="en-US" dirty="0"/>
              <a:t>Click to edit your title</a:t>
            </a:r>
          </a:p>
        </p:txBody>
      </p:sp>
      <p:sp>
        <p:nvSpPr>
          <p:cNvPr id="9" name="Content Placeholder 2">
            <a:extLst>
              <a:ext uri="{FF2B5EF4-FFF2-40B4-BE49-F238E27FC236}">
                <a16:creationId xmlns:a16="http://schemas.microsoft.com/office/drawing/2014/main" id="{158CE7E5-6D8B-425E-A449-0F2B3772755B}"/>
              </a:ext>
            </a:extLst>
          </p:cNvPr>
          <p:cNvSpPr>
            <a:spLocks noGrp="1"/>
          </p:cNvSpPr>
          <p:nvPr>
            <p:ph sz="quarter" idx="10" hasCustomPrompt="1"/>
          </p:nvPr>
        </p:nvSpPr>
        <p:spPr>
          <a:xfrm>
            <a:off x="617220" y="1543050"/>
            <a:ext cx="10972800" cy="4457700"/>
          </a:xfrm>
          <a:prstGeom prst="rect">
            <a:avLst/>
          </a:prstGeom>
        </p:spPr>
        <p:txBody>
          <a:bodyPr/>
          <a:lstStyle>
            <a:lvl1pPr>
              <a:defRPr sz="2100"/>
            </a:lvl1pPr>
          </a:lstStyle>
          <a:p>
            <a:pPr lvl="0"/>
            <a:r>
              <a:rPr lang="en-US" dirty="0"/>
              <a:t>1 | Agenda item one</a:t>
            </a:r>
          </a:p>
          <a:p>
            <a:pPr lvl="0"/>
            <a:r>
              <a:rPr lang="en-US" dirty="0"/>
              <a:t>2 | Agenda item two</a:t>
            </a:r>
          </a:p>
          <a:p>
            <a:pPr lvl="0"/>
            <a:r>
              <a:rPr lang="en-US" dirty="0"/>
              <a:t>3 | Agenda item three</a:t>
            </a:r>
          </a:p>
          <a:p>
            <a:pPr lvl="0"/>
            <a:r>
              <a:rPr lang="en-US" dirty="0"/>
              <a:t>4 | Agenda item four</a:t>
            </a:r>
          </a:p>
          <a:p>
            <a:pPr lvl="0"/>
            <a:r>
              <a:rPr lang="en-US" dirty="0"/>
              <a:t>5 | Agenda item five</a:t>
            </a:r>
          </a:p>
        </p:txBody>
      </p:sp>
      <p:pic>
        <p:nvPicPr>
          <p:cNvPr id="10" name="Picture 9" descr="Icon&#10;&#10;Description automatically generated with low confidence">
            <a:extLst>
              <a:ext uri="{FF2B5EF4-FFF2-40B4-BE49-F238E27FC236}">
                <a16:creationId xmlns:a16="http://schemas.microsoft.com/office/drawing/2014/main" id="{2DA250AB-BC3C-4114-BA23-48ADAEDE04F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585" t="12373" r="5847" b="10967"/>
          <a:stretch/>
        </p:blipFill>
        <p:spPr>
          <a:xfrm>
            <a:off x="10887421" y="6199744"/>
            <a:ext cx="694981" cy="313981"/>
          </a:xfrm>
          <a:prstGeom prst="rect">
            <a:avLst/>
          </a:prstGeom>
        </p:spPr>
      </p:pic>
      <p:sp>
        <p:nvSpPr>
          <p:cNvPr id="13" name="Footer Placeholder 3">
            <a:extLst>
              <a:ext uri="{FF2B5EF4-FFF2-40B4-BE49-F238E27FC236}">
                <a16:creationId xmlns:a16="http://schemas.microsoft.com/office/drawing/2014/main" id="{31512F24-7EEE-4E16-99C3-42C533AC6D54}"/>
              </a:ext>
            </a:extLst>
          </p:cNvPr>
          <p:cNvSpPr>
            <a:spLocks noGrp="1"/>
          </p:cNvSpPr>
          <p:nvPr>
            <p:ph type="ftr" sz="quarter" idx="11"/>
          </p:nvPr>
        </p:nvSpPr>
        <p:spPr>
          <a:xfrm>
            <a:off x="1127760" y="6356747"/>
            <a:ext cx="4114800" cy="342900"/>
          </a:xfrm>
          <a:prstGeom prst="rect">
            <a:avLst/>
          </a:prstGeom>
        </p:spPr>
        <p:txBody>
          <a:bodyPr anchor="ctr"/>
          <a:lstStyle>
            <a:lvl1pPr>
              <a:defRPr sz="900"/>
            </a:lvl1pPr>
          </a:lstStyle>
          <a:p>
            <a:r>
              <a:rPr lang="en-US" b="1" dirty="0"/>
              <a:t>© </a:t>
            </a:r>
            <a:fld id="{328BEB6C-0C1F-4073-8D16-59A47A8936F4}" type="datetimeyyyy">
              <a:rPr lang="en-US" b="1" smtClean="0"/>
              <a:pPr/>
              <a:t>2024</a:t>
            </a:fld>
            <a:r>
              <a:rPr lang="en-US" b="1" dirty="0"/>
              <a:t> Flex – Confidential</a:t>
            </a:r>
          </a:p>
        </p:txBody>
      </p:sp>
      <p:sp>
        <p:nvSpPr>
          <p:cNvPr id="14" name="Slide Number Placeholder 5">
            <a:extLst>
              <a:ext uri="{FF2B5EF4-FFF2-40B4-BE49-F238E27FC236}">
                <a16:creationId xmlns:a16="http://schemas.microsoft.com/office/drawing/2014/main" id="{B8A1FA50-D698-47C5-BFC8-503314317E6E}"/>
              </a:ext>
            </a:extLst>
          </p:cNvPr>
          <p:cNvSpPr>
            <a:spLocks noGrp="1"/>
          </p:cNvSpPr>
          <p:nvPr>
            <p:ph type="sldNum" sz="quarter" idx="12"/>
          </p:nvPr>
        </p:nvSpPr>
        <p:spPr>
          <a:xfrm>
            <a:off x="617220" y="6356747"/>
            <a:ext cx="508374" cy="342900"/>
          </a:xfrm>
          <a:prstGeom prst="rect">
            <a:avLst/>
          </a:prstGeom>
        </p:spPr>
        <p:txBody>
          <a:bodyPr anchor="ctr"/>
          <a:lstStyle>
            <a:lvl1pPr>
              <a:defRPr sz="900"/>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283905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_Ripple">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1EE6C0DE-2D58-470D-85BE-7AF4F32C6EE1}"/>
              </a:ext>
            </a:extLst>
          </p:cNvPr>
          <p:cNvPicPr>
            <a:picLocks noChangeAspect="1"/>
          </p:cNvPicPr>
          <p:nvPr userDrawn="1"/>
        </p:nvPicPr>
        <p:blipFill>
          <a:blip r:embed="rId2"/>
          <a:stretch>
            <a:fillRect/>
          </a:stretch>
        </p:blipFill>
        <p:spPr>
          <a:xfrm flipH="1">
            <a:off x="7798594" y="0"/>
            <a:ext cx="4393407" cy="6858000"/>
          </a:xfrm>
          <a:prstGeom prst="rect">
            <a:avLst/>
          </a:prstGeom>
        </p:spPr>
      </p:pic>
      <p:sp>
        <p:nvSpPr>
          <p:cNvPr id="6" name="Title 2">
            <a:extLst>
              <a:ext uri="{FF2B5EF4-FFF2-40B4-BE49-F238E27FC236}">
                <a16:creationId xmlns:a16="http://schemas.microsoft.com/office/drawing/2014/main" id="{7EA61E27-7621-4349-A2D9-D958BB771C6D}"/>
              </a:ext>
            </a:extLst>
          </p:cNvPr>
          <p:cNvSpPr>
            <a:spLocks noGrp="1"/>
          </p:cNvSpPr>
          <p:nvPr>
            <p:ph type="title" hasCustomPrompt="1"/>
          </p:nvPr>
        </p:nvSpPr>
        <p:spPr>
          <a:xfrm>
            <a:off x="617220" y="219456"/>
            <a:ext cx="10972800" cy="905256"/>
          </a:xfrm>
        </p:spPr>
        <p:txBody>
          <a:bodyPr anchor="b"/>
          <a:lstStyle>
            <a:lvl1pPr>
              <a:defRPr/>
            </a:lvl1pPr>
          </a:lstStyle>
          <a:p>
            <a:r>
              <a:rPr lang="en-US" dirty="0"/>
              <a:t>Click to edit your title</a:t>
            </a:r>
          </a:p>
        </p:txBody>
      </p:sp>
      <p:sp>
        <p:nvSpPr>
          <p:cNvPr id="9" name="Content Placeholder 2">
            <a:extLst>
              <a:ext uri="{FF2B5EF4-FFF2-40B4-BE49-F238E27FC236}">
                <a16:creationId xmlns:a16="http://schemas.microsoft.com/office/drawing/2014/main" id="{24D01766-A8A5-4935-9FEC-3C4C5CD50824}"/>
              </a:ext>
            </a:extLst>
          </p:cNvPr>
          <p:cNvSpPr>
            <a:spLocks noGrp="1"/>
          </p:cNvSpPr>
          <p:nvPr>
            <p:ph sz="quarter" idx="10" hasCustomPrompt="1"/>
          </p:nvPr>
        </p:nvSpPr>
        <p:spPr>
          <a:xfrm>
            <a:off x="617220" y="1543050"/>
            <a:ext cx="10972800" cy="4457700"/>
          </a:xfrm>
          <a:prstGeom prst="rect">
            <a:avLst/>
          </a:prstGeom>
        </p:spPr>
        <p:txBody>
          <a:bodyPr/>
          <a:lstStyle>
            <a:lvl1pPr>
              <a:defRPr sz="2100"/>
            </a:lvl1pPr>
          </a:lstStyle>
          <a:p>
            <a:pPr lvl="0"/>
            <a:r>
              <a:rPr lang="en-US" dirty="0"/>
              <a:t>1 | Agenda item one</a:t>
            </a:r>
          </a:p>
          <a:p>
            <a:pPr lvl="0"/>
            <a:r>
              <a:rPr lang="en-US" dirty="0"/>
              <a:t>2 | Agenda item two</a:t>
            </a:r>
          </a:p>
          <a:p>
            <a:pPr lvl="0"/>
            <a:r>
              <a:rPr lang="en-US" dirty="0"/>
              <a:t>3 | Agenda item three</a:t>
            </a:r>
          </a:p>
          <a:p>
            <a:pPr lvl="0"/>
            <a:r>
              <a:rPr lang="en-US" dirty="0"/>
              <a:t>4 | Agenda item four</a:t>
            </a:r>
          </a:p>
          <a:p>
            <a:pPr lvl="0"/>
            <a:r>
              <a:rPr lang="en-US" dirty="0"/>
              <a:t>5 | Agenda item five</a:t>
            </a:r>
          </a:p>
        </p:txBody>
      </p:sp>
      <p:pic>
        <p:nvPicPr>
          <p:cNvPr id="10" name="Picture 9" descr="Icon&#10;&#10;Description automatically generated with low confidence">
            <a:extLst>
              <a:ext uri="{FF2B5EF4-FFF2-40B4-BE49-F238E27FC236}">
                <a16:creationId xmlns:a16="http://schemas.microsoft.com/office/drawing/2014/main" id="{3A2C17B7-4590-43A7-967E-33977774E8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585" t="12373" r="5847" b="10967"/>
          <a:stretch/>
        </p:blipFill>
        <p:spPr>
          <a:xfrm>
            <a:off x="10887421" y="6199744"/>
            <a:ext cx="694981" cy="313981"/>
          </a:xfrm>
          <a:prstGeom prst="rect">
            <a:avLst/>
          </a:prstGeom>
        </p:spPr>
      </p:pic>
      <p:sp>
        <p:nvSpPr>
          <p:cNvPr id="11" name="Footer Placeholder 3">
            <a:extLst>
              <a:ext uri="{FF2B5EF4-FFF2-40B4-BE49-F238E27FC236}">
                <a16:creationId xmlns:a16="http://schemas.microsoft.com/office/drawing/2014/main" id="{DD3C2AF6-F335-4226-A22D-3B275C0DF5EA}"/>
              </a:ext>
            </a:extLst>
          </p:cNvPr>
          <p:cNvSpPr>
            <a:spLocks noGrp="1"/>
          </p:cNvSpPr>
          <p:nvPr>
            <p:ph type="ftr" sz="quarter" idx="11"/>
          </p:nvPr>
        </p:nvSpPr>
        <p:spPr>
          <a:xfrm>
            <a:off x="1127760" y="6356747"/>
            <a:ext cx="4114800" cy="342900"/>
          </a:xfrm>
          <a:prstGeom prst="rect">
            <a:avLst/>
          </a:prstGeom>
        </p:spPr>
        <p:txBody>
          <a:bodyPr anchor="ctr"/>
          <a:lstStyle>
            <a:lvl1pPr>
              <a:defRPr sz="900"/>
            </a:lvl1pPr>
          </a:lstStyle>
          <a:p>
            <a:r>
              <a:rPr lang="en-US" b="1" dirty="0"/>
              <a:t>© </a:t>
            </a:r>
            <a:fld id="{328BEB6C-0C1F-4073-8D16-59A47A8936F4}" type="datetimeyyyy">
              <a:rPr lang="en-US" b="1" smtClean="0"/>
              <a:pPr/>
              <a:t>2024</a:t>
            </a:fld>
            <a:r>
              <a:rPr lang="en-US" b="1" dirty="0"/>
              <a:t> Flex – Confidential</a:t>
            </a:r>
          </a:p>
        </p:txBody>
      </p:sp>
      <p:sp>
        <p:nvSpPr>
          <p:cNvPr id="12" name="Slide Number Placeholder 5">
            <a:extLst>
              <a:ext uri="{FF2B5EF4-FFF2-40B4-BE49-F238E27FC236}">
                <a16:creationId xmlns:a16="http://schemas.microsoft.com/office/drawing/2014/main" id="{AE4C20AB-1900-48C3-9903-9634EA2E8312}"/>
              </a:ext>
            </a:extLst>
          </p:cNvPr>
          <p:cNvSpPr>
            <a:spLocks noGrp="1"/>
          </p:cNvSpPr>
          <p:nvPr>
            <p:ph type="sldNum" sz="quarter" idx="12"/>
          </p:nvPr>
        </p:nvSpPr>
        <p:spPr>
          <a:xfrm>
            <a:off x="617220" y="6356747"/>
            <a:ext cx="508374" cy="342900"/>
          </a:xfrm>
          <a:prstGeom prst="rect">
            <a:avLst/>
          </a:prstGeom>
        </p:spPr>
        <p:txBody>
          <a:bodyPr anchor="ctr"/>
          <a:lstStyle>
            <a:lvl1pPr>
              <a:defRPr sz="900"/>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618815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_Waves">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AE36E575-BE8D-4BFC-9504-A64B4FFE1FA5}"/>
              </a:ext>
            </a:extLst>
          </p:cNvPr>
          <p:cNvPicPr>
            <a:picLocks noChangeAspect="1"/>
          </p:cNvPicPr>
          <p:nvPr userDrawn="1"/>
        </p:nvPicPr>
        <p:blipFill>
          <a:blip r:embed="rId2"/>
          <a:stretch>
            <a:fillRect/>
          </a:stretch>
        </p:blipFill>
        <p:spPr>
          <a:xfrm flipH="1">
            <a:off x="8298656" y="0"/>
            <a:ext cx="3893345" cy="6858000"/>
          </a:xfrm>
          <a:prstGeom prst="rect">
            <a:avLst/>
          </a:prstGeom>
        </p:spPr>
      </p:pic>
      <p:sp>
        <p:nvSpPr>
          <p:cNvPr id="6" name="Title 2">
            <a:extLst>
              <a:ext uri="{FF2B5EF4-FFF2-40B4-BE49-F238E27FC236}">
                <a16:creationId xmlns:a16="http://schemas.microsoft.com/office/drawing/2014/main" id="{0805FA91-7B88-46E6-8761-85BCF9F96097}"/>
              </a:ext>
            </a:extLst>
          </p:cNvPr>
          <p:cNvSpPr>
            <a:spLocks noGrp="1"/>
          </p:cNvSpPr>
          <p:nvPr>
            <p:ph type="title" hasCustomPrompt="1"/>
          </p:nvPr>
        </p:nvSpPr>
        <p:spPr>
          <a:xfrm>
            <a:off x="617220" y="219456"/>
            <a:ext cx="10972800" cy="905256"/>
          </a:xfrm>
        </p:spPr>
        <p:txBody>
          <a:bodyPr anchor="b"/>
          <a:lstStyle>
            <a:lvl1pPr>
              <a:defRPr/>
            </a:lvl1pPr>
          </a:lstStyle>
          <a:p>
            <a:r>
              <a:rPr lang="en-US" dirty="0"/>
              <a:t>Click to edit your title</a:t>
            </a:r>
          </a:p>
        </p:txBody>
      </p:sp>
      <p:sp>
        <p:nvSpPr>
          <p:cNvPr id="9" name="Content Placeholder 2">
            <a:extLst>
              <a:ext uri="{FF2B5EF4-FFF2-40B4-BE49-F238E27FC236}">
                <a16:creationId xmlns:a16="http://schemas.microsoft.com/office/drawing/2014/main" id="{13003860-7807-48D6-A38E-B22E4D8C0E2A}"/>
              </a:ext>
            </a:extLst>
          </p:cNvPr>
          <p:cNvSpPr>
            <a:spLocks noGrp="1"/>
          </p:cNvSpPr>
          <p:nvPr>
            <p:ph sz="quarter" idx="10" hasCustomPrompt="1"/>
          </p:nvPr>
        </p:nvSpPr>
        <p:spPr>
          <a:xfrm>
            <a:off x="617220" y="1543050"/>
            <a:ext cx="10972800" cy="4457700"/>
          </a:xfrm>
          <a:prstGeom prst="rect">
            <a:avLst/>
          </a:prstGeom>
        </p:spPr>
        <p:txBody>
          <a:bodyPr/>
          <a:lstStyle>
            <a:lvl1pPr>
              <a:defRPr sz="2100"/>
            </a:lvl1pPr>
          </a:lstStyle>
          <a:p>
            <a:pPr lvl="0"/>
            <a:r>
              <a:rPr lang="en-US" dirty="0"/>
              <a:t>1 | Agenda item one</a:t>
            </a:r>
          </a:p>
          <a:p>
            <a:pPr lvl="0"/>
            <a:r>
              <a:rPr lang="en-US" dirty="0"/>
              <a:t>2 | Agenda item two</a:t>
            </a:r>
          </a:p>
          <a:p>
            <a:pPr lvl="0"/>
            <a:r>
              <a:rPr lang="en-US" dirty="0"/>
              <a:t>3 | Agenda item three</a:t>
            </a:r>
          </a:p>
          <a:p>
            <a:pPr lvl="0"/>
            <a:r>
              <a:rPr lang="en-US" dirty="0"/>
              <a:t>4 | Agenda item four</a:t>
            </a:r>
          </a:p>
          <a:p>
            <a:pPr lvl="0"/>
            <a:r>
              <a:rPr lang="en-US" dirty="0"/>
              <a:t>5 | Agenda item five</a:t>
            </a:r>
          </a:p>
        </p:txBody>
      </p:sp>
      <p:pic>
        <p:nvPicPr>
          <p:cNvPr id="10" name="Picture 9" descr="Icon&#10;&#10;Description automatically generated with low confidence">
            <a:extLst>
              <a:ext uri="{FF2B5EF4-FFF2-40B4-BE49-F238E27FC236}">
                <a16:creationId xmlns:a16="http://schemas.microsoft.com/office/drawing/2014/main" id="{C2F077E7-EFC3-4CC1-ACB0-00F2D00BB7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585" t="12373" r="5847" b="10967"/>
          <a:stretch/>
        </p:blipFill>
        <p:spPr>
          <a:xfrm>
            <a:off x="10887421" y="6199744"/>
            <a:ext cx="694981" cy="313981"/>
          </a:xfrm>
          <a:prstGeom prst="rect">
            <a:avLst/>
          </a:prstGeom>
        </p:spPr>
      </p:pic>
      <p:sp>
        <p:nvSpPr>
          <p:cNvPr id="11" name="Footer Placeholder 3">
            <a:extLst>
              <a:ext uri="{FF2B5EF4-FFF2-40B4-BE49-F238E27FC236}">
                <a16:creationId xmlns:a16="http://schemas.microsoft.com/office/drawing/2014/main" id="{5B9BCCB3-078A-4E80-801B-32D7F5956D3F}"/>
              </a:ext>
            </a:extLst>
          </p:cNvPr>
          <p:cNvSpPr>
            <a:spLocks noGrp="1"/>
          </p:cNvSpPr>
          <p:nvPr>
            <p:ph type="ftr" sz="quarter" idx="11"/>
          </p:nvPr>
        </p:nvSpPr>
        <p:spPr>
          <a:xfrm>
            <a:off x="1127760" y="6356747"/>
            <a:ext cx="4114800" cy="342900"/>
          </a:xfrm>
          <a:prstGeom prst="rect">
            <a:avLst/>
          </a:prstGeom>
        </p:spPr>
        <p:txBody>
          <a:bodyPr anchor="ctr"/>
          <a:lstStyle>
            <a:lvl1pPr>
              <a:defRPr sz="900"/>
            </a:lvl1pPr>
          </a:lstStyle>
          <a:p>
            <a:r>
              <a:rPr lang="en-US" b="1" dirty="0"/>
              <a:t>© </a:t>
            </a:r>
            <a:fld id="{328BEB6C-0C1F-4073-8D16-59A47A8936F4}" type="datetimeyyyy">
              <a:rPr lang="en-US" b="1" smtClean="0"/>
              <a:pPr/>
              <a:t>2024</a:t>
            </a:fld>
            <a:r>
              <a:rPr lang="en-US" b="1" dirty="0"/>
              <a:t> Flex – Confidential</a:t>
            </a:r>
          </a:p>
        </p:txBody>
      </p:sp>
      <p:sp>
        <p:nvSpPr>
          <p:cNvPr id="12" name="Slide Number Placeholder 5">
            <a:extLst>
              <a:ext uri="{FF2B5EF4-FFF2-40B4-BE49-F238E27FC236}">
                <a16:creationId xmlns:a16="http://schemas.microsoft.com/office/drawing/2014/main" id="{AC97D481-BCF3-4B42-8DCC-022B9A736799}"/>
              </a:ext>
            </a:extLst>
          </p:cNvPr>
          <p:cNvSpPr>
            <a:spLocks noGrp="1"/>
          </p:cNvSpPr>
          <p:nvPr>
            <p:ph type="sldNum" sz="quarter" idx="12"/>
          </p:nvPr>
        </p:nvSpPr>
        <p:spPr>
          <a:xfrm>
            <a:off x="617220" y="6356747"/>
            <a:ext cx="508374" cy="342900"/>
          </a:xfrm>
          <a:prstGeom prst="rect">
            <a:avLst/>
          </a:prstGeom>
        </p:spPr>
        <p:txBody>
          <a:bodyPr anchor="ctr"/>
          <a:lstStyle>
            <a:lvl1pPr>
              <a:defRPr sz="900"/>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256528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vider - Burst">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6" name="Picture 5">
            <a:extLst>
              <a:ext uri="{FF2B5EF4-FFF2-40B4-BE49-F238E27FC236}">
                <a16:creationId xmlns:a16="http://schemas.microsoft.com/office/drawing/2014/main" id="{81D128B8-3743-46BD-9D13-061AC41A12D7}"/>
              </a:ext>
            </a:extLst>
          </p:cNvPr>
          <p:cNvPicPr>
            <a:picLocks noChangeAspect="1"/>
          </p:cNvPicPr>
          <p:nvPr userDrawn="1"/>
        </p:nvPicPr>
        <p:blipFill>
          <a:blip r:embed="rId4"/>
          <a:stretch>
            <a:fillRect/>
          </a:stretch>
        </p:blipFill>
        <p:spPr>
          <a:xfrm>
            <a:off x="1" y="1013599"/>
            <a:ext cx="5844403" cy="5844403"/>
          </a:xfrm>
          <a:prstGeom prst="rect">
            <a:avLst/>
          </a:prstGeom>
        </p:spPr>
      </p:pic>
    </p:spTree>
    <p:extLst>
      <p:ext uri="{BB962C8B-B14F-4D97-AF65-F5344CB8AC3E}">
        <p14:creationId xmlns:p14="http://schemas.microsoft.com/office/powerpoint/2010/main" val="679773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ivider - Circl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4" name="Picture 3">
            <a:extLst>
              <a:ext uri="{FF2B5EF4-FFF2-40B4-BE49-F238E27FC236}">
                <a16:creationId xmlns:a16="http://schemas.microsoft.com/office/drawing/2014/main" id="{673B4DA1-DCA9-47AA-89DF-ED2CA724256E}"/>
              </a:ext>
            </a:extLst>
          </p:cNvPr>
          <p:cNvPicPr>
            <a:picLocks noChangeAspect="1"/>
          </p:cNvPicPr>
          <p:nvPr userDrawn="1"/>
        </p:nvPicPr>
        <p:blipFill>
          <a:blip r:embed="rId4"/>
          <a:stretch>
            <a:fillRect/>
          </a:stretch>
        </p:blipFill>
        <p:spPr>
          <a:xfrm>
            <a:off x="1" y="1042176"/>
            <a:ext cx="5344271" cy="5815824"/>
          </a:xfrm>
          <a:prstGeom prst="rect">
            <a:avLst/>
          </a:prstGeom>
        </p:spPr>
      </p:pic>
    </p:spTree>
    <p:extLst>
      <p:ext uri="{BB962C8B-B14F-4D97-AF65-F5344CB8AC3E}">
        <p14:creationId xmlns:p14="http://schemas.microsoft.com/office/powerpoint/2010/main" val="869131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ivider - Connected dots">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4" name="Picture 3">
            <a:extLst>
              <a:ext uri="{FF2B5EF4-FFF2-40B4-BE49-F238E27FC236}">
                <a16:creationId xmlns:a16="http://schemas.microsoft.com/office/drawing/2014/main" id="{D8FE1437-B267-4A36-9A25-FB17C9EB7D0B}"/>
              </a:ext>
            </a:extLst>
          </p:cNvPr>
          <p:cNvPicPr>
            <a:picLocks noChangeAspect="1"/>
          </p:cNvPicPr>
          <p:nvPr userDrawn="1"/>
        </p:nvPicPr>
        <p:blipFill>
          <a:blip r:embed="rId4"/>
          <a:stretch>
            <a:fillRect/>
          </a:stretch>
        </p:blipFill>
        <p:spPr>
          <a:xfrm>
            <a:off x="1" y="3035560"/>
            <a:ext cx="10295581" cy="3822440"/>
          </a:xfrm>
          <a:prstGeom prst="rect">
            <a:avLst/>
          </a:prstGeom>
        </p:spPr>
      </p:pic>
    </p:spTree>
    <p:extLst>
      <p:ext uri="{BB962C8B-B14F-4D97-AF65-F5344CB8AC3E}">
        <p14:creationId xmlns:p14="http://schemas.microsoft.com/office/powerpoint/2010/main" val="88321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ivider - Ribb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1C6FB-F69F-499E-A307-42AED980EB7A}"/>
              </a:ext>
            </a:extLst>
          </p:cNvPr>
          <p:cNvPicPr>
            <a:picLocks noChangeAspect="1"/>
          </p:cNvPicPr>
          <p:nvPr userDrawn="1"/>
        </p:nvPicPr>
        <p:blipFill>
          <a:blip r:embed="rId2"/>
          <a:stretch>
            <a:fillRect/>
          </a:stretch>
        </p:blipFill>
        <p:spPr>
          <a:xfrm>
            <a:off x="2" y="0"/>
            <a:ext cx="6843713" cy="6858000"/>
          </a:xfrm>
          <a:prstGeom prst="rect">
            <a:avLst/>
          </a:prstGeom>
        </p:spPr>
      </p:pic>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2315877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vider - Rippl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4" name="Picture 3">
            <a:extLst>
              <a:ext uri="{FF2B5EF4-FFF2-40B4-BE49-F238E27FC236}">
                <a16:creationId xmlns:a16="http://schemas.microsoft.com/office/drawing/2014/main" id="{9F2F4A2D-8595-41FB-9946-4C590E960133}"/>
              </a:ext>
            </a:extLst>
          </p:cNvPr>
          <p:cNvPicPr>
            <a:picLocks noChangeAspect="1"/>
          </p:cNvPicPr>
          <p:nvPr userDrawn="1"/>
        </p:nvPicPr>
        <p:blipFill>
          <a:blip r:embed="rId4"/>
          <a:stretch>
            <a:fillRect/>
          </a:stretch>
        </p:blipFill>
        <p:spPr>
          <a:xfrm>
            <a:off x="1" y="813544"/>
            <a:ext cx="5551469" cy="6044456"/>
          </a:xfrm>
          <a:prstGeom prst="rect">
            <a:avLst/>
          </a:prstGeom>
        </p:spPr>
      </p:pic>
    </p:spTree>
    <p:extLst>
      <p:ext uri="{BB962C8B-B14F-4D97-AF65-F5344CB8AC3E}">
        <p14:creationId xmlns:p14="http://schemas.microsoft.com/office/powerpoint/2010/main" val="12408672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vider - Wav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4" name="Picture 3">
            <a:extLst>
              <a:ext uri="{FF2B5EF4-FFF2-40B4-BE49-F238E27FC236}">
                <a16:creationId xmlns:a16="http://schemas.microsoft.com/office/drawing/2014/main" id="{AFD98B2C-CE3B-4C0A-AC4F-936741F1C0BD}"/>
              </a:ext>
            </a:extLst>
          </p:cNvPr>
          <p:cNvPicPr>
            <a:picLocks noChangeAspect="1"/>
          </p:cNvPicPr>
          <p:nvPr userDrawn="1"/>
        </p:nvPicPr>
        <p:blipFill>
          <a:blip r:embed="rId4"/>
          <a:stretch>
            <a:fillRect/>
          </a:stretch>
        </p:blipFill>
        <p:spPr>
          <a:xfrm>
            <a:off x="1" y="0"/>
            <a:ext cx="3893345" cy="6858000"/>
          </a:xfrm>
          <a:prstGeom prst="rect">
            <a:avLst/>
          </a:prstGeom>
        </p:spPr>
      </p:pic>
    </p:spTree>
    <p:extLst>
      <p:ext uri="{BB962C8B-B14F-4D97-AF65-F5344CB8AC3E}">
        <p14:creationId xmlns:p14="http://schemas.microsoft.com/office/powerpoint/2010/main" val="27285033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dirty="0">
                <a:solidFill>
                  <a:schemeClr val="tx1"/>
                </a:solidFill>
              </a:rPr>
              <a:t>END OF TEMPLATE</a:t>
            </a:r>
          </a:p>
          <a:p>
            <a:pPr algn="l"/>
            <a:endParaRPr lang="en-US" sz="3000" b="0" dirty="0">
              <a:solidFill>
                <a:schemeClr val="tx1"/>
              </a:solidFill>
            </a:endParaRPr>
          </a:p>
          <a:p>
            <a:pPr algn="l"/>
            <a:r>
              <a:rPr lang="en-US" sz="6600" b="1" dirty="0">
                <a:solidFill>
                  <a:schemeClr val="tx1"/>
                </a:solidFill>
              </a:rPr>
              <a:t>Do not use any master slide that exists after this one</a:t>
            </a:r>
          </a:p>
        </p:txBody>
      </p:sp>
    </p:spTree>
    <p:extLst>
      <p:ext uri="{BB962C8B-B14F-4D97-AF65-F5344CB8AC3E}">
        <p14:creationId xmlns:p14="http://schemas.microsoft.com/office/powerpoint/2010/main" val="3497910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2" name="Title 1">
            <a:extLst>
              <a:ext uri="{FF2B5EF4-FFF2-40B4-BE49-F238E27FC236}">
                <a16:creationId xmlns:a16="http://schemas.microsoft.com/office/drawing/2014/main" id="{5DF581B6-F40B-4F4D-93CC-A52E16114396}"/>
              </a:ext>
            </a:extLst>
          </p:cNvPr>
          <p:cNvSpPr>
            <a:spLocks noGrp="1"/>
          </p:cNvSpPr>
          <p:nvPr>
            <p:ph type="title"/>
          </p:nvPr>
        </p:nvSpPr>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7651D8A3-69F1-3D41-AAB3-9F6ADF72B3EB}"/>
              </a:ext>
            </a:extLst>
          </p:cNvPr>
          <p:cNvSpPr>
            <a:spLocks noGrp="1"/>
          </p:cNvSpPr>
          <p:nvPr>
            <p:ph type="ftr" sz="quarter" idx="10"/>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5" name="Slide Number Placeholder 4">
            <a:extLst>
              <a:ext uri="{FF2B5EF4-FFF2-40B4-BE49-F238E27FC236}">
                <a16:creationId xmlns:a16="http://schemas.microsoft.com/office/drawing/2014/main" id="{F9EFA91A-E679-A64B-8956-BBBB9C7C62BA}"/>
              </a:ext>
            </a:extLst>
          </p:cNvPr>
          <p:cNvSpPr>
            <a:spLocks noGrp="1"/>
          </p:cNvSpPr>
          <p:nvPr>
            <p:ph type="sldNum" sz="quarter" idx="11"/>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8281116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ingle column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10" name="Content Placeholder 9">
            <a:extLst>
              <a:ext uri="{FF2B5EF4-FFF2-40B4-BE49-F238E27FC236}">
                <a16:creationId xmlns:a16="http://schemas.microsoft.com/office/drawing/2014/main" id="{DBAE8152-8DFB-4085-AA2B-60F872F7275C}"/>
              </a:ext>
            </a:extLst>
          </p:cNvPr>
          <p:cNvSpPr>
            <a:spLocks noGrp="1"/>
          </p:cNvSpPr>
          <p:nvPr>
            <p:ph sz="quarter" idx="10"/>
          </p:nvPr>
        </p:nvSpPr>
        <p:spPr>
          <a:xfrm>
            <a:off x="617220" y="1543050"/>
            <a:ext cx="10972800" cy="4457700"/>
          </a:xfrm>
          <a:prstGeom prst="rect">
            <a:avLst/>
          </a:prstGeom>
        </p:spPr>
        <p:txBody>
          <a:bodyPr/>
          <a:lstStyle>
            <a:lvl1pPr>
              <a:defRPr b="1"/>
            </a:lvl1pPr>
            <a:lvl5pPr>
              <a:defRPr sz="1800" b="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a:extLst>
              <a:ext uri="{FF2B5EF4-FFF2-40B4-BE49-F238E27FC236}">
                <a16:creationId xmlns:a16="http://schemas.microsoft.com/office/drawing/2014/main" id="{8BB29E01-507A-4C00-8C58-BFF48495E843}"/>
              </a:ext>
            </a:extLst>
          </p:cNvPr>
          <p:cNvSpPr>
            <a:spLocks noGrp="1"/>
          </p:cNvSpPr>
          <p:nvPr>
            <p:ph type="title"/>
          </p:nvPr>
        </p:nvSpPr>
        <p:spPr>
          <a:xfrm>
            <a:off x="617220" y="217961"/>
            <a:ext cx="10972038" cy="902187"/>
          </a:xfrm>
        </p:spPr>
        <p:txBody>
          <a:bodyPr/>
          <a:lstStyle/>
          <a:p>
            <a:r>
              <a:rPr lang="en-US"/>
              <a:t>Click to edit Master title style</a:t>
            </a:r>
            <a:endParaRPr lang="en-US" dirty="0"/>
          </a:p>
        </p:txBody>
      </p:sp>
      <p:sp>
        <p:nvSpPr>
          <p:cNvPr id="8" name="Footer Placeholder 2">
            <a:extLst>
              <a:ext uri="{FF2B5EF4-FFF2-40B4-BE49-F238E27FC236}">
                <a16:creationId xmlns:a16="http://schemas.microsoft.com/office/drawing/2014/main" id="{6F32236B-CE26-41E2-9AAB-B9B3899BEDD5}"/>
              </a:ext>
            </a:extLst>
          </p:cNvPr>
          <p:cNvSpPr>
            <a:spLocks noGrp="1"/>
          </p:cNvSpPr>
          <p:nvPr>
            <p:ph type="ftr" sz="quarter" idx="11"/>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9" name="Slide Number Placeholder 4">
            <a:extLst>
              <a:ext uri="{FF2B5EF4-FFF2-40B4-BE49-F238E27FC236}">
                <a16:creationId xmlns:a16="http://schemas.microsoft.com/office/drawing/2014/main" id="{43BE6C38-34BF-4C81-B7BD-BAB1797D52BA}"/>
              </a:ext>
            </a:extLst>
          </p:cNvPr>
          <p:cNvSpPr>
            <a:spLocks noGrp="1"/>
          </p:cNvSpPr>
          <p:nvPr>
            <p:ph type="sldNum" sz="quarter" idx="12"/>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0136821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ingle column content with subheader">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C91A1A4D-44A8-409C-8A50-7DE5DD132A99}"/>
              </a:ext>
            </a:extLst>
          </p:cNvPr>
          <p:cNvSpPr>
            <a:spLocks noGrp="1"/>
          </p:cNvSpPr>
          <p:nvPr>
            <p:ph type="body" sz="quarter" idx="13"/>
          </p:nvPr>
        </p:nvSpPr>
        <p:spPr>
          <a:xfrm>
            <a:off x="617220" y="1207287"/>
            <a:ext cx="10972800" cy="334792"/>
          </a:xfrm>
          <a:prstGeom prst="rect">
            <a:avLst/>
          </a:prstGeom>
        </p:spPr>
        <p:txBody>
          <a:bodyPr/>
          <a:lstStyle>
            <a:lvl1pPr>
              <a:defRPr sz="2100">
                <a:solidFill>
                  <a:schemeClr val="accent2"/>
                </a:solidFill>
              </a:defRPr>
            </a:lvl1pPr>
            <a:lvl2pPr marL="23813" indent="0">
              <a:buNone/>
              <a:defRPr/>
            </a:lvl2pPr>
          </a:lstStyle>
          <a:p>
            <a:pPr lvl="0"/>
            <a:r>
              <a:rPr lang="en-US"/>
              <a:t>Click to edit Master text styles</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5" name="Content Placeholder 4">
            <a:extLst>
              <a:ext uri="{FF2B5EF4-FFF2-40B4-BE49-F238E27FC236}">
                <a16:creationId xmlns:a16="http://schemas.microsoft.com/office/drawing/2014/main" id="{CFD01A9E-98FD-4F40-AD6D-EF6DA42BFF80}"/>
              </a:ext>
            </a:extLst>
          </p:cNvPr>
          <p:cNvSpPr>
            <a:spLocks noGrp="1"/>
          </p:cNvSpPr>
          <p:nvPr>
            <p:ph sz="quarter" idx="14"/>
          </p:nvPr>
        </p:nvSpPr>
        <p:spPr>
          <a:xfrm>
            <a:off x="617221" y="1885950"/>
            <a:ext cx="10971609" cy="41148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a:extLst>
              <a:ext uri="{FF2B5EF4-FFF2-40B4-BE49-F238E27FC236}">
                <a16:creationId xmlns:a16="http://schemas.microsoft.com/office/drawing/2014/main" id="{0C1059C7-033D-4D05-8E0B-3C4988F1FED1}"/>
              </a:ext>
            </a:extLst>
          </p:cNvPr>
          <p:cNvSpPr>
            <a:spLocks noGrp="1"/>
          </p:cNvSpPr>
          <p:nvPr>
            <p:ph type="title"/>
          </p:nvPr>
        </p:nvSpPr>
        <p:spPr>
          <a:xfrm>
            <a:off x="617220" y="217961"/>
            <a:ext cx="10972038" cy="902187"/>
          </a:xfrm>
        </p:spPr>
        <p:txBody>
          <a:bodyPr/>
          <a:lstStyle/>
          <a:p>
            <a:r>
              <a:rPr lang="en-US"/>
              <a:t>Click to edit Master title style</a:t>
            </a:r>
            <a:endParaRPr lang="en-US" dirty="0"/>
          </a:p>
        </p:txBody>
      </p:sp>
      <p:sp>
        <p:nvSpPr>
          <p:cNvPr id="10" name="Footer Placeholder 2">
            <a:extLst>
              <a:ext uri="{FF2B5EF4-FFF2-40B4-BE49-F238E27FC236}">
                <a16:creationId xmlns:a16="http://schemas.microsoft.com/office/drawing/2014/main" id="{FBFF3409-D2F8-45AC-AA64-FB9B6864457F}"/>
              </a:ext>
            </a:extLst>
          </p:cNvPr>
          <p:cNvSpPr>
            <a:spLocks noGrp="1"/>
          </p:cNvSpPr>
          <p:nvPr>
            <p:ph type="ftr" sz="quarter" idx="10"/>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1" name="Slide Number Placeholder 4">
            <a:extLst>
              <a:ext uri="{FF2B5EF4-FFF2-40B4-BE49-F238E27FC236}">
                <a16:creationId xmlns:a16="http://schemas.microsoft.com/office/drawing/2014/main" id="{EB533285-B12A-4F68-B29E-F11E5CAED19E}"/>
              </a:ext>
            </a:extLst>
          </p:cNvPr>
          <p:cNvSpPr>
            <a:spLocks noGrp="1"/>
          </p:cNvSpPr>
          <p:nvPr>
            <p:ph type="sldNum" sz="quarter" idx="11"/>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77664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15:guide id="1" orient="horz" pos="158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ngle column content with 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1358343-06D3-4CEF-BA37-78E95B0831DF}"/>
              </a:ext>
            </a:extLst>
          </p:cNvPr>
          <p:cNvSpPr>
            <a:spLocks noGrp="1"/>
          </p:cNvSpPr>
          <p:nvPr>
            <p:ph type="pic" sz="quarter" idx="24" hasCustomPrompt="1"/>
          </p:nvPr>
        </p:nvSpPr>
        <p:spPr>
          <a:xfrm>
            <a:off x="1" y="0"/>
            <a:ext cx="4717256" cy="6858000"/>
          </a:xfrm>
          <a:prstGeom prst="rect">
            <a:avLst/>
          </a:prstGeom>
        </p:spPr>
        <p:txBody>
          <a:bodyPr anchor="ctr"/>
          <a:lstStyle>
            <a:lvl1pPr algn="ctr">
              <a:defRPr/>
            </a:lvl1pPr>
          </a:lstStyle>
          <a:p>
            <a:r>
              <a:rPr lang="en-US" dirty="0"/>
              <a:t>Click to insert picture</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0" y="342901"/>
            <a:ext cx="3977640" cy="2589797"/>
          </a:xfrm>
          <a:gradFill flip="none" rotWithShape="1">
            <a:gsLst>
              <a:gs pos="0">
                <a:schemeClr val="accent1"/>
              </a:gs>
              <a:gs pos="50000">
                <a:srgbClr val="0077B3">
                  <a:alpha val="95000"/>
                </a:srgbClr>
              </a:gs>
              <a:gs pos="100000">
                <a:schemeClr val="accent2">
                  <a:alpha val="85000"/>
                </a:schemeClr>
              </a:gs>
            </a:gsLst>
            <a:lin ang="2700000" scaled="1"/>
            <a:tileRect/>
          </a:gradFill>
        </p:spPr>
        <p:txBody>
          <a:bodyPr lIns="822960" tIns="411480" rIns="411480"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4" name="Content Placeholder 3">
            <a:extLst>
              <a:ext uri="{FF2B5EF4-FFF2-40B4-BE49-F238E27FC236}">
                <a16:creationId xmlns:a16="http://schemas.microsoft.com/office/drawing/2014/main" id="{D7206B94-DE4C-4760-B842-FC4AD52FAB08}"/>
              </a:ext>
            </a:extLst>
          </p:cNvPr>
          <p:cNvSpPr>
            <a:spLocks noGrp="1"/>
          </p:cNvSpPr>
          <p:nvPr>
            <p:ph sz="quarter" idx="25"/>
          </p:nvPr>
        </p:nvSpPr>
        <p:spPr>
          <a:xfrm>
            <a:off x="5314950" y="1543050"/>
            <a:ext cx="6268212" cy="4457700"/>
          </a:xfrm>
        </p:spPr>
        <p:txBody>
          <a:bodyPr/>
          <a:lstStyle>
            <a:lvl1pPr>
              <a:defRPr b="1"/>
            </a:lvl1pPr>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2">
            <a:extLst>
              <a:ext uri="{FF2B5EF4-FFF2-40B4-BE49-F238E27FC236}">
                <a16:creationId xmlns:a16="http://schemas.microsoft.com/office/drawing/2014/main" id="{5D822213-6B1C-456C-BC5B-2A7DB8E06990}"/>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11" name="Slide Number Placeholder 5">
            <a:extLst>
              <a:ext uri="{FF2B5EF4-FFF2-40B4-BE49-F238E27FC236}">
                <a16:creationId xmlns:a16="http://schemas.microsoft.com/office/drawing/2014/main" id="{8F16DE81-2A64-4CCD-AE20-76A9C8751745}"/>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859226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ngle column content with gradient_Burs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4" name="Picture 3">
            <a:extLst>
              <a:ext uri="{FF2B5EF4-FFF2-40B4-BE49-F238E27FC236}">
                <a16:creationId xmlns:a16="http://schemas.microsoft.com/office/drawing/2014/main" id="{02AAFC28-F2ED-4E87-9E31-4EEE03DDE4C2}"/>
              </a:ext>
            </a:extLst>
          </p:cNvPr>
          <p:cNvPicPr>
            <a:picLocks noChangeAspect="1"/>
          </p:cNvPicPr>
          <p:nvPr userDrawn="1"/>
        </p:nvPicPr>
        <p:blipFill>
          <a:blip r:embed="rId2"/>
          <a:stretch>
            <a:fillRect/>
          </a:stretch>
        </p:blipFill>
        <p:spPr>
          <a:xfrm>
            <a:off x="1" y="0"/>
            <a:ext cx="4714875" cy="6858000"/>
          </a:xfrm>
          <a:prstGeom prst="rect">
            <a:avLst/>
          </a:prstGeom>
        </p:spPr>
      </p:pic>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p:nvPr>
        </p:nvSpPr>
        <p:spPr>
          <a:xfrm>
            <a:off x="617221" y="2974659"/>
            <a:ext cx="3584857" cy="1960798"/>
          </a:xfrm>
          <a:prstGeom prst="rect">
            <a:avLst/>
          </a:prstGeom>
        </p:spPr>
        <p:txBody>
          <a:bodyPr anchor="t">
            <a:normAutofit/>
          </a:bodyPr>
          <a:lstStyle>
            <a:lvl1pPr marL="0" indent="0">
              <a:spcBef>
                <a:spcPts val="450"/>
              </a:spcBef>
              <a:buFont typeface="Arial" panose="020B0604020202020204" pitchFamily="34" charset="0"/>
              <a:buNone/>
              <a:defRPr sz="21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edit Master text styles</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7221" y="649705"/>
            <a:ext cx="3497624" cy="1764817"/>
          </a:xfrm>
        </p:spPr>
        <p:txBody>
          <a:bodyPr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
        <p:nvSpPr>
          <p:cNvPr id="5" name="Content Placeholder 4">
            <a:extLst>
              <a:ext uri="{FF2B5EF4-FFF2-40B4-BE49-F238E27FC236}">
                <a16:creationId xmlns:a16="http://schemas.microsoft.com/office/drawing/2014/main" id="{4B3FB798-D2AF-417B-A54B-7FF55C4A5919}"/>
              </a:ext>
            </a:extLst>
          </p:cNvPr>
          <p:cNvSpPr>
            <a:spLocks noGrp="1"/>
          </p:cNvSpPr>
          <p:nvPr>
            <p:ph sz="quarter" idx="18"/>
          </p:nvPr>
        </p:nvSpPr>
        <p:spPr>
          <a:xfrm>
            <a:off x="5314950" y="1543050"/>
            <a:ext cx="6268212"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2">
            <a:extLst>
              <a:ext uri="{FF2B5EF4-FFF2-40B4-BE49-F238E27FC236}">
                <a16:creationId xmlns:a16="http://schemas.microsoft.com/office/drawing/2014/main" id="{A2019BA2-B6E1-C949-B3F9-78BA3050D8D2}"/>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6" name="Slide Number Placeholder 5">
            <a:extLst>
              <a:ext uri="{FF2B5EF4-FFF2-40B4-BE49-F238E27FC236}">
                <a16:creationId xmlns:a16="http://schemas.microsoft.com/office/drawing/2014/main" id="{C648A946-E687-AC4B-9DE5-07A2073E319B}"/>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622148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ngle column content with gradient_Circ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4" name="Picture 3">
            <a:extLst>
              <a:ext uri="{FF2B5EF4-FFF2-40B4-BE49-F238E27FC236}">
                <a16:creationId xmlns:a16="http://schemas.microsoft.com/office/drawing/2014/main" id="{4D7BFC57-996D-4003-B742-28C8634331EA}"/>
              </a:ext>
            </a:extLst>
          </p:cNvPr>
          <p:cNvPicPr>
            <a:picLocks noChangeAspect="1"/>
          </p:cNvPicPr>
          <p:nvPr userDrawn="1"/>
        </p:nvPicPr>
        <p:blipFill>
          <a:blip r:embed="rId2"/>
          <a:stretch>
            <a:fillRect/>
          </a:stretch>
        </p:blipFill>
        <p:spPr>
          <a:xfrm>
            <a:off x="6580" y="0"/>
            <a:ext cx="4436270" cy="6858000"/>
          </a:xfrm>
          <a:prstGeom prst="rect">
            <a:avLst/>
          </a:prstGeom>
        </p:spPr>
      </p:pic>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p:nvPr>
        </p:nvSpPr>
        <p:spPr>
          <a:xfrm>
            <a:off x="617221" y="2974659"/>
            <a:ext cx="3584857" cy="1960798"/>
          </a:xfrm>
          <a:prstGeom prst="rect">
            <a:avLst/>
          </a:prstGeom>
        </p:spPr>
        <p:txBody>
          <a:bodyPr anchor="t">
            <a:normAutofit/>
          </a:bodyPr>
          <a:lstStyle>
            <a:lvl1pPr marL="0" indent="0">
              <a:spcBef>
                <a:spcPts val="450"/>
              </a:spcBef>
              <a:buFont typeface="Arial" panose="020B0604020202020204" pitchFamily="34" charset="0"/>
              <a:buNone/>
              <a:defRPr sz="21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edit Master text styles</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7221" y="651511"/>
            <a:ext cx="3497624" cy="1757635"/>
          </a:xfrm>
        </p:spPr>
        <p:txBody>
          <a:bodyPr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
        <p:nvSpPr>
          <p:cNvPr id="10" name="Content Placeholder 4">
            <a:extLst>
              <a:ext uri="{FF2B5EF4-FFF2-40B4-BE49-F238E27FC236}">
                <a16:creationId xmlns:a16="http://schemas.microsoft.com/office/drawing/2014/main" id="{719F40C2-8EF4-43E7-9CE1-9785639608BA}"/>
              </a:ext>
            </a:extLst>
          </p:cNvPr>
          <p:cNvSpPr>
            <a:spLocks noGrp="1"/>
          </p:cNvSpPr>
          <p:nvPr>
            <p:ph sz="quarter" idx="18"/>
          </p:nvPr>
        </p:nvSpPr>
        <p:spPr>
          <a:xfrm>
            <a:off x="5314950" y="1543050"/>
            <a:ext cx="6268212"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D4E3D55A-B184-437D-BDFB-04CC19FDEABE}"/>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13" name="Slide Number Placeholder 5">
            <a:extLst>
              <a:ext uri="{FF2B5EF4-FFF2-40B4-BE49-F238E27FC236}">
                <a16:creationId xmlns:a16="http://schemas.microsoft.com/office/drawing/2014/main" id="{33B7C26C-58CA-4271-AB56-04ABB094D32F}"/>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4000839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ingle column content with gradient_Connected do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18" name="Picture 17">
            <a:extLst>
              <a:ext uri="{FF2B5EF4-FFF2-40B4-BE49-F238E27FC236}">
                <a16:creationId xmlns:a16="http://schemas.microsoft.com/office/drawing/2014/main" id="{1FA07B54-A565-41C5-BC35-D58B2582BE98}"/>
              </a:ext>
            </a:extLst>
          </p:cNvPr>
          <p:cNvPicPr>
            <a:picLocks noChangeAspect="1"/>
          </p:cNvPicPr>
          <p:nvPr userDrawn="1"/>
        </p:nvPicPr>
        <p:blipFill>
          <a:blip r:embed="rId2"/>
          <a:stretch>
            <a:fillRect/>
          </a:stretch>
        </p:blipFill>
        <p:spPr>
          <a:xfrm>
            <a:off x="966" y="3800049"/>
            <a:ext cx="4715533" cy="3057952"/>
          </a:xfrm>
          <a:prstGeom prst="rect">
            <a:avLst/>
          </a:prstGeom>
        </p:spPr>
      </p:pic>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7221" y="651511"/>
            <a:ext cx="3497624" cy="1757635"/>
          </a:xfrm>
        </p:spPr>
        <p:txBody>
          <a:bodyPr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p:nvPr>
        </p:nvSpPr>
        <p:spPr>
          <a:xfrm>
            <a:off x="617221" y="2974659"/>
            <a:ext cx="3584857" cy="1960798"/>
          </a:xfrm>
          <a:prstGeom prst="rect">
            <a:avLst/>
          </a:prstGeom>
        </p:spPr>
        <p:txBody>
          <a:bodyPr anchor="t">
            <a:normAutofit/>
          </a:bodyPr>
          <a:lstStyle>
            <a:lvl1pPr marL="0" indent="0">
              <a:spcBef>
                <a:spcPts val="450"/>
              </a:spcBef>
              <a:buFont typeface="Arial" panose="020B0604020202020204" pitchFamily="34" charset="0"/>
              <a:buNone/>
              <a:defRPr sz="21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edit Master text styles</a:t>
            </a:r>
          </a:p>
        </p:txBody>
      </p:sp>
      <p:sp>
        <p:nvSpPr>
          <p:cNvPr id="10" name="Content Placeholder 4">
            <a:extLst>
              <a:ext uri="{FF2B5EF4-FFF2-40B4-BE49-F238E27FC236}">
                <a16:creationId xmlns:a16="http://schemas.microsoft.com/office/drawing/2014/main" id="{D9594036-9550-42B7-9734-584A901460B6}"/>
              </a:ext>
            </a:extLst>
          </p:cNvPr>
          <p:cNvSpPr>
            <a:spLocks noGrp="1"/>
          </p:cNvSpPr>
          <p:nvPr>
            <p:ph sz="quarter" idx="18"/>
          </p:nvPr>
        </p:nvSpPr>
        <p:spPr>
          <a:xfrm>
            <a:off x="5314950" y="1543050"/>
            <a:ext cx="6268212"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B2CC8375-E4BD-4F72-8526-252381EAF4CC}"/>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13" name="Slide Number Placeholder 5">
            <a:extLst>
              <a:ext uri="{FF2B5EF4-FFF2-40B4-BE49-F238E27FC236}">
                <a16:creationId xmlns:a16="http://schemas.microsoft.com/office/drawing/2014/main" id="{5A8B2176-EEF2-45CD-A993-3FBCA7C7BBF7}"/>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1628331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column content with gradient_Ribb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4" name="Picture 3">
            <a:extLst>
              <a:ext uri="{FF2B5EF4-FFF2-40B4-BE49-F238E27FC236}">
                <a16:creationId xmlns:a16="http://schemas.microsoft.com/office/drawing/2014/main" id="{2B99C263-0F08-4E92-872A-B89FDC5BE0CF}"/>
              </a:ext>
            </a:extLst>
          </p:cNvPr>
          <p:cNvPicPr>
            <a:picLocks noChangeAspect="1"/>
          </p:cNvPicPr>
          <p:nvPr userDrawn="1"/>
        </p:nvPicPr>
        <p:blipFill>
          <a:blip r:embed="rId2"/>
          <a:stretch>
            <a:fillRect/>
          </a:stretch>
        </p:blipFill>
        <p:spPr>
          <a:xfrm>
            <a:off x="1" y="0"/>
            <a:ext cx="4714875" cy="6858000"/>
          </a:xfrm>
          <a:prstGeom prst="rect">
            <a:avLst/>
          </a:prstGeom>
        </p:spPr>
      </p:pic>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p:nvPr>
        </p:nvSpPr>
        <p:spPr>
          <a:xfrm>
            <a:off x="617221" y="2974659"/>
            <a:ext cx="3584857" cy="1960798"/>
          </a:xfrm>
          <a:prstGeom prst="rect">
            <a:avLst/>
          </a:prstGeom>
        </p:spPr>
        <p:txBody>
          <a:bodyPr anchor="t">
            <a:normAutofit/>
          </a:bodyPr>
          <a:lstStyle>
            <a:lvl1pPr marL="0" indent="0">
              <a:spcBef>
                <a:spcPts val="450"/>
              </a:spcBef>
              <a:buFont typeface="Arial" panose="020B0604020202020204" pitchFamily="34" charset="0"/>
              <a:buNone/>
              <a:defRPr sz="21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edit Master text styles</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7221" y="651511"/>
            <a:ext cx="3497624" cy="1757635"/>
          </a:xfrm>
        </p:spPr>
        <p:txBody>
          <a:bodyPr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
        <p:nvSpPr>
          <p:cNvPr id="10" name="Content Placeholder 4">
            <a:extLst>
              <a:ext uri="{FF2B5EF4-FFF2-40B4-BE49-F238E27FC236}">
                <a16:creationId xmlns:a16="http://schemas.microsoft.com/office/drawing/2014/main" id="{12FB587C-E532-47A8-B3BA-02B838784104}"/>
              </a:ext>
            </a:extLst>
          </p:cNvPr>
          <p:cNvSpPr>
            <a:spLocks noGrp="1"/>
          </p:cNvSpPr>
          <p:nvPr>
            <p:ph sz="quarter" idx="18"/>
          </p:nvPr>
        </p:nvSpPr>
        <p:spPr>
          <a:xfrm>
            <a:off x="5314950" y="1543050"/>
            <a:ext cx="6268212"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B12E6474-05AD-4805-B00E-1011E16CA0A6}"/>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13" name="Slide Number Placeholder 5">
            <a:extLst>
              <a:ext uri="{FF2B5EF4-FFF2-40B4-BE49-F238E27FC236}">
                <a16:creationId xmlns:a16="http://schemas.microsoft.com/office/drawing/2014/main" id="{66BC3949-218C-4E43-8A46-51AD0134E1B5}"/>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6008946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ingle column content with gradient_Rip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4" name="Picture 3">
            <a:extLst>
              <a:ext uri="{FF2B5EF4-FFF2-40B4-BE49-F238E27FC236}">
                <a16:creationId xmlns:a16="http://schemas.microsoft.com/office/drawing/2014/main" id="{61576A79-F712-43F9-8C0C-3C090C1046DA}"/>
              </a:ext>
            </a:extLst>
          </p:cNvPr>
          <p:cNvPicPr>
            <a:picLocks noChangeAspect="1"/>
          </p:cNvPicPr>
          <p:nvPr userDrawn="1"/>
        </p:nvPicPr>
        <p:blipFill>
          <a:blip r:embed="rId2"/>
          <a:stretch>
            <a:fillRect/>
          </a:stretch>
        </p:blipFill>
        <p:spPr>
          <a:xfrm>
            <a:off x="2588" y="0"/>
            <a:ext cx="4714875" cy="6858000"/>
          </a:xfrm>
          <a:prstGeom prst="rect">
            <a:avLst/>
          </a:prstGeom>
        </p:spPr>
      </p:pic>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p:nvPr>
        </p:nvSpPr>
        <p:spPr>
          <a:xfrm>
            <a:off x="617221" y="2974659"/>
            <a:ext cx="3584857" cy="1960798"/>
          </a:xfrm>
          <a:prstGeom prst="rect">
            <a:avLst/>
          </a:prstGeom>
        </p:spPr>
        <p:txBody>
          <a:bodyPr anchor="t">
            <a:normAutofit/>
          </a:bodyPr>
          <a:lstStyle>
            <a:lvl1pPr marL="0" indent="0">
              <a:spcBef>
                <a:spcPts val="450"/>
              </a:spcBef>
              <a:buFont typeface="Arial" panose="020B0604020202020204" pitchFamily="34" charset="0"/>
              <a:buNone/>
              <a:defRPr sz="21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edit Master text styles</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7221" y="651511"/>
            <a:ext cx="3497624" cy="1757635"/>
          </a:xfrm>
        </p:spPr>
        <p:txBody>
          <a:bodyPr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
        <p:nvSpPr>
          <p:cNvPr id="10" name="Content Placeholder 4">
            <a:extLst>
              <a:ext uri="{FF2B5EF4-FFF2-40B4-BE49-F238E27FC236}">
                <a16:creationId xmlns:a16="http://schemas.microsoft.com/office/drawing/2014/main" id="{907A66F7-D342-4ADD-B44A-06AB4D09EE25}"/>
              </a:ext>
            </a:extLst>
          </p:cNvPr>
          <p:cNvSpPr>
            <a:spLocks noGrp="1"/>
          </p:cNvSpPr>
          <p:nvPr>
            <p:ph sz="quarter" idx="18"/>
          </p:nvPr>
        </p:nvSpPr>
        <p:spPr>
          <a:xfrm>
            <a:off x="5314950" y="1543050"/>
            <a:ext cx="6268212"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5BBC25B8-3465-436E-971E-89B3C7D2B6A2}"/>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13" name="Slide Number Placeholder 5">
            <a:extLst>
              <a:ext uri="{FF2B5EF4-FFF2-40B4-BE49-F238E27FC236}">
                <a16:creationId xmlns:a16="http://schemas.microsoft.com/office/drawing/2014/main" id="{A5C04469-4B02-4A36-8AA6-FE5FCD5BB2CB}"/>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3226386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ingle column content with gradient_Wav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4" name="Picture 3">
            <a:extLst>
              <a:ext uri="{FF2B5EF4-FFF2-40B4-BE49-F238E27FC236}">
                <a16:creationId xmlns:a16="http://schemas.microsoft.com/office/drawing/2014/main" id="{5DAFAB42-2A67-4BB2-B1B4-26D56D317DBE}"/>
              </a:ext>
            </a:extLst>
          </p:cNvPr>
          <p:cNvPicPr>
            <a:picLocks noChangeAspect="1"/>
          </p:cNvPicPr>
          <p:nvPr userDrawn="1"/>
        </p:nvPicPr>
        <p:blipFill>
          <a:blip r:embed="rId2"/>
          <a:stretch>
            <a:fillRect/>
          </a:stretch>
        </p:blipFill>
        <p:spPr>
          <a:xfrm>
            <a:off x="-11382" y="0"/>
            <a:ext cx="3893345" cy="6858000"/>
          </a:xfrm>
          <a:prstGeom prst="rect">
            <a:avLst/>
          </a:prstGeom>
        </p:spPr>
      </p:pic>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p:nvPr>
        </p:nvSpPr>
        <p:spPr>
          <a:xfrm>
            <a:off x="617221" y="2974659"/>
            <a:ext cx="3584857" cy="1960798"/>
          </a:xfrm>
          <a:prstGeom prst="rect">
            <a:avLst/>
          </a:prstGeom>
        </p:spPr>
        <p:txBody>
          <a:bodyPr anchor="t">
            <a:normAutofit/>
          </a:bodyPr>
          <a:lstStyle>
            <a:lvl1pPr marL="0" indent="0">
              <a:spcBef>
                <a:spcPts val="450"/>
              </a:spcBef>
              <a:buFont typeface="Arial" panose="020B0604020202020204" pitchFamily="34" charset="0"/>
              <a:buNone/>
              <a:defRPr sz="21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edit Master text styles</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7221" y="651511"/>
            <a:ext cx="3497624" cy="1757635"/>
          </a:xfrm>
        </p:spPr>
        <p:txBody>
          <a:bodyPr anchor="t"/>
          <a:lstStyle>
            <a:lvl1pPr>
              <a:defRPr>
                <a:solidFill>
                  <a:schemeClr val="bg1"/>
                </a:solidFill>
              </a:defRPr>
            </a:lvl1pPr>
          </a:lstStyle>
          <a:p>
            <a:r>
              <a:rPr lang="en-US"/>
              <a:t>Click to edit Master title style</a:t>
            </a:r>
            <a:endParaRPr lang="en-US" dirty="0"/>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6" y="6227202"/>
            <a:ext cx="644785" cy="260942"/>
          </a:xfrm>
          <a:prstGeom prst="rect">
            <a:avLst/>
          </a:prstGeom>
        </p:spPr>
      </p:pic>
      <p:sp>
        <p:nvSpPr>
          <p:cNvPr id="10" name="Content Placeholder 4">
            <a:extLst>
              <a:ext uri="{FF2B5EF4-FFF2-40B4-BE49-F238E27FC236}">
                <a16:creationId xmlns:a16="http://schemas.microsoft.com/office/drawing/2014/main" id="{B876A116-DD1D-4ECB-A354-699E1F21F6C5}"/>
              </a:ext>
            </a:extLst>
          </p:cNvPr>
          <p:cNvSpPr>
            <a:spLocks noGrp="1"/>
          </p:cNvSpPr>
          <p:nvPr>
            <p:ph sz="quarter" idx="18"/>
          </p:nvPr>
        </p:nvSpPr>
        <p:spPr>
          <a:xfrm>
            <a:off x="5314950" y="1543050"/>
            <a:ext cx="6268212"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3D9900B1-1392-49DE-BE60-A79E7137CF61}"/>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13" name="Slide Number Placeholder 5">
            <a:extLst>
              <a:ext uri="{FF2B5EF4-FFF2-40B4-BE49-F238E27FC236}">
                <a16:creationId xmlns:a16="http://schemas.microsoft.com/office/drawing/2014/main" id="{78479C17-19B1-492E-A1C5-5CF1E078EE01}"/>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958259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 - Blue gradient">
    <p:bg>
      <p:bgRef idx="1001">
        <a:schemeClr val="bg1"/>
      </p:bgRef>
    </p:bg>
    <p:spTree>
      <p:nvGrpSpPr>
        <p:cNvPr id="1" name=""/>
        <p:cNvGrpSpPr/>
        <p:nvPr/>
      </p:nvGrpSpPr>
      <p:grpSpPr>
        <a:xfrm>
          <a:off x="0" y="0"/>
          <a:ext cx="0" cy="0"/>
          <a:chOff x="0" y="0"/>
          <a:chExt cx="0" cy="0"/>
        </a:xfrm>
      </p:grpSpPr>
      <p:pic>
        <p:nvPicPr>
          <p:cNvPr id="7" name="Picture 6" descr="A body of water with a mountain in the background&#10;&#10;Description automatically generated">
            <a:extLst>
              <a:ext uri="{FF2B5EF4-FFF2-40B4-BE49-F238E27FC236}">
                <a16:creationId xmlns:a16="http://schemas.microsoft.com/office/drawing/2014/main" id="{B92443FF-9D46-4FEA-B425-69939657E2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12192001" cy="6858001"/>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160385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lvl1pPr>
              <a:defRPr/>
            </a:lvl1p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4" name="Content Placeholder 3">
            <a:extLst>
              <a:ext uri="{FF2B5EF4-FFF2-40B4-BE49-F238E27FC236}">
                <a16:creationId xmlns:a16="http://schemas.microsoft.com/office/drawing/2014/main" id="{BCEFEF01-31B1-41D1-8768-41AEA2E12FC7}"/>
              </a:ext>
            </a:extLst>
          </p:cNvPr>
          <p:cNvSpPr>
            <a:spLocks noGrp="1"/>
          </p:cNvSpPr>
          <p:nvPr>
            <p:ph sz="quarter" idx="10"/>
          </p:nvPr>
        </p:nvSpPr>
        <p:spPr>
          <a:xfrm>
            <a:off x="617220" y="1545908"/>
            <a:ext cx="5143500"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a:extLst>
              <a:ext uri="{FF2B5EF4-FFF2-40B4-BE49-F238E27FC236}">
                <a16:creationId xmlns:a16="http://schemas.microsoft.com/office/drawing/2014/main" id="{653C49F0-CE82-4EED-BA56-F78BC46350D5}"/>
              </a:ext>
            </a:extLst>
          </p:cNvPr>
          <p:cNvSpPr>
            <a:spLocks noGrp="1"/>
          </p:cNvSpPr>
          <p:nvPr>
            <p:ph sz="quarter" idx="11"/>
          </p:nvPr>
        </p:nvSpPr>
        <p:spPr>
          <a:xfrm>
            <a:off x="6446520" y="1545908"/>
            <a:ext cx="5143500" cy="4457700"/>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2">
            <a:extLst>
              <a:ext uri="{FF2B5EF4-FFF2-40B4-BE49-F238E27FC236}">
                <a16:creationId xmlns:a16="http://schemas.microsoft.com/office/drawing/2014/main" id="{40C53674-234B-491B-A913-880F27DCD1DE}"/>
              </a:ext>
            </a:extLst>
          </p:cNvPr>
          <p:cNvSpPr>
            <a:spLocks noGrp="1"/>
          </p:cNvSpPr>
          <p:nvPr>
            <p:ph type="ftr" sz="quarter" idx="12"/>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9" name="Slide Number Placeholder 4">
            <a:extLst>
              <a:ext uri="{FF2B5EF4-FFF2-40B4-BE49-F238E27FC236}">
                <a16:creationId xmlns:a16="http://schemas.microsoft.com/office/drawing/2014/main" id="{24722BEC-923E-43AB-B873-A888CCB41B18}"/>
              </a:ext>
            </a:extLst>
          </p:cNvPr>
          <p:cNvSpPr>
            <a:spLocks noGrp="1"/>
          </p:cNvSpPr>
          <p:nvPr>
            <p:ph type="sldNum" sz="quarter" idx="13"/>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703181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content with sub header">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50E4D3-554F-4EDC-A7CD-28E05B1025C3}"/>
              </a:ext>
            </a:extLst>
          </p:cNvPr>
          <p:cNvSpPr>
            <a:spLocks noGrp="1"/>
          </p:cNvSpPr>
          <p:nvPr>
            <p:ph type="body" sz="quarter" idx="13"/>
          </p:nvPr>
        </p:nvSpPr>
        <p:spPr>
          <a:xfrm>
            <a:off x="617220" y="1207287"/>
            <a:ext cx="10972800" cy="334792"/>
          </a:xfrm>
          <a:prstGeom prst="rect">
            <a:avLst/>
          </a:prstGeom>
        </p:spPr>
        <p:txBody>
          <a:bodyPr/>
          <a:lstStyle>
            <a:lvl1pPr>
              <a:defRPr sz="2100">
                <a:solidFill>
                  <a:schemeClr val="accent2"/>
                </a:solidFill>
              </a:defRPr>
            </a:lvl1pPr>
            <a:lvl2pPr marL="23813" indent="0">
              <a:buNone/>
              <a:defRPr/>
            </a:lvl2pPr>
          </a:lstStyle>
          <a:p>
            <a:pPr lvl="0"/>
            <a:r>
              <a:rPr lang="en-US"/>
              <a:t>Click to edit Master text styles</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lvl1pPr>
              <a:defRPr/>
            </a:lvl1p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9" name="Content Placeholder 3">
            <a:extLst>
              <a:ext uri="{FF2B5EF4-FFF2-40B4-BE49-F238E27FC236}">
                <a16:creationId xmlns:a16="http://schemas.microsoft.com/office/drawing/2014/main" id="{4D59298B-A987-42E3-A7E9-213ADB03F66B}"/>
              </a:ext>
            </a:extLst>
          </p:cNvPr>
          <p:cNvSpPr>
            <a:spLocks noGrp="1"/>
          </p:cNvSpPr>
          <p:nvPr>
            <p:ph sz="quarter" idx="10"/>
          </p:nvPr>
        </p:nvSpPr>
        <p:spPr>
          <a:xfrm>
            <a:off x="617220" y="1885951"/>
            <a:ext cx="5143500" cy="41176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a:extLst>
              <a:ext uri="{FF2B5EF4-FFF2-40B4-BE49-F238E27FC236}">
                <a16:creationId xmlns:a16="http://schemas.microsoft.com/office/drawing/2014/main" id="{BA588A03-89C7-4B46-9634-8EA163535511}"/>
              </a:ext>
            </a:extLst>
          </p:cNvPr>
          <p:cNvSpPr>
            <a:spLocks noGrp="1"/>
          </p:cNvSpPr>
          <p:nvPr>
            <p:ph sz="quarter" idx="11"/>
          </p:nvPr>
        </p:nvSpPr>
        <p:spPr>
          <a:xfrm>
            <a:off x="6446520" y="1885951"/>
            <a:ext cx="5143500" cy="41176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2">
            <a:extLst>
              <a:ext uri="{FF2B5EF4-FFF2-40B4-BE49-F238E27FC236}">
                <a16:creationId xmlns:a16="http://schemas.microsoft.com/office/drawing/2014/main" id="{15D4464A-57E5-4684-84D4-243F24431703}"/>
              </a:ext>
            </a:extLst>
          </p:cNvPr>
          <p:cNvSpPr>
            <a:spLocks noGrp="1"/>
          </p:cNvSpPr>
          <p:nvPr>
            <p:ph type="ftr" sz="quarter" idx="14"/>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3" name="Slide Number Placeholder 4">
            <a:extLst>
              <a:ext uri="{FF2B5EF4-FFF2-40B4-BE49-F238E27FC236}">
                <a16:creationId xmlns:a16="http://schemas.microsoft.com/office/drawing/2014/main" id="{98FD2AA3-4217-4154-8A2A-2425DB5663FE}"/>
              </a:ext>
            </a:extLst>
          </p:cNvPr>
          <p:cNvSpPr>
            <a:spLocks noGrp="1"/>
          </p:cNvSpPr>
          <p:nvPr>
            <p:ph type="sldNum" sz="quarter" idx="15"/>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597752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15:guide id="1" orient="horz" pos="158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content with image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6F5CE07-F24F-4867-A13A-760F19E8BBAE}"/>
              </a:ext>
            </a:extLst>
          </p:cNvPr>
          <p:cNvSpPr>
            <a:spLocks noGrp="1"/>
          </p:cNvSpPr>
          <p:nvPr>
            <p:ph sz="quarter" idx="12" hasCustomPrompt="1"/>
          </p:nvPr>
        </p:nvSpPr>
        <p:spPr>
          <a:xfrm>
            <a:off x="617220" y="1543051"/>
            <a:ext cx="5143500" cy="1714501"/>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edit image</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8" name="Content Placeholder 9">
            <a:extLst>
              <a:ext uri="{FF2B5EF4-FFF2-40B4-BE49-F238E27FC236}">
                <a16:creationId xmlns:a16="http://schemas.microsoft.com/office/drawing/2014/main" id="{ECE7FB66-F265-474B-B58E-072044F16DA2}"/>
              </a:ext>
            </a:extLst>
          </p:cNvPr>
          <p:cNvSpPr>
            <a:spLocks noGrp="1"/>
          </p:cNvSpPr>
          <p:nvPr>
            <p:ph sz="quarter" idx="13" hasCustomPrompt="1"/>
          </p:nvPr>
        </p:nvSpPr>
        <p:spPr>
          <a:xfrm>
            <a:off x="6439662" y="1543050"/>
            <a:ext cx="5143500" cy="1714500"/>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edit image</a:t>
            </a:r>
          </a:p>
        </p:txBody>
      </p:sp>
      <p:sp>
        <p:nvSpPr>
          <p:cNvPr id="12" name="Content Placeholder 3">
            <a:extLst>
              <a:ext uri="{FF2B5EF4-FFF2-40B4-BE49-F238E27FC236}">
                <a16:creationId xmlns:a16="http://schemas.microsoft.com/office/drawing/2014/main" id="{77461BD2-2A47-492C-BF7D-9764B2E71E85}"/>
              </a:ext>
            </a:extLst>
          </p:cNvPr>
          <p:cNvSpPr>
            <a:spLocks noGrp="1"/>
          </p:cNvSpPr>
          <p:nvPr>
            <p:ph sz="quarter" idx="10"/>
          </p:nvPr>
        </p:nvSpPr>
        <p:spPr>
          <a:xfrm>
            <a:off x="617220" y="3429001"/>
            <a:ext cx="5143500" cy="257460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3">
            <a:extLst>
              <a:ext uri="{FF2B5EF4-FFF2-40B4-BE49-F238E27FC236}">
                <a16:creationId xmlns:a16="http://schemas.microsoft.com/office/drawing/2014/main" id="{1E764BAF-F952-4CC2-92C6-0970A6BA0F83}"/>
              </a:ext>
            </a:extLst>
          </p:cNvPr>
          <p:cNvSpPr>
            <a:spLocks noGrp="1"/>
          </p:cNvSpPr>
          <p:nvPr>
            <p:ph sz="quarter" idx="11"/>
          </p:nvPr>
        </p:nvSpPr>
        <p:spPr>
          <a:xfrm>
            <a:off x="6446520" y="3429001"/>
            <a:ext cx="5143500" cy="257460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2">
            <a:extLst>
              <a:ext uri="{FF2B5EF4-FFF2-40B4-BE49-F238E27FC236}">
                <a16:creationId xmlns:a16="http://schemas.microsoft.com/office/drawing/2014/main" id="{D738A78A-537D-4548-B2FA-B8B6FDF253BF}"/>
              </a:ext>
            </a:extLst>
          </p:cNvPr>
          <p:cNvSpPr>
            <a:spLocks noGrp="1"/>
          </p:cNvSpPr>
          <p:nvPr>
            <p:ph type="ftr" sz="quarter" idx="14"/>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4" name="Slide Number Placeholder 4">
            <a:extLst>
              <a:ext uri="{FF2B5EF4-FFF2-40B4-BE49-F238E27FC236}">
                <a16:creationId xmlns:a16="http://schemas.microsoft.com/office/drawing/2014/main" id="{FEB9C796-B36B-4991-9E35-3487AD43978E}"/>
              </a:ext>
            </a:extLst>
          </p:cNvPr>
          <p:cNvSpPr>
            <a:spLocks noGrp="1"/>
          </p:cNvSpPr>
          <p:nvPr>
            <p:ph type="sldNum" sz="quarter" idx="15"/>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304610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content with images with sub header">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6F5CE07-F24F-4867-A13A-760F19E8BBAE}"/>
              </a:ext>
            </a:extLst>
          </p:cNvPr>
          <p:cNvSpPr>
            <a:spLocks noGrp="1"/>
          </p:cNvSpPr>
          <p:nvPr>
            <p:ph sz="quarter" idx="12" hasCustomPrompt="1"/>
          </p:nvPr>
        </p:nvSpPr>
        <p:spPr>
          <a:xfrm>
            <a:off x="617220" y="1894523"/>
            <a:ext cx="5143500" cy="1714501"/>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edit image</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8" name="Content Placeholder 9">
            <a:extLst>
              <a:ext uri="{FF2B5EF4-FFF2-40B4-BE49-F238E27FC236}">
                <a16:creationId xmlns:a16="http://schemas.microsoft.com/office/drawing/2014/main" id="{ECE7FB66-F265-474B-B58E-072044F16DA2}"/>
              </a:ext>
            </a:extLst>
          </p:cNvPr>
          <p:cNvSpPr>
            <a:spLocks noGrp="1"/>
          </p:cNvSpPr>
          <p:nvPr>
            <p:ph sz="quarter" idx="13" hasCustomPrompt="1"/>
          </p:nvPr>
        </p:nvSpPr>
        <p:spPr>
          <a:xfrm>
            <a:off x="6439662" y="1894523"/>
            <a:ext cx="5143500" cy="1714500"/>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edit image</a:t>
            </a:r>
          </a:p>
        </p:txBody>
      </p:sp>
      <p:sp>
        <p:nvSpPr>
          <p:cNvPr id="9" name="Text Placeholder 3">
            <a:extLst>
              <a:ext uri="{FF2B5EF4-FFF2-40B4-BE49-F238E27FC236}">
                <a16:creationId xmlns:a16="http://schemas.microsoft.com/office/drawing/2014/main" id="{BDF0CE24-2D40-47B1-BC8B-ADE5C77B0154}"/>
              </a:ext>
            </a:extLst>
          </p:cNvPr>
          <p:cNvSpPr>
            <a:spLocks noGrp="1"/>
          </p:cNvSpPr>
          <p:nvPr>
            <p:ph type="body" sz="quarter" idx="14"/>
          </p:nvPr>
        </p:nvSpPr>
        <p:spPr>
          <a:xfrm>
            <a:off x="617220" y="1207287"/>
            <a:ext cx="10972800" cy="334792"/>
          </a:xfrm>
          <a:prstGeom prst="rect">
            <a:avLst/>
          </a:prstGeom>
        </p:spPr>
        <p:txBody>
          <a:bodyPr/>
          <a:lstStyle>
            <a:lvl1pPr>
              <a:defRPr sz="2100">
                <a:solidFill>
                  <a:schemeClr val="accent2"/>
                </a:solidFill>
              </a:defRPr>
            </a:lvl1pPr>
            <a:lvl2pPr marL="23813" indent="0">
              <a:buNone/>
              <a:defRPr/>
            </a:lvl2pPr>
          </a:lstStyle>
          <a:p>
            <a:pPr lvl="0"/>
            <a:r>
              <a:rPr lang="en-US"/>
              <a:t>Click to edit Master text styles</a:t>
            </a:r>
          </a:p>
        </p:txBody>
      </p:sp>
      <p:sp>
        <p:nvSpPr>
          <p:cNvPr id="13" name="Content Placeholder 3">
            <a:extLst>
              <a:ext uri="{FF2B5EF4-FFF2-40B4-BE49-F238E27FC236}">
                <a16:creationId xmlns:a16="http://schemas.microsoft.com/office/drawing/2014/main" id="{73DE4608-8DD4-450D-88C7-2E10C2F07ED7}"/>
              </a:ext>
            </a:extLst>
          </p:cNvPr>
          <p:cNvSpPr>
            <a:spLocks noGrp="1"/>
          </p:cNvSpPr>
          <p:nvPr>
            <p:ph sz="quarter" idx="10"/>
          </p:nvPr>
        </p:nvSpPr>
        <p:spPr>
          <a:xfrm>
            <a:off x="617220" y="3786839"/>
            <a:ext cx="5143500" cy="2216769"/>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a:extLst>
              <a:ext uri="{FF2B5EF4-FFF2-40B4-BE49-F238E27FC236}">
                <a16:creationId xmlns:a16="http://schemas.microsoft.com/office/drawing/2014/main" id="{938A3658-1EBD-45DC-9E71-389C81F816B7}"/>
              </a:ext>
            </a:extLst>
          </p:cNvPr>
          <p:cNvSpPr>
            <a:spLocks noGrp="1"/>
          </p:cNvSpPr>
          <p:nvPr>
            <p:ph sz="quarter" idx="11"/>
          </p:nvPr>
        </p:nvSpPr>
        <p:spPr>
          <a:xfrm>
            <a:off x="6446520" y="3786839"/>
            <a:ext cx="5143500" cy="2216769"/>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CB8F2265-FBFC-4734-8522-4896D3A20304}"/>
              </a:ext>
            </a:extLst>
          </p:cNvPr>
          <p:cNvSpPr>
            <a:spLocks noGrp="1"/>
          </p:cNvSpPr>
          <p:nvPr>
            <p:ph type="ftr" sz="quarter" idx="15"/>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5" name="Slide Number Placeholder 4">
            <a:extLst>
              <a:ext uri="{FF2B5EF4-FFF2-40B4-BE49-F238E27FC236}">
                <a16:creationId xmlns:a16="http://schemas.microsoft.com/office/drawing/2014/main" id="{11D6A2DA-6756-4D85-A3E0-9C422F3C2A4F}"/>
              </a:ext>
            </a:extLst>
          </p:cNvPr>
          <p:cNvSpPr>
            <a:spLocks noGrp="1"/>
          </p:cNvSpPr>
          <p:nvPr>
            <p:ph type="sldNum" sz="quarter" idx="16"/>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1758121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15:guide id="1"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p>
            <a:r>
              <a:rPr lang="en-US" dirty="0"/>
              <a:t>Click to edit your title</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9" name="Content Placeholder 3">
            <a:extLst>
              <a:ext uri="{FF2B5EF4-FFF2-40B4-BE49-F238E27FC236}">
                <a16:creationId xmlns:a16="http://schemas.microsoft.com/office/drawing/2014/main" id="{DB2CD8E8-9E72-4D56-90B0-0B8A6D043023}"/>
              </a:ext>
            </a:extLst>
          </p:cNvPr>
          <p:cNvSpPr>
            <a:spLocks noGrp="1"/>
          </p:cNvSpPr>
          <p:nvPr>
            <p:ph sz="quarter" idx="10"/>
          </p:nvPr>
        </p:nvSpPr>
        <p:spPr>
          <a:xfrm>
            <a:off x="617220" y="1543051"/>
            <a:ext cx="3497580" cy="44605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a:extLst>
              <a:ext uri="{FF2B5EF4-FFF2-40B4-BE49-F238E27FC236}">
                <a16:creationId xmlns:a16="http://schemas.microsoft.com/office/drawing/2014/main" id="{4571EAEF-C867-4DD2-82CD-7FAE4C647250}"/>
              </a:ext>
            </a:extLst>
          </p:cNvPr>
          <p:cNvSpPr>
            <a:spLocks noGrp="1"/>
          </p:cNvSpPr>
          <p:nvPr>
            <p:ph sz="quarter" idx="11"/>
          </p:nvPr>
        </p:nvSpPr>
        <p:spPr>
          <a:xfrm>
            <a:off x="4351020" y="1543051"/>
            <a:ext cx="3497580" cy="44605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3">
            <a:extLst>
              <a:ext uri="{FF2B5EF4-FFF2-40B4-BE49-F238E27FC236}">
                <a16:creationId xmlns:a16="http://schemas.microsoft.com/office/drawing/2014/main" id="{60AAD84C-DAAE-47A6-9E77-BB412A8CC963}"/>
              </a:ext>
            </a:extLst>
          </p:cNvPr>
          <p:cNvSpPr>
            <a:spLocks noGrp="1"/>
          </p:cNvSpPr>
          <p:nvPr>
            <p:ph sz="quarter" idx="12"/>
          </p:nvPr>
        </p:nvSpPr>
        <p:spPr>
          <a:xfrm>
            <a:off x="8084820" y="1543051"/>
            <a:ext cx="3497580" cy="44605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2">
            <a:extLst>
              <a:ext uri="{FF2B5EF4-FFF2-40B4-BE49-F238E27FC236}">
                <a16:creationId xmlns:a16="http://schemas.microsoft.com/office/drawing/2014/main" id="{884BB8B6-C08A-4C3F-A31F-E056DEFD5873}"/>
              </a:ext>
            </a:extLst>
          </p:cNvPr>
          <p:cNvSpPr>
            <a:spLocks noGrp="1"/>
          </p:cNvSpPr>
          <p:nvPr>
            <p:ph type="ftr" sz="quarter" idx="13"/>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4" name="Slide Number Placeholder 4">
            <a:extLst>
              <a:ext uri="{FF2B5EF4-FFF2-40B4-BE49-F238E27FC236}">
                <a16:creationId xmlns:a16="http://schemas.microsoft.com/office/drawing/2014/main" id="{7509797E-7360-4529-808A-C50F510B9507}"/>
              </a:ext>
            </a:extLst>
          </p:cNvPr>
          <p:cNvSpPr>
            <a:spLocks noGrp="1"/>
          </p:cNvSpPr>
          <p:nvPr>
            <p:ph type="sldNum" sz="quarter" idx="14"/>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181793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column content with sub header">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p>
            <a:r>
              <a:rPr lang="en-US" dirty="0"/>
              <a:t>Click to edit your title</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8" name="Text Placeholder 3">
            <a:extLst>
              <a:ext uri="{FF2B5EF4-FFF2-40B4-BE49-F238E27FC236}">
                <a16:creationId xmlns:a16="http://schemas.microsoft.com/office/drawing/2014/main" id="{6D2C4081-7BCC-4188-A50E-DCF1605DCEBD}"/>
              </a:ext>
            </a:extLst>
          </p:cNvPr>
          <p:cNvSpPr>
            <a:spLocks noGrp="1"/>
          </p:cNvSpPr>
          <p:nvPr>
            <p:ph type="body" sz="quarter" idx="14"/>
          </p:nvPr>
        </p:nvSpPr>
        <p:spPr>
          <a:xfrm>
            <a:off x="617220" y="1207287"/>
            <a:ext cx="10972800" cy="334792"/>
          </a:xfrm>
          <a:prstGeom prst="rect">
            <a:avLst/>
          </a:prstGeom>
        </p:spPr>
        <p:txBody>
          <a:bodyPr/>
          <a:lstStyle>
            <a:lvl1pPr>
              <a:defRPr sz="2100">
                <a:solidFill>
                  <a:schemeClr val="accent2"/>
                </a:solidFill>
              </a:defRPr>
            </a:lvl1pPr>
            <a:lvl2pPr marL="23813" indent="0">
              <a:buNone/>
              <a:defRPr/>
            </a:lvl2pPr>
          </a:lstStyle>
          <a:p>
            <a:pPr lvl="0"/>
            <a:r>
              <a:rPr lang="en-US"/>
              <a:t>Click to edit Master text styles</a:t>
            </a:r>
          </a:p>
        </p:txBody>
      </p:sp>
      <p:sp>
        <p:nvSpPr>
          <p:cNvPr id="12" name="Content Placeholder 3">
            <a:extLst>
              <a:ext uri="{FF2B5EF4-FFF2-40B4-BE49-F238E27FC236}">
                <a16:creationId xmlns:a16="http://schemas.microsoft.com/office/drawing/2014/main" id="{A74E883C-E2FC-4F58-9009-05A617756BE3}"/>
              </a:ext>
            </a:extLst>
          </p:cNvPr>
          <p:cNvSpPr>
            <a:spLocks noGrp="1"/>
          </p:cNvSpPr>
          <p:nvPr>
            <p:ph sz="quarter" idx="10"/>
          </p:nvPr>
        </p:nvSpPr>
        <p:spPr>
          <a:xfrm>
            <a:off x="617220" y="1885951"/>
            <a:ext cx="3497580" cy="41176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3">
            <a:extLst>
              <a:ext uri="{FF2B5EF4-FFF2-40B4-BE49-F238E27FC236}">
                <a16:creationId xmlns:a16="http://schemas.microsoft.com/office/drawing/2014/main" id="{FDD92914-45A2-4D3F-BB10-6361AFD0F94D}"/>
              </a:ext>
            </a:extLst>
          </p:cNvPr>
          <p:cNvSpPr>
            <a:spLocks noGrp="1"/>
          </p:cNvSpPr>
          <p:nvPr>
            <p:ph sz="quarter" idx="11"/>
          </p:nvPr>
        </p:nvSpPr>
        <p:spPr>
          <a:xfrm>
            <a:off x="4351020" y="1885951"/>
            <a:ext cx="3497580" cy="41176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a:extLst>
              <a:ext uri="{FF2B5EF4-FFF2-40B4-BE49-F238E27FC236}">
                <a16:creationId xmlns:a16="http://schemas.microsoft.com/office/drawing/2014/main" id="{BC51BB8D-3F88-4E9E-9FF1-E90150FB0EBA}"/>
              </a:ext>
            </a:extLst>
          </p:cNvPr>
          <p:cNvSpPr>
            <a:spLocks noGrp="1"/>
          </p:cNvSpPr>
          <p:nvPr>
            <p:ph sz="quarter" idx="12"/>
          </p:nvPr>
        </p:nvSpPr>
        <p:spPr>
          <a:xfrm>
            <a:off x="8084820" y="1885951"/>
            <a:ext cx="3497580" cy="4117658"/>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2">
            <a:extLst>
              <a:ext uri="{FF2B5EF4-FFF2-40B4-BE49-F238E27FC236}">
                <a16:creationId xmlns:a16="http://schemas.microsoft.com/office/drawing/2014/main" id="{D44E4427-3106-44BB-948B-6647D65CD834}"/>
              </a:ext>
            </a:extLst>
          </p:cNvPr>
          <p:cNvSpPr>
            <a:spLocks noGrp="1"/>
          </p:cNvSpPr>
          <p:nvPr>
            <p:ph type="ftr" sz="quarter" idx="15"/>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5" name="Slide Number Placeholder 4">
            <a:extLst>
              <a:ext uri="{FF2B5EF4-FFF2-40B4-BE49-F238E27FC236}">
                <a16:creationId xmlns:a16="http://schemas.microsoft.com/office/drawing/2014/main" id="{E8C2D45D-B849-48A8-A3A8-4F3A4D37F213}"/>
              </a:ext>
            </a:extLst>
          </p:cNvPr>
          <p:cNvSpPr>
            <a:spLocks noGrp="1"/>
          </p:cNvSpPr>
          <p:nvPr>
            <p:ph type="sldNum" sz="quarter" idx="16"/>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301819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15:guide id="1"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content with images">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82B100B-D865-4AF1-B607-869036CFA726}"/>
              </a:ext>
            </a:extLst>
          </p:cNvPr>
          <p:cNvSpPr>
            <a:spLocks noGrp="1"/>
          </p:cNvSpPr>
          <p:nvPr>
            <p:ph sz="quarter" idx="13" hasCustomPrompt="1"/>
          </p:nvPr>
        </p:nvSpPr>
        <p:spPr>
          <a:xfrm>
            <a:off x="617221" y="1543052"/>
            <a:ext cx="3497623" cy="1949235"/>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add an image</a:t>
            </a:r>
          </a:p>
        </p:txBody>
      </p:sp>
      <p:sp>
        <p:nvSpPr>
          <p:cNvPr id="14" name="Content Placeholder 9">
            <a:extLst>
              <a:ext uri="{FF2B5EF4-FFF2-40B4-BE49-F238E27FC236}">
                <a16:creationId xmlns:a16="http://schemas.microsoft.com/office/drawing/2014/main" id="{73AE5AB5-B478-4DEC-8179-A5178D9F6F31}"/>
              </a:ext>
            </a:extLst>
          </p:cNvPr>
          <p:cNvSpPr>
            <a:spLocks noGrp="1"/>
          </p:cNvSpPr>
          <p:nvPr>
            <p:ph sz="quarter" idx="14" hasCustomPrompt="1"/>
          </p:nvPr>
        </p:nvSpPr>
        <p:spPr>
          <a:xfrm>
            <a:off x="4347190" y="1543051"/>
            <a:ext cx="3497623" cy="1967413"/>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add an image</a:t>
            </a:r>
          </a:p>
        </p:txBody>
      </p:sp>
      <p:sp>
        <p:nvSpPr>
          <p:cNvPr id="15" name="Content Placeholder 9">
            <a:extLst>
              <a:ext uri="{FF2B5EF4-FFF2-40B4-BE49-F238E27FC236}">
                <a16:creationId xmlns:a16="http://schemas.microsoft.com/office/drawing/2014/main" id="{F643BE7A-F7EF-497B-99BD-038863838549}"/>
              </a:ext>
            </a:extLst>
          </p:cNvPr>
          <p:cNvSpPr>
            <a:spLocks noGrp="1"/>
          </p:cNvSpPr>
          <p:nvPr>
            <p:ph sz="quarter" idx="15" hasCustomPrompt="1"/>
          </p:nvPr>
        </p:nvSpPr>
        <p:spPr>
          <a:xfrm>
            <a:off x="8084779" y="1543051"/>
            <a:ext cx="3497623" cy="1967413"/>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add an image</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p>
            <a:r>
              <a:rPr lang="en-US" dirty="0"/>
              <a:t>Click to edit your title</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16" name="Content Placeholder 3">
            <a:extLst>
              <a:ext uri="{FF2B5EF4-FFF2-40B4-BE49-F238E27FC236}">
                <a16:creationId xmlns:a16="http://schemas.microsoft.com/office/drawing/2014/main" id="{6D6057C2-5A0C-4397-AA98-E4429030210E}"/>
              </a:ext>
            </a:extLst>
          </p:cNvPr>
          <p:cNvSpPr>
            <a:spLocks noGrp="1"/>
          </p:cNvSpPr>
          <p:nvPr>
            <p:ph sz="quarter" idx="10"/>
          </p:nvPr>
        </p:nvSpPr>
        <p:spPr>
          <a:xfrm>
            <a:off x="617220" y="3681913"/>
            <a:ext cx="3497580" cy="2321694"/>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3">
            <a:extLst>
              <a:ext uri="{FF2B5EF4-FFF2-40B4-BE49-F238E27FC236}">
                <a16:creationId xmlns:a16="http://schemas.microsoft.com/office/drawing/2014/main" id="{8A1BE599-0C55-4A6D-94F3-038E91A8610D}"/>
              </a:ext>
            </a:extLst>
          </p:cNvPr>
          <p:cNvSpPr>
            <a:spLocks noGrp="1"/>
          </p:cNvSpPr>
          <p:nvPr>
            <p:ph sz="quarter" idx="11"/>
          </p:nvPr>
        </p:nvSpPr>
        <p:spPr>
          <a:xfrm>
            <a:off x="4351020" y="3681913"/>
            <a:ext cx="3497580" cy="2321694"/>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Content Placeholder 3">
            <a:extLst>
              <a:ext uri="{FF2B5EF4-FFF2-40B4-BE49-F238E27FC236}">
                <a16:creationId xmlns:a16="http://schemas.microsoft.com/office/drawing/2014/main" id="{62F3A41E-5A11-49B5-8EA8-87697C4F0A47}"/>
              </a:ext>
            </a:extLst>
          </p:cNvPr>
          <p:cNvSpPr>
            <a:spLocks noGrp="1"/>
          </p:cNvSpPr>
          <p:nvPr>
            <p:ph sz="quarter" idx="12"/>
          </p:nvPr>
        </p:nvSpPr>
        <p:spPr>
          <a:xfrm>
            <a:off x="8084820" y="3681913"/>
            <a:ext cx="3497580" cy="2321694"/>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2">
            <a:extLst>
              <a:ext uri="{FF2B5EF4-FFF2-40B4-BE49-F238E27FC236}">
                <a16:creationId xmlns:a16="http://schemas.microsoft.com/office/drawing/2014/main" id="{7DF53C66-7628-4346-B2C5-D4959F7011A1}"/>
              </a:ext>
            </a:extLst>
          </p:cNvPr>
          <p:cNvSpPr>
            <a:spLocks noGrp="1"/>
          </p:cNvSpPr>
          <p:nvPr>
            <p:ph type="ftr" sz="quarter" idx="16"/>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9" name="Slide Number Placeholder 4">
            <a:extLst>
              <a:ext uri="{FF2B5EF4-FFF2-40B4-BE49-F238E27FC236}">
                <a16:creationId xmlns:a16="http://schemas.microsoft.com/office/drawing/2014/main" id="{00568EA3-C755-4DEA-A2A5-E7D1EB5C4C1D}"/>
              </a:ext>
            </a:extLst>
          </p:cNvPr>
          <p:cNvSpPr>
            <a:spLocks noGrp="1"/>
          </p:cNvSpPr>
          <p:nvPr>
            <p:ph type="sldNum" sz="quarter" idx="17"/>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19085456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lumn content with images and sub header">
    <p:bg>
      <p:bgPr>
        <a:solidFill>
          <a:schemeClr val="bg1"/>
        </a:solid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82B100B-D865-4AF1-B607-869036CFA726}"/>
              </a:ext>
            </a:extLst>
          </p:cNvPr>
          <p:cNvSpPr>
            <a:spLocks noGrp="1"/>
          </p:cNvSpPr>
          <p:nvPr>
            <p:ph sz="quarter" idx="13" hasCustomPrompt="1"/>
          </p:nvPr>
        </p:nvSpPr>
        <p:spPr>
          <a:xfrm>
            <a:off x="617221" y="1894523"/>
            <a:ext cx="3497623" cy="1949235"/>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add an image</a:t>
            </a:r>
          </a:p>
        </p:txBody>
      </p:sp>
      <p:sp>
        <p:nvSpPr>
          <p:cNvPr id="14" name="Content Placeholder 9">
            <a:extLst>
              <a:ext uri="{FF2B5EF4-FFF2-40B4-BE49-F238E27FC236}">
                <a16:creationId xmlns:a16="http://schemas.microsoft.com/office/drawing/2014/main" id="{73AE5AB5-B478-4DEC-8179-A5178D9F6F31}"/>
              </a:ext>
            </a:extLst>
          </p:cNvPr>
          <p:cNvSpPr>
            <a:spLocks noGrp="1"/>
          </p:cNvSpPr>
          <p:nvPr>
            <p:ph sz="quarter" idx="14" hasCustomPrompt="1"/>
          </p:nvPr>
        </p:nvSpPr>
        <p:spPr>
          <a:xfrm>
            <a:off x="4336294" y="1894524"/>
            <a:ext cx="3497623" cy="1967413"/>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add an image</a:t>
            </a:r>
          </a:p>
        </p:txBody>
      </p:sp>
      <p:sp>
        <p:nvSpPr>
          <p:cNvPr id="15" name="Content Placeholder 9">
            <a:extLst>
              <a:ext uri="{FF2B5EF4-FFF2-40B4-BE49-F238E27FC236}">
                <a16:creationId xmlns:a16="http://schemas.microsoft.com/office/drawing/2014/main" id="{F643BE7A-F7EF-497B-99BD-038863838549}"/>
              </a:ext>
            </a:extLst>
          </p:cNvPr>
          <p:cNvSpPr>
            <a:spLocks noGrp="1"/>
          </p:cNvSpPr>
          <p:nvPr>
            <p:ph sz="quarter" idx="15" hasCustomPrompt="1"/>
          </p:nvPr>
        </p:nvSpPr>
        <p:spPr>
          <a:xfrm>
            <a:off x="8062986" y="1894524"/>
            <a:ext cx="3497623" cy="1967413"/>
          </a:xfrm>
          <a:prstGeom prst="rect">
            <a:avLst/>
          </a:prstGeom>
        </p:spPr>
        <p:txBody>
          <a:bodyPr/>
          <a:lstStyle>
            <a:lvl1pPr>
              <a:defRPr/>
            </a:lvl1pPr>
            <a:lvl3pPr>
              <a:defRPr/>
            </a:lvl3pPr>
            <a:lvl4pPr marL="699499" indent="-342892">
              <a:defRPr lang="en-US" sz="1350" b="0" kern="1200" dirty="0">
                <a:solidFill>
                  <a:schemeClr val="tx1"/>
                </a:solidFill>
                <a:latin typeface="+mn-lt"/>
                <a:ea typeface="+mn-ea"/>
                <a:cs typeface="+mn-cs"/>
              </a:defRPr>
            </a:lvl4pPr>
          </a:lstStyle>
          <a:p>
            <a:pPr lvl="0"/>
            <a:r>
              <a:rPr lang="en-US" dirty="0"/>
              <a:t>Click to add an image</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7220" y="219457"/>
            <a:ext cx="10972800" cy="902187"/>
          </a:xfrm>
        </p:spPr>
        <p:txBody>
          <a:bodyPr/>
          <a:lstStyle/>
          <a:p>
            <a:r>
              <a:rPr lang="en-US" dirty="0"/>
              <a:t>Click to edit your title</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12" name="Text Placeholder 3">
            <a:extLst>
              <a:ext uri="{FF2B5EF4-FFF2-40B4-BE49-F238E27FC236}">
                <a16:creationId xmlns:a16="http://schemas.microsoft.com/office/drawing/2014/main" id="{6093F248-4515-4018-A939-237E6A16A8A7}"/>
              </a:ext>
            </a:extLst>
          </p:cNvPr>
          <p:cNvSpPr>
            <a:spLocks noGrp="1"/>
          </p:cNvSpPr>
          <p:nvPr>
            <p:ph type="body" sz="quarter" idx="16"/>
          </p:nvPr>
        </p:nvSpPr>
        <p:spPr>
          <a:xfrm>
            <a:off x="617220" y="1207287"/>
            <a:ext cx="10972800" cy="334792"/>
          </a:xfrm>
          <a:prstGeom prst="rect">
            <a:avLst/>
          </a:prstGeom>
        </p:spPr>
        <p:txBody>
          <a:bodyPr/>
          <a:lstStyle>
            <a:lvl1pPr>
              <a:defRPr sz="2100">
                <a:solidFill>
                  <a:schemeClr val="accent2"/>
                </a:solidFill>
              </a:defRPr>
            </a:lvl1pPr>
            <a:lvl2pPr marL="23813" indent="0">
              <a:buNone/>
              <a:defRPr/>
            </a:lvl2pPr>
          </a:lstStyle>
          <a:p>
            <a:pPr lvl="0"/>
            <a:r>
              <a:rPr lang="en-US"/>
              <a:t>Click to edit Master text styles</a:t>
            </a:r>
          </a:p>
        </p:txBody>
      </p:sp>
      <p:sp>
        <p:nvSpPr>
          <p:cNvPr id="18" name="Content Placeholder 3">
            <a:extLst>
              <a:ext uri="{FF2B5EF4-FFF2-40B4-BE49-F238E27FC236}">
                <a16:creationId xmlns:a16="http://schemas.microsoft.com/office/drawing/2014/main" id="{407088B2-79DF-4159-A896-9B7D6E3C28A2}"/>
              </a:ext>
            </a:extLst>
          </p:cNvPr>
          <p:cNvSpPr>
            <a:spLocks noGrp="1"/>
          </p:cNvSpPr>
          <p:nvPr>
            <p:ph sz="quarter" idx="10"/>
          </p:nvPr>
        </p:nvSpPr>
        <p:spPr>
          <a:xfrm>
            <a:off x="617220" y="4029077"/>
            <a:ext cx="3497580" cy="1974531"/>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3">
            <a:extLst>
              <a:ext uri="{FF2B5EF4-FFF2-40B4-BE49-F238E27FC236}">
                <a16:creationId xmlns:a16="http://schemas.microsoft.com/office/drawing/2014/main" id="{EC837C56-2218-4495-BC37-A1F9C5C3A01E}"/>
              </a:ext>
            </a:extLst>
          </p:cNvPr>
          <p:cNvSpPr>
            <a:spLocks noGrp="1"/>
          </p:cNvSpPr>
          <p:nvPr>
            <p:ph sz="quarter" idx="11"/>
          </p:nvPr>
        </p:nvSpPr>
        <p:spPr>
          <a:xfrm>
            <a:off x="4351020" y="4029077"/>
            <a:ext cx="3497580" cy="1974531"/>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Content Placeholder 3">
            <a:extLst>
              <a:ext uri="{FF2B5EF4-FFF2-40B4-BE49-F238E27FC236}">
                <a16:creationId xmlns:a16="http://schemas.microsoft.com/office/drawing/2014/main" id="{FCED20DE-29A0-4ADB-8DDD-23506BB8B2C8}"/>
              </a:ext>
            </a:extLst>
          </p:cNvPr>
          <p:cNvSpPr>
            <a:spLocks noGrp="1"/>
          </p:cNvSpPr>
          <p:nvPr>
            <p:ph sz="quarter" idx="12"/>
          </p:nvPr>
        </p:nvSpPr>
        <p:spPr>
          <a:xfrm>
            <a:off x="8084820" y="4029077"/>
            <a:ext cx="3497580" cy="1974531"/>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Footer Placeholder 2">
            <a:extLst>
              <a:ext uri="{FF2B5EF4-FFF2-40B4-BE49-F238E27FC236}">
                <a16:creationId xmlns:a16="http://schemas.microsoft.com/office/drawing/2014/main" id="{97F7653D-AD37-4704-857D-EB8A96DCE4AB}"/>
              </a:ext>
            </a:extLst>
          </p:cNvPr>
          <p:cNvSpPr>
            <a:spLocks noGrp="1"/>
          </p:cNvSpPr>
          <p:nvPr>
            <p:ph type="ftr" sz="quarter" idx="17"/>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17" name="Slide Number Placeholder 4">
            <a:extLst>
              <a:ext uri="{FF2B5EF4-FFF2-40B4-BE49-F238E27FC236}">
                <a16:creationId xmlns:a16="http://schemas.microsoft.com/office/drawing/2014/main" id="{FE6EFBDA-D694-4238-9868-EC95BCA66142}"/>
              </a:ext>
            </a:extLst>
          </p:cNvPr>
          <p:cNvSpPr>
            <a:spLocks noGrp="1"/>
          </p:cNvSpPr>
          <p:nvPr>
            <p:ph type="sldNum" sz="quarter" idx="18"/>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074114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15:guide id="1"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536192"/>
            <a:ext cx="4123424"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2898" y="1536192"/>
            <a:ext cx="3512323"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7221" y="1536192"/>
            <a:ext cx="3512323"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7220" y="219457"/>
            <a:ext cx="10972800" cy="902187"/>
          </a:xfrm>
        </p:spPr>
        <p:txBody>
          <a:bodyPr/>
          <a:lstStyle/>
          <a:p>
            <a:r>
              <a:rPr lang="en-US" dirty="0"/>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4" y="3751326"/>
            <a:ext cx="2994260"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4" y="4567429"/>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0927" y="3751326"/>
            <a:ext cx="2994260"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0927" y="4567429"/>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2" y="3751326"/>
            <a:ext cx="2994260"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2" y="4567429"/>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4" name="Content Placeholder 3">
            <a:extLst>
              <a:ext uri="{FF2B5EF4-FFF2-40B4-BE49-F238E27FC236}">
                <a16:creationId xmlns:a16="http://schemas.microsoft.com/office/drawing/2014/main" id="{2F9FA7C6-F6CC-4E10-8D77-CFEB10CECE9B}"/>
              </a:ext>
            </a:extLst>
          </p:cNvPr>
          <p:cNvSpPr>
            <a:spLocks noGrp="1"/>
          </p:cNvSpPr>
          <p:nvPr>
            <p:ph sz="quarter" idx="28" hasCustomPrompt="1"/>
          </p:nvPr>
        </p:nvSpPr>
        <p:spPr>
          <a:xfrm>
            <a:off x="1683312" y="2006824"/>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19" name="Content Placeholder 3">
            <a:extLst>
              <a:ext uri="{FF2B5EF4-FFF2-40B4-BE49-F238E27FC236}">
                <a16:creationId xmlns:a16="http://schemas.microsoft.com/office/drawing/2014/main" id="{9606EEDB-6323-4147-8F3C-8AB453744239}"/>
              </a:ext>
            </a:extLst>
          </p:cNvPr>
          <p:cNvSpPr>
            <a:spLocks noGrp="1"/>
          </p:cNvSpPr>
          <p:nvPr>
            <p:ph sz="quarter" idx="29" hasCustomPrompt="1"/>
          </p:nvPr>
        </p:nvSpPr>
        <p:spPr>
          <a:xfrm>
            <a:off x="5412257" y="2006824"/>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20" name="Content Placeholder 3">
            <a:extLst>
              <a:ext uri="{FF2B5EF4-FFF2-40B4-BE49-F238E27FC236}">
                <a16:creationId xmlns:a16="http://schemas.microsoft.com/office/drawing/2014/main" id="{96B7EAE9-0F62-4D37-B0EE-F76B9AED97F3}"/>
              </a:ext>
            </a:extLst>
          </p:cNvPr>
          <p:cNvSpPr>
            <a:spLocks noGrp="1"/>
          </p:cNvSpPr>
          <p:nvPr>
            <p:ph sz="quarter" idx="30" hasCustomPrompt="1"/>
          </p:nvPr>
        </p:nvSpPr>
        <p:spPr>
          <a:xfrm>
            <a:off x="9141200" y="2006824"/>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18" name="Footer Placeholder 2">
            <a:extLst>
              <a:ext uri="{FF2B5EF4-FFF2-40B4-BE49-F238E27FC236}">
                <a16:creationId xmlns:a16="http://schemas.microsoft.com/office/drawing/2014/main" id="{9E1D8DD7-5492-492C-B189-7BFD8BC3C4B9}"/>
              </a:ext>
            </a:extLst>
          </p:cNvPr>
          <p:cNvSpPr>
            <a:spLocks noGrp="1"/>
          </p:cNvSpPr>
          <p:nvPr>
            <p:ph type="ftr" sz="quarter" idx="10"/>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21" name="Slide Number Placeholder 4">
            <a:extLst>
              <a:ext uri="{FF2B5EF4-FFF2-40B4-BE49-F238E27FC236}">
                <a16:creationId xmlns:a16="http://schemas.microsoft.com/office/drawing/2014/main" id="{C7F52B40-976F-4111-80A4-90AF8350EF03}"/>
              </a:ext>
            </a:extLst>
          </p:cNvPr>
          <p:cNvSpPr>
            <a:spLocks noGrp="1"/>
          </p:cNvSpPr>
          <p:nvPr>
            <p:ph type="sldNum" sz="quarter" idx="11"/>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125636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532523"/>
            <a:ext cx="3196046"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03043" y="1532523"/>
            <a:ext cx="2583930"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10132" y="1532523"/>
            <a:ext cx="2583930"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17220" y="1532523"/>
            <a:ext cx="2583930" cy="4457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7220" y="219457"/>
            <a:ext cx="10972800" cy="902187"/>
          </a:xfrm>
        </p:spPr>
        <p:txBody>
          <a:bodyPr/>
          <a:lstStyle/>
          <a:p>
            <a:r>
              <a:rPr lang="en-US" dirty="0"/>
              <a:t>Click to edit your title</a:t>
            </a:r>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5" y="3753854"/>
            <a:ext cx="2170003"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5" y="4567078"/>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1339" y="3753854"/>
            <a:ext cx="2170003"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1339" y="4567078"/>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6113" y="3753854"/>
            <a:ext cx="2170003"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6113" y="4567078"/>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200886" y="3753854"/>
            <a:ext cx="2170003" cy="685800"/>
          </a:xfrm>
          <a:prstGeom prst="rect">
            <a:avLst/>
          </a:prstGeom>
        </p:spPr>
        <p:txBody>
          <a:bodyPr>
            <a:noAutofit/>
          </a:bodyPr>
          <a:lstStyle>
            <a:lvl1pPr marL="0" indent="0" algn="ctr">
              <a:buNone/>
              <a:defRPr sz="18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200886" y="4567078"/>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24" name="Content Placeholder 3">
            <a:extLst>
              <a:ext uri="{FF2B5EF4-FFF2-40B4-BE49-F238E27FC236}">
                <a16:creationId xmlns:a16="http://schemas.microsoft.com/office/drawing/2014/main" id="{06FC5E8E-4259-415D-A9D8-D694FB70DCB1}"/>
              </a:ext>
            </a:extLst>
          </p:cNvPr>
          <p:cNvSpPr>
            <a:spLocks noGrp="1"/>
          </p:cNvSpPr>
          <p:nvPr>
            <p:ph sz="quarter" idx="28" hasCustomPrompt="1"/>
          </p:nvPr>
        </p:nvSpPr>
        <p:spPr>
          <a:xfrm>
            <a:off x="1215765" y="2000932"/>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25" name="Content Placeholder 3">
            <a:extLst>
              <a:ext uri="{FF2B5EF4-FFF2-40B4-BE49-F238E27FC236}">
                <a16:creationId xmlns:a16="http://schemas.microsoft.com/office/drawing/2014/main" id="{1DFE7C49-E4A7-4641-84AA-F150A0611DE3}"/>
              </a:ext>
            </a:extLst>
          </p:cNvPr>
          <p:cNvSpPr>
            <a:spLocks noGrp="1"/>
          </p:cNvSpPr>
          <p:nvPr>
            <p:ph sz="quarter" idx="31" hasCustomPrompt="1"/>
          </p:nvPr>
        </p:nvSpPr>
        <p:spPr>
          <a:xfrm>
            <a:off x="4010539" y="2000932"/>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26" name="Content Placeholder 3">
            <a:extLst>
              <a:ext uri="{FF2B5EF4-FFF2-40B4-BE49-F238E27FC236}">
                <a16:creationId xmlns:a16="http://schemas.microsoft.com/office/drawing/2014/main" id="{53E94D38-4825-4033-BD83-B090929B6B4E}"/>
              </a:ext>
            </a:extLst>
          </p:cNvPr>
          <p:cNvSpPr>
            <a:spLocks noGrp="1"/>
          </p:cNvSpPr>
          <p:nvPr>
            <p:ph sz="quarter" idx="32" hasCustomPrompt="1"/>
          </p:nvPr>
        </p:nvSpPr>
        <p:spPr>
          <a:xfrm>
            <a:off x="6805313" y="2000932"/>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27" name="Content Placeholder 3">
            <a:extLst>
              <a:ext uri="{FF2B5EF4-FFF2-40B4-BE49-F238E27FC236}">
                <a16:creationId xmlns:a16="http://schemas.microsoft.com/office/drawing/2014/main" id="{66A7F621-56C7-4AD8-947D-E96AE7B3CBDD}"/>
              </a:ext>
            </a:extLst>
          </p:cNvPr>
          <p:cNvSpPr>
            <a:spLocks noGrp="1"/>
          </p:cNvSpPr>
          <p:nvPr>
            <p:ph sz="quarter" idx="33" hasCustomPrompt="1"/>
          </p:nvPr>
        </p:nvSpPr>
        <p:spPr>
          <a:xfrm>
            <a:off x="9600086" y="2000932"/>
            <a:ext cx="1371600" cy="1371600"/>
          </a:xfrm>
          <a:prstGeom prst="rect">
            <a:avLst/>
          </a:prstGeom>
        </p:spPr>
        <p:txBody>
          <a:bodyPr/>
          <a:lstStyle>
            <a:lvl1pPr>
              <a:defRPr sz="1200">
                <a:solidFill>
                  <a:schemeClr val="bg1"/>
                </a:solidFill>
              </a:defRPr>
            </a:lvl1pPr>
          </a:lstStyle>
          <a:p>
            <a:r>
              <a:rPr lang="en-US" dirty="0"/>
              <a:t>Click to add an icon</a:t>
            </a:r>
          </a:p>
        </p:txBody>
      </p:sp>
      <p:sp>
        <p:nvSpPr>
          <p:cNvPr id="23" name="Footer Placeholder 2">
            <a:extLst>
              <a:ext uri="{FF2B5EF4-FFF2-40B4-BE49-F238E27FC236}">
                <a16:creationId xmlns:a16="http://schemas.microsoft.com/office/drawing/2014/main" id="{28041FEA-5DEF-45BB-8076-E02B359332CC}"/>
              </a:ext>
            </a:extLst>
          </p:cNvPr>
          <p:cNvSpPr>
            <a:spLocks noGrp="1"/>
          </p:cNvSpPr>
          <p:nvPr>
            <p:ph type="ftr" sz="quarter" idx="10"/>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28" name="Slide Number Placeholder 4">
            <a:extLst>
              <a:ext uri="{FF2B5EF4-FFF2-40B4-BE49-F238E27FC236}">
                <a16:creationId xmlns:a16="http://schemas.microsoft.com/office/drawing/2014/main" id="{6232FB3A-8513-4DA2-A395-65CAE46D28C3}"/>
              </a:ext>
            </a:extLst>
          </p:cNvPr>
          <p:cNvSpPr>
            <a:spLocks noGrp="1"/>
          </p:cNvSpPr>
          <p:nvPr>
            <p:ph type="sldNum" sz="quarter" idx="11"/>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3423571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Cover - Blue gradient">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DAD5E-5C69-401D-8BC6-22DF2FF56A6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17168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4" name="Picture Placeholder 3">
            <a:extLst>
              <a:ext uri="{FF2B5EF4-FFF2-40B4-BE49-F238E27FC236}">
                <a16:creationId xmlns:a16="http://schemas.microsoft.com/office/drawing/2014/main" id="{083C7082-0128-4664-9BDB-D40230454C32}"/>
              </a:ext>
            </a:extLst>
          </p:cNvPr>
          <p:cNvSpPr>
            <a:spLocks noGrp="1"/>
          </p:cNvSpPr>
          <p:nvPr>
            <p:ph type="pic" sz="quarter" idx="23" hasCustomPrompt="1"/>
          </p:nvPr>
        </p:nvSpPr>
        <p:spPr>
          <a:xfrm>
            <a:off x="1" y="0"/>
            <a:ext cx="4023911" cy="6858000"/>
          </a:xfrm>
          <a:prstGeom prst="rect">
            <a:avLst/>
          </a:prstGeom>
        </p:spPr>
        <p:txBody>
          <a:bodyPr/>
          <a:lstStyle>
            <a:lvl1pPr algn="l">
              <a:defRPr sz="900"/>
            </a:lvl1pPr>
          </a:lstStyle>
          <a:p>
            <a:r>
              <a:rPr lang="en-US" dirty="0"/>
              <a:t>Click to add a picture</a:t>
            </a:r>
          </a:p>
        </p:txBody>
      </p:sp>
      <p:sp>
        <p:nvSpPr>
          <p:cNvPr id="26" name="Picture Placeholder 3">
            <a:extLst>
              <a:ext uri="{FF2B5EF4-FFF2-40B4-BE49-F238E27FC236}">
                <a16:creationId xmlns:a16="http://schemas.microsoft.com/office/drawing/2014/main" id="{491C541F-5BAE-4F41-8844-B6AC302BDA7F}"/>
              </a:ext>
            </a:extLst>
          </p:cNvPr>
          <p:cNvSpPr>
            <a:spLocks noGrp="1"/>
          </p:cNvSpPr>
          <p:nvPr>
            <p:ph type="pic" sz="quarter" idx="12" hasCustomPrompt="1"/>
          </p:nvPr>
        </p:nvSpPr>
        <p:spPr>
          <a:xfrm>
            <a:off x="617220" y="689543"/>
            <a:ext cx="2214812" cy="670821"/>
          </a:xfrm>
          <a:prstGeom prst="rect">
            <a:avLst/>
          </a:prstGeom>
        </p:spPr>
        <p:txBody>
          <a:bodyPr anchor="t"/>
          <a:lstStyle>
            <a:lvl1pPr marL="0" indent="0" algn="l">
              <a:buNone/>
              <a:defRPr sz="900">
                <a:solidFill>
                  <a:schemeClr val="tx1"/>
                </a:solidFill>
              </a:defRPr>
            </a:lvl1pPr>
          </a:lstStyle>
          <a:p>
            <a:r>
              <a:rPr lang="en-US" dirty="0"/>
              <a:t>Click on the image icon to place a white or reversed logo in </a:t>
            </a:r>
            <a:r>
              <a:rPr lang="en-US"/>
              <a:t>this area. </a:t>
            </a:r>
            <a:r>
              <a:rPr lang="en-US" dirty="0"/>
              <a:t>Make sure that your logo </a:t>
            </a:r>
            <a:r>
              <a:rPr lang="en-US"/>
              <a:t>fits proportionately.</a:t>
            </a:r>
            <a:endParaRPr lang="en-US" dirty="0"/>
          </a:p>
        </p:txBody>
      </p:sp>
      <p:sp>
        <p:nvSpPr>
          <p:cNvPr id="31" name="Text Placeholder 2">
            <a:extLst>
              <a:ext uri="{FF2B5EF4-FFF2-40B4-BE49-F238E27FC236}">
                <a16:creationId xmlns:a16="http://schemas.microsoft.com/office/drawing/2014/main" id="{D585E864-F49D-48A2-A90F-09E4EB6071F6}"/>
              </a:ext>
            </a:extLst>
          </p:cNvPr>
          <p:cNvSpPr>
            <a:spLocks noGrp="1"/>
          </p:cNvSpPr>
          <p:nvPr>
            <p:ph type="body" sz="quarter" idx="17" hasCustomPrompt="1"/>
          </p:nvPr>
        </p:nvSpPr>
        <p:spPr>
          <a:xfrm>
            <a:off x="617221" y="2287949"/>
            <a:ext cx="3760160" cy="2551595"/>
          </a:xfrm>
          <a:prstGeom prst="rect">
            <a:avLst/>
          </a:prstGeom>
          <a:gradFill flip="none" rotWithShape="1">
            <a:gsLst>
              <a:gs pos="45000">
                <a:schemeClr val="accent2">
                  <a:alpha val="93000"/>
                </a:schemeClr>
              </a:gs>
              <a:gs pos="100000">
                <a:schemeClr val="accent1"/>
              </a:gs>
              <a:gs pos="0">
                <a:schemeClr val="accent2">
                  <a:alpha val="85000"/>
                </a:schemeClr>
              </a:gs>
            </a:gsLst>
            <a:lin ang="13500000" scaled="1"/>
            <a:tileRect/>
          </a:gradFill>
        </p:spPr>
        <p:txBody>
          <a:bodyPr lIns="274320" tIns="274320" rIns="274320" bIns="457200" anchor="t">
            <a:normAutofit/>
          </a:bodyPr>
          <a:lstStyle>
            <a:lvl1pPr marL="0" indent="0">
              <a:spcBef>
                <a:spcPts val="450"/>
              </a:spcBef>
              <a:buFont typeface="Arial" panose="020B0604020202020204" pitchFamily="34" charset="0"/>
              <a:buNone/>
              <a:defRPr sz="150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dirty="0"/>
              <a:t>“Add quote here”</a:t>
            </a:r>
          </a:p>
        </p:txBody>
      </p:sp>
      <p:sp>
        <p:nvSpPr>
          <p:cNvPr id="33" name="Content Placeholder 16">
            <a:extLst>
              <a:ext uri="{FF2B5EF4-FFF2-40B4-BE49-F238E27FC236}">
                <a16:creationId xmlns:a16="http://schemas.microsoft.com/office/drawing/2014/main" id="{83755F43-A351-45FF-854E-376996DB9722}"/>
              </a:ext>
            </a:extLst>
          </p:cNvPr>
          <p:cNvSpPr>
            <a:spLocks noGrp="1"/>
          </p:cNvSpPr>
          <p:nvPr>
            <p:ph sz="quarter" idx="27" hasCustomPrompt="1"/>
          </p:nvPr>
        </p:nvSpPr>
        <p:spPr>
          <a:xfrm>
            <a:off x="617221" y="5543291"/>
            <a:ext cx="1555280" cy="461517"/>
          </a:xfrm>
          <a:prstGeom prst="rect">
            <a:avLst/>
          </a:prstGeom>
          <a:solidFill>
            <a:schemeClr val="accent2"/>
          </a:solidFill>
        </p:spPr>
        <p:txBody>
          <a:bodyPr anchor="ctr"/>
          <a:lstStyle>
            <a:lvl1pPr algn="ctr">
              <a:defRPr sz="1050" b="1" u="none" baseline="0">
                <a:solidFill>
                  <a:schemeClr val="bg1"/>
                </a:solidFill>
                <a:latin typeface="+mj-lt"/>
              </a:defRPr>
            </a:lvl1pPr>
          </a:lstStyle>
          <a:p>
            <a:pPr lvl="0"/>
            <a:r>
              <a:rPr lang="en-US" dirty="0"/>
              <a:t>Read full case study</a:t>
            </a:r>
          </a:p>
        </p:txBody>
      </p:sp>
      <p:sp>
        <p:nvSpPr>
          <p:cNvPr id="34" name="Text Placeholder 5">
            <a:extLst>
              <a:ext uri="{FF2B5EF4-FFF2-40B4-BE49-F238E27FC236}">
                <a16:creationId xmlns:a16="http://schemas.microsoft.com/office/drawing/2014/main" id="{1AA3335D-FCA4-471C-9D6C-DC4C34E82A6E}"/>
              </a:ext>
            </a:extLst>
          </p:cNvPr>
          <p:cNvSpPr>
            <a:spLocks noGrp="1"/>
          </p:cNvSpPr>
          <p:nvPr>
            <p:ph type="body" sz="quarter" idx="21" hasCustomPrompt="1"/>
          </p:nvPr>
        </p:nvSpPr>
        <p:spPr>
          <a:xfrm>
            <a:off x="801588" y="4225019"/>
            <a:ext cx="2833152" cy="452907"/>
          </a:xfrm>
          <a:prstGeom prst="rect">
            <a:avLst/>
          </a:prstGeom>
        </p:spPr>
        <p:txBody>
          <a:bodyPr>
            <a:noAutofit/>
          </a:bodyPr>
          <a:lstStyle>
            <a:lvl1pPr marL="9525" indent="0">
              <a:spcBef>
                <a:spcPts val="450"/>
              </a:spcBef>
              <a:buFont typeface="Arial" panose="020B0604020202020204" pitchFamily="34" charset="0"/>
              <a:buChar char="​"/>
              <a:tabLst/>
              <a:defRPr sz="1200" b="1">
                <a:solidFill>
                  <a:schemeClr val="bg1"/>
                </a:solidFill>
              </a:defRPr>
            </a:lvl1pPr>
            <a:lvl2pPr marL="85723" indent="0">
              <a:spcBef>
                <a:spcPts val="450"/>
              </a:spcBef>
              <a:buFont typeface="Arial" panose="020B0604020202020204" pitchFamily="34" charset="0"/>
              <a:buChar char="​"/>
              <a:defRPr sz="1350" b="1">
                <a:solidFill>
                  <a:schemeClr val="bg1"/>
                </a:solidFill>
              </a:defRPr>
            </a:lvl2pPr>
            <a:lvl3pPr marL="85723" indent="0">
              <a:spcBef>
                <a:spcPts val="450"/>
              </a:spcBef>
              <a:buFont typeface="Arial" panose="020B0604020202020204" pitchFamily="34" charset="0"/>
              <a:buChar char="​"/>
              <a:defRPr sz="1350" b="1">
                <a:solidFill>
                  <a:schemeClr val="bg1"/>
                </a:solidFill>
              </a:defRPr>
            </a:lvl3pPr>
            <a:lvl4pPr marL="85723" indent="0">
              <a:spcBef>
                <a:spcPts val="450"/>
              </a:spcBef>
              <a:buFont typeface="Arial" panose="020B0604020202020204" pitchFamily="34" charset="0"/>
              <a:buChar char="​"/>
              <a:defRPr sz="1350" b="1">
                <a:solidFill>
                  <a:schemeClr val="bg1"/>
                </a:solidFill>
              </a:defRPr>
            </a:lvl4pPr>
            <a:lvl5pPr marL="85723" indent="0">
              <a:spcBef>
                <a:spcPts val="450"/>
              </a:spcBef>
              <a:buFont typeface="Arial" panose="020B0604020202020204" pitchFamily="34" charset="0"/>
              <a:buChar char="​"/>
              <a:defRPr sz="1350" b="1">
                <a:solidFill>
                  <a:schemeClr val="bg1"/>
                </a:solidFill>
              </a:defRPr>
            </a:lvl5pPr>
            <a:lvl6pPr marL="85723" indent="0">
              <a:spcBef>
                <a:spcPts val="450"/>
              </a:spcBef>
              <a:buFont typeface="Arial" panose="020B0604020202020204" pitchFamily="34" charset="0"/>
              <a:buChar char="​"/>
              <a:defRPr sz="1350" b="1">
                <a:solidFill>
                  <a:schemeClr val="bg1"/>
                </a:solidFill>
              </a:defRPr>
            </a:lvl6pPr>
            <a:lvl7pPr marL="85723" indent="0">
              <a:spcBef>
                <a:spcPts val="450"/>
              </a:spcBef>
              <a:buFont typeface="Arial" panose="020B0604020202020204" pitchFamily="34" charset="0"/>
              <a:buChar char="​"/>
              <a:defRPr sz="1350" b="1">
                <a:solidFill>
                  <a:schemeClr val="bg1"/>
                </a:solidFill>
              </a:defRPr>
            </a:lvl7pPr>
            <a:lvl8pPr marL="85723" indent="0">
              <a:spcBef>
                <a:spcPts val="450"/>
              </a:spcBef>
              <a:buFont typeface="Arial" panose="020B0604020202020204" pitchFamily="34" charset="0"/>
              <a:buChar char="​"/>
              <a:defRPr sz="1350" b="1">
                <a:solidFill>
                  <a:schemeClr val="bg1"/>
                </a:solidFill>
              </a:defRPr>
            </a:lvl8pPr>
            <a:lvl9pPr marL="85723" indent="0">
              <a:spcBef>
                <a:spcPts val="450"/>
              </a:spcBef>
              <a:buFont typeface="Arial" panose="020B0604020202020204" pitchFamily="34" charset="0"/>
              <a:buChar char="​"/>
              <a:defRPr sz="1350" b="1">
                <a:solidFill>
                  <a:schemeClr val="bg1"/>
                </a:solidFill>
              </a:defRPr>
            </a:lvl9pPr>
          </a:lstStyle>
          <a:p>
            <a:pPr lvl="0"/>
            <a:r>
              <a:rPr lang="en-US" dirty="0"/>
              <a:t>Quote source name, title, company</a:t>
            </a:r>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30" name="Graphic 29">
            <a:extLst>
              <a:ext uri="{FF2B5EF4-FFF2-40B4-BE49-F238E27FC236}">
                <a16:creationId xmlns:a16="http://schemas.microsoft.com/office/drawing/2014/main" id="{E0434EAA-91B5-42C1-BECF-A72AA1CB9FE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35" name="TextBox 34">
            <a:extLst>
              <a:ext uri="{FF2B5EF4-FFF2-40B4-BE49-F238E27FC236}">
                <a16:creationId xmlns:a16="http://schemas.microsoft.com/office/drawing/2014/main" id="{677A47A3-4B40-4292-BEBC-448B3AD67455}"/>
              </a:ext>
            </a:extLst>
          </p:cNvPr>
          <p:cNvSpPr txBox="1"/>
          <p:nvPr userDrawn="1"/>
        </p:nvSpPr>
        <p:spPr>
          <a:xfrm>
            <a:off x="4724287" y="2218208"/>
            <a:ext cx="1806265" cy="276999"/>
          </a:xfrm>
          <a:prstGeom prst="rect">
            <a:avLst/>
          </a:prstGeom>
          <a:noFill/>
        </p:spPr>
        <p:txBody>
          <a:bodyPr wrap="square" lIns="0" rtlCol="0" anchor="t">
            <a:spAutoFit/>
          </a:bodyPr>
          <a:lstStyle/>
          <a:p>
            <a:pPr marL="4763" indent="0" algn="l">
              <a:buFontTx/>
              <a:buNone/>
              <a:tabLst/>
            </a:pPr>
            <a:r>
              <a:rPr lang="en-US" sz="1200" b="1" dirty="0">
                <a:solidFill>
                  <a:schemeClr val="accent2"/>
                </a:solidFill>
              </a:rPr>
              <a:t>CHALLENGE</a:t>
            </a:r>
          </a:p>
        </p:txBody>
      </p:sp>
      <p:sp>
        <p:nvSpPr>
          <p:cNvPr id="36" name="TextBox 35">
            <a:extLst>
              <a:ext uri="{FF2B5EF4-FFF2-40B4-BE49-F238E27FC236}">
                <a16:creationId xmlns:a16="http://schemas.microsoft.com/office/drawing/2014/main" id="{D49F75AC-3771-46AC-A142-355E85B4751A}"/>
              </a:ext>
            </a:extLst>
          </p:cNvPr>
          <p:cNvSpPr txBox="1"/>
          <p:nvPr userDrawn="1"/>
        </p:nvSpPr>
        <p:spPr>
          <a:xfrm>
            <a:off x="7157074" y="2218208"/>
            <a:ext cx="1806265" cy="276999"/>
          </a:xfrm>
          <a:prstGeom prst="rect">
            <a:avLst/>
          </a:prstGeom>
          <a:noFill/>
        </p:spPr>
        <p:txBody>
          <a:bodyPr wrap="square" lIns="0" rtlCol="0" anchor="t">
            <a:spAutoFit/>
          </a:bodyPr>
          <a:lstStyle/>
          <a:p>
            <a:pPr algn="l"/>
            <a:r>
              <a:rPr lang="en-US" sz="1200" b="1" dirty="0">
                <a:solidFill>
                  <a:schemeClr val="accent2"/>
                </a:solidFill>
              </a:rPr>
              <a:t>SOLUTION</a:t>
            </a:r>
          </a:p>
        </p:txBody>
      </p:sp>
      <p:sp>
        <p:nvSpPr>
          <p:cNvPr id="37" name="TextBox 36">
            <a:extLst>
              <a:ext uri="{FF2B5EF4-FFF2-40B4-BE49-F238E27FC236}">
                <a16:creationId xmlns:a16="http://schemas.microsoft.com/office/drawing/2014/main" id="{CA20B41C-BCEA-4791-A67F-7823C8D8B463}"/>
              </a:ext>
            </a:extLst>
          </p:cNvPr>
          <p:cNvSpPr txBox="1"/>
          <p:nvPr userDrawn="1"/>
        </p:nvSpPr>
        <p:spPr>
          <a:xfrm>
            <a:off x="9526599" y="2218208"/>
            <a:ext cx="1786561" cy="276999"/>
          </a:xfrm>
          <a:prstGeom prst="rect">
            <a:avLst/>
          </a:prstGeom>
          <a:noFill/>
        </p:spPr>
        <p:txBody>
          <a:bodyPr wrap="square" lIns="0" rtlCol="0" anchor="t">
            <a:spAutoFit/>
          </a:bodyPr>
          <a:lstStyle/>
          <a:p>
            <a:pPr algn="l"/>
            <a:r>
              <a:rPr lang="en-US" sz="1200" b="1" dirty="0">
                <a:solidFill>
                  <a:schemeClr val="accent2"/>
                </a:solidFill>
              </a:rPr>
              <a:t>RESULTS</a:t>
            </a:r>
          </a:p>
        </p:txBody>
      </p:sp>
      <p:sp>
        <p:nvSpPr>
          <p:cNvPr id="38" name="Content Placeholder 4">
            <a:extLst>
              <a:ext uri="{FF2B5EF4-FFF2-40B4-BE49-F238E27FC236}">
                <a16:creationId xmlns:a16="http://schemas.microsoft.com/office/drawing/2014/main" id="{F09A91BF-EF16-4749-BF18-094CE864278A}"/>
              </a:ext>
            </a:extLst>
          </p:cNvPr>
          <p:cNvSpPr>
            <a:spLocks noGrp="1"/>
          </p:cNvSpPr>
          <p:nvPr>
            <p:ph sz="quarter" idx="30" hasCustomPrompt="1"/>
          </p:nvPr>
        </p:nvSpPr>
        <p:spPr>
          <a:xfrm>
            <a:off x="4724285" y="2649583"/>
            <a:ext cx="2057400" cy="3013938"/>
          </a:xfrm>
          <a:prstGeom prst="rect">
            <a:avLst/>
          </a:prstGeom>
        </p:spPr>
        <p:txBody>
          <a:bodyPr/>
          <a:lstStyle>
            <a:lvl1pPr marL="214308" indent="-214308">
              <a:buFont typeface="Arial" panose="020B0604020202020204" pitchFamily="34" charset="0"/>
              <a:buChar char="•"/>
              <a:defRPr sz="1200"/>
            </a:lvl1pPr>
            <a:lvl2pPr marL="182162" indent="-158350">
              <a:buFont typeface="Arial" panose="020B0604020202020204" pitchFamily="34" charset="0"/>
              <a:buChar char="•"/>
              <a:defRPr sz="1350"/>
            </a:lvl2pPr>
            <a:lvl3pPr marL="396469" indent="-207164">
              <a:buFont typeface="Arial" panose="020B0604020202020204" pitchFamily="34" charset="0"/>
              <a:buChar char="•"/>
              <a:defRPr sz="1350"/>
            </a:lvl3pPr>
          </a:lstStyle>
          <a:p>
            <a:pPr lvl="0"/>
            <a:r>
              <a:rPr lang="en-US" dirty="0"/>
              <a:t>Insert bullet content</a:t>
            </a:r>
          </a:p>
        </p:txBody>
      </p:sp>
      <p:sp>
        <p:nvSpPr>
          <p:cNvPr id="39" name="Content Placeholder 4">
            <a:extLst>
              <a:ext uri="{FF2B5EF4-FFF2-40B4-BE49-F238E27FC236}">
                <a16:creationId xmlns:a16="http://schemas.microsoft.com/office/drawing/2014/main" id="{1BAE81F6-559B-4DEE-A9A8-B422C6D1DF2C}"/>
              </a:ext>
            </a:extLst>
          </p:cNvPr>
          <p:cNvSpPr>
            <a:spLocks noGrp="1"/>
          </p:cNvSpPr>
          <p:nvPr>
            <p:ph sz="quarter" idx="31" hasCustomPrompt="1"/>
          </p:nvPr>
        </p:nvSpPr>
        <p:spPr>
          <a:xfrm>
            <a:off x="7157073" y="2649583"/>
            <a:ext cx="2057400" cy="3013938"/>
          </a:xfrm>
          <a:prstGeom prst="rect">
            <a:avLst/>
          </a:prstGeom>
        </p:spPr>
        <p:txBody>
          <a:bodyPr/>
          <a:lstStyle>
            <a:lvl1pPr marL="214308" indent="-214308">
              <a:buFont typeface="Arial" panose="020B0604020202020204" pitchFamily="34" charset="0"/>
              <a:buChar char="•"/>
              <a:defRPr sz="1200"/>
            </a:lvl1pPr>
            <a:lvl2pPr marL="182162" indent="-158350">
              <a:buFont typeface="Arial" panose="020B0604020202020204" pitchFamily="34" charset="0"/>
              <a:buChar char="•"/>
              <a:defRPr sz="1350"/>
            </a:lvl2pPr>
            <a:lvl3pPr marL="396469" indent="-207164">
              <a:buFont typeface="Arial" panose="020B0604020202020204" pitchFamily="34" charset="0"/>
              <a:buChar char="•"/>
              <a:defRPr sz="1350"/>
            </a:lvl3pPr>
          </a:lstStyle>
          <a:p>
            <a:pPr lvl="0"/>
            <a:r>
              <a:rPr lang="en-US" dirty="0"/>
              <a:t>Insert bullet content</a:t>
            </a:r>
          </a:p>
        </p:txBody>
      </p:sp>
      <p:sp>
        <p:nvSpPr>
          <p:cNvPr id="40" name="Content Placeholder 4">
            <a:extLst>
              <a:ext uri="{FF2B5EF4-FFF2-40B4-BE49-F238E27FC236}">
                <a16:creationId xmlns:a16="http://schemas.microsoft.com/office/drawing/2014/main" id="{6D359901-06E6-4E1E-BC97-09B70A13D618}"/>
              </a:ext>
            </a:extLst>
          </p:cNvPr>
          <p:cNvSpPr>
            <a:spLocks noGrp="1"/>
          </p:cNvSpPr>
          <p:nvPr>
            <p:ph sz="quarter" idx="32" hasCustomPrompt="1"/>
          </p:nvPr>
        </p:nvSpPr>
        <p:spPr>
          <a:xfrm>
            <a:off x="9526598" y="2649583"/>
            <a:ext cx="2057400" cy="3013938"/>
          </a:xfrm>
          <a:prstGeom prst="rect">
            <a:avLst/>
          </a:prstGeom>
        </p:spPr>
        <p:txBody>
          <a:bodyPr/>
          <a:lstStyle>
            <a:lvl1pPr marL="214308" indent="-214308">
              <a:buFont typeface="Arial" panose="020B0604020202020204" pitchFamily="34" charset="0"/>
              <a:buChar char="•"/>
              <a:defRPr sz="1200"/>
            </a:lvl1pPr>
            <a:lvl2pPr marL="182162" indent="-158350">
              <a:buFont typeface="Arial" panose="020B0604020202020204" pitchFamily="34" charset="0"/>
              <a:buChar char="•"/>
              <a:defRPr sz="1350"/>
            </a:lvl2pPr>
            <a:lvl3pPr marL="396469" indent="-207164">
              <a:buFont typeface="Arial" panose="020B0604020202020204" pitchFamily="34" charset="0"/>
              <a:buChar char="•"/>
              <a:defRPr sz="1350"/>
            </a:lvl3pPr>
          </a:lstStyle>
          <a:p>
            <a:pPr lvl="0"/>
            <a:r>
              <a:rPr lang="en-US" dirty="0"/>
              <a:t>Insert bullet content</a:t>
            </a:r>
          </a:p>
        </p:txBody>
      </p:sp>
      <p:cxnSp>
        <p:nvCxnSpPr>
          <p:cNvPr id="41" name="Straight Connector 40">
            <a:extLst>
              <a:ext uri="{FF2B5EF4-FFF2-40B4-BE49-F238E27FC236}">
                <a16:creationId xmlns:a16="http://schemas.microsoft.com/office/drawing/2014/main" id="{849B93EC-5EC6-4EA8-8D04-E31777308E8B}"/>
              </a:ext>
            </a:extLst>
          </p:cNvPr>
          <p:cNvCxnSpPr>
            <a:cxnSpLocks/>
          </p:cNvCxnSpPr>
          <p:nvPr userDrawn="1"/>
        </p:nvCxnSpPr>
        <p:spPr>
          <a:xfrm flipH="1">
            <a:off x="4724285" y="2472122"/>
            <a:ext cx="20574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29176F20-62A1-4AC0-883C-3E2425022ADD}"/>
              </a:ext>
            </a:extLst>
          </p:cNvPr>
          <p:cNvCxnSpPr>
            <a:cxnSpLocks/>
          </p:cNvCxnSpPr>
          <p:nvPr userDrawn="1"/>
        </p:nvCxnSpPr>
        <p:spPr>
          <a:xfrm flipH="1">
            <a:off x="7157073" y="2472122"/>
            <a:ext cx="20574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2FF515DE-D450-49BD-B79E-A6D7E6AC677E}"/>
              </a:ext>
            </a:extLst>
          </p:cNvPr>
          <p:cNvCxnSpPr>
            <a:cxnSpLocks/>
          </p:cNvCxnSpPr>
          <p:nvPr userDrawn="1"/>
        </p:nvCxnSpPr>
        <p:spPr>
          <a:xfrm flipH="1">
            <a:off x="9526598" y="2472122"/>
            <a:ext cx="20574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Title 1">
            <a:extLst>
              <a:ext uri="{FF2B5EF4-FFF2-40B4-BE49-F238E27FC236}">
                <a16:creationId xmlns:a16="http://schemas.microsoft.com/office/drawing/2014/main" id="{DA09A278-B343-4598-9C41-3EB5C1997A08}"/>
              </a:ext>
            </a:extLst>
          </p:cNvPr>
          <p:cNvSpPr>
            <a:spLocks noGrp="1"/>
          </p:cNvSpPr>
          <p:nvPr>
            <p:ph type="title" hasCustomPrompt="1"/>
          </p:nvPr>
        </p:nvSpPr>
        <p:spPr>
          <a:xfrm>
            <a:off x="4805028" y="219457"/>
            <a:ext cx="6778135" cy="902187"/>
          </a:xfrm>
        </p:spPr>
        <p:txBody>
          <a:bodyPr/>
          <a:lstStyle/>
          <a:p>
            <a:r>
              <a:rPr lang="en-US" dirty="0"/>
              <a:t>Click to edit your title</a:t>
            </a:r>
          </a:p>
        </p:txBody>
      </p:sp>
      <p:sp>
        <p:nvSpPr>
          <p:cNvPr id="25" name="Footer Placeholder 2">
            <a:extLst>
              <a:ext uri="{FF2B5EF4-FFF2-40B4-BE49-F238E27FC236}">
                <a16:creationId xmlns:a16="http://schemas.microsoft.com/office/drawing/2014/main" id="{D763A7E4-7BB6-444B-81C4-7C80D2D93554}"/>
              </a:ext>
            </a:extLst>
          </p:cNvPr>
          <p:cNvSpPr>
            <a:spLocks noGrp="1"/>
          </p:cNvSpPr>
          <p:nvPr>
            <p:ph type="ftr" sz="quarter" idx="19"/>
          </p:nvPr>
        </p:nvSpPr>
        <p:spPr>
          <a:xfrm>
            <a:off x="1127760" y="6356747"/>
            <a:ext cx="4114800" cy="342900"/>
          </a:xfrm>
          <a:prstGeom prst="rect">
            <a:avLst/>
          </a:prstGeom>
        </p:spPr>
        <p:txBody>
          <a:bodyPr anchor="ctr"/>
          <a:lstStyle>
            <a:lvl1pPr>
              <a:defRPr sz="900">
                <a:solidFill>
                  <a:schemeClr val="bg1"/>
                </a:solidFill>
              </a:defRPr>
            </a:lvl1pPr>
          </a:lstStyle>
          <a:p>
            <a:r>
              <a:rPr lang="en-US" b="1" dirty="0"/>
              <a:t>© </a:t>
            </a:r>
            <a:fld id="{7FAD8DCD-3CAC-4CB1-8776-6E0F5362BE77}" type="datetimeyyyy">
              <a:rPr lang="en-US" b="1" smtClean="0"/>
              <a:pPr/>
              <a:t>2024</a:t>
            </a:fld>
            <a:r>
              <a:rPr lang="en-US" b="1" dirty="0"/>
              <a:t> Flex – Confidential</a:t>
            </a:r>
          </a:p>
        </p:txBody>
      </p:sp>
      <p:sp>
        <p:nvSpPr>
          <p:cNvPr id="27" name="Slide Number Placeholder 5">
            <a:extLst>
              <a:ext uri="{FF2B5EF4-FFF2-40B4-BE49-F238E27FC236}">
                <a16:creationId xmlns:a16="http://schemas.microsoft.com/office/drawing/2014/main" id="{BD32ED4B-44A7-4067-B3E6-6B0BC8AEF9A2}"/>
              </a:ext>
            </a:extLst>
          </p:cNvPr>
          <p:cNvSpPr>
            <a:spLocks noGrp="1"/>
          </p:cNvSpPr>
          <p:nvPr>
            <p:ph type="sldNum" sz="quarter" idx="20"/>
          </p:nvPr>
        </p:nvSpPr>
        <p:spPr>
          <a:xfrm>
            <a:off x="617220" y="6356747"/>
            <a:ext cx="508374" cy="342900"/>
          </a:xfrm>
          <a:prstGeom prst="rect">
            <a:avLst/>
          </a:prstGeom>
        </p:spPr>
        <p:txBody>
          <a:bodyPr anchor="ctr"/>
          <a:lstStyle>
            <a:lvl1pPr>
              <a:defRPr sz="900">
                <a:solidFill>
                  <a:schemeClr val="bg1"/>
                </a:solidFill>
              </a:defRPr>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760316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 Burs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9" name="Picture 8">
            <a:extLst>
              <a:ext uri="{FF2B5EF4-FFF2-40B4-BE49-F238E27FC236}">
                <a16:creationId xmlns:a16="http://schemas.microsoft.com/office/drawing/2014/main" id="{FBEEBCD5-F3B9-4D63-920F-C9F1558FD2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81837" y="2719774"/>
            <a:ext cx="2914409" cy="2018528"/>
          </a:xfrm>
          <a:prstGeom prst="rect">
            <a:avLst/>
          </a:prstGeom>
        </p:spPr>
      </p:pic>
      <p:pic>
        <p:nvPicPr>
          <p:cNvPr id="4" name="Picture 3">
            <a:extLst>
              <a:ext uri="{FF2B5EF4-FFF2-40B4-BE49-F238E27FC236}">
                <a16:creationId xmlns:a16="http://schemas.microsoft.com/office/drawing/2014/main" id="{B698E6F1-FB6B-4E26-B810-E7FC6B5401A0}"/>
              </a:ext>
            </a:extLst>
          </p:cNvPr>
          <p:cNvPicPr>
            <a:picLocks noChangeAspect="1"/>
          </p:cNvPicPr>
          <p:nvPr userDrawn="1"/>
        </p:nvPicPr>
        <p:blipFill>
          <a:blip r:embed="rId3"/>
          <a:stretch>
            <a:fillRect/>
          </a:stretch>
        </p:blipFill>
        <p:spPr>
          <a:xfrm>
            <a:off x="7398544" y="0"/>
            <a:ext cx="4793456" cy="6858000"/>
          </a:xfrm>
          <a:prstGeom prst="rect">
            <a:avLst/>
          </a:prstGeom>
        </p:spPr>
      </p:pic>
    </p:spTree>
    <p:extLst>
      <p:ext uri="{BB962C8B-B14F-4D97-AF65-F5344CB8AC3E}">
        <p14:creationId xmlns:p14="http://schemas.microsoft.com/office/powerpoint/2010/main" val="132188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 Circle">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3" name="Picture 2">
            <a:extLst>
              <a:ext uri="{FF2B5EF4-FFF2-40B4-BE49-F238E27FC236}">
                <a16:creationId xmlns:a16="http://schemas.microsoft.com/office/drawing/2014/main" id="{0358946E-7637-4304-A317-3DB2F2F707E0}"/>
              </a:ext>
            </a:extLst>
          </p:cNvPr>
          <p:cNvPicPr>
            <a:picLocks noChangeAspect="1"/>
          </p:cNvPicPr>
          <p:nvPr userDrawn="1"/>
        </p:nvPicPr>
        <p:blipFill>
          <a:blip r:embed="rId2"/>
          <a:stretch>
            <a:fillRect/>
          </a:stretch>
        </p:blipFill>
        <p:spPr>
          <a:xfrm>
            <a:off x="7605712" y="0"/>
            <a:ext cx="4586288" cy="6858000"/>
          </a:xfrm>
          <a:prstGeom prst="rect">
            <a:avLst/>
          </a:prstGeom>
        </p:spPr>
      </p:pic>
      <p:pic>
        <p:nvPicPr>
          <p:cNvPr id="5" name="Picture 4">
            <a:extLst>
              <a:ext uri="{FF2B5EF4-FFF2-40B4-BE49-F238E27FC236}">
                <a16:creationId xmlns:a16="http://schemas.microsoft.com/office/drawing/2014/main" id="{4296A9F6-84EA-4F05-9E24-F3CA3B2D37D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81837" y="2719774"/>
            <a:ext cx="2914409" cy="2018528"/>
          </a:xfrm>
          <a:prstGeom prst="rect">
            <a:avLst/>
          </a:prstGeom>
        </p:spPr>
      </p:pic>
    </p:spTree>
    <p:extLst>
      <p:ext uri="{BB962C8B-B14F-4D97-AF65-F5344CB8AC3E}">
        <p14:creationId xmlns:p14="http://schemas.microsoft.com/office/powerpoint/2010/main" val="2866905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 Connected dots">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3" name="Picture 2">
            <a:extLst>
              <a:ext uri="{FF2B5EF4-FFF2-40B4-BE49-F238E27FC236}">
                <a16:creationId xmlns:a16="http://schemas.microsoft.com/office/drawing/2014/main" id="{8CC1325F-6F39-42D1-A39F-0172F3ED6A86}"/>
              </a:ext>
            </a:extLst>
          </p:cNvPr>
          <p:cNvPicPr>
            <a:picLocks noChangeAspect="1"/>
          </p:cNvPicPr>
          <p:nvPr userDrawn="1"/>
        </p:nvPicPr>
        <p:blipFill>
          <a:blip r:embed="rId2"/>
          <a:stretch>
            <a:fillRect/>
          </a:stretch>
        </p:blipFill>
        <p:spPr>
          <a:xfrm>
            <a:off x="1624921" y="3064141"/>
            <a:ext cx="10567081" cy="3793861"/>
          </a:xfrm>
          <a:prstGeom prst="rect">
            <a:avLst/>
          </a:prstGeom>
        </p:spPr>
      </p:pic>
      <p:pic>
        <p:nvPicPr>
          <p:cNvPr id="5" name="Picture 4">
            <a:extLst>
              <a:ext uri="{FF2B5EF4-FFF2-40B4-BE49-F238E27FC236}">
                <a16:creationId xmlns:a16="http://schemas.microsoft.com/office/drawing/2014/main" id="{D6CB5A1E-0F64-4CCE-A986-7B6D21B2EB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81837" y="2719774"/>
            <a:ext cx="2914409" cy="2018528"/>
          </a:xfrm>
          <a:prstGeom prst="rect">
            <a:avLst/>
          </a:prstGeom>
        </p:spPr>
      </p:pic>
    </p:spTree>
    <p:extLst>
      <p:ext uri="{BB962C8B-B14F-4D97-AF65-F5344CB8AC3E}">
        <p14:creationId xmlns:p14="http://schemas.microsoft.com/office/powerpoint/2010/main" val="2614050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 Ribbon">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3" name="Picture 2">
            <a:extLst>
              <a:ext uri="{FF2B5EF4-FFF2-40B4-BE49-F238E27FC236}">
                <a16:creationId xmlns:a16="http://schemas.microsoft.com/office/drawing/2014/main" id="{A372E4D3-BC29-4B89-984E-F26E11E45008}"/>
              </a:ext>
            </a:extLst>
          </p:cNvPr>
          <p:cNvPicPr>
            <a:picLocks noChangeAspect="1"/>
          </p:cNvPicPr>
          <p:nvPr userDrawn="1"/>
        </p:nvPicPr>
        <p:blipFill>
          <a:blip r:embed="rId2"/>
          <a:stretch>
            <a:fillRect/>
          </a:stretch>
        </p:blipFill>
        <p:spPr>
          <a:xfrm>
            <a:off x="5348288" y="0"/>
            <a:ext cx="6843713" cy="6858000"/>
          </a:xfrm>
          <a:prstGeom prst="rect">
            <a:avLst/>
          </a:prstGeom>
        </p:spPr>
      </p:pic>
      <p:pic>
        <p:nvPicPr>
          <p:cNvPr id="5" name="Picture 4">
            <a:extLst>
              <a:ext uri="{FF2B5EF4-FFF2-40B4-BE49-F238E27FC236}">
                <a16:creationId xmlns:a16="http://schemas.microsoft.com/office/drawing/2014/main" id="{3888964C-91B1-436C-8775-060C3843CA6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81837" y="2719774"/>
            <a:ext cx="2914409" cy="2018528"/>
          </a:xfrm>
          <a:prstGeom prst="rect">
            <a:avLst/>
          </a:prstGeom>
        </p:spPr>
      </p:pic>
    </p:spTree>
    <p:extLst>
      <p:ext uri="{BB962C8B-B14F-4D97-AF65-F5344CB8AC3E}">
        <p14:creationId xmlns:p14="http://schemas.microsoft.com/office/powerpoint/2010/main" val="1290767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 Ripple">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3" name="Picture 2">
            <a:extLst>
              <a:ext uri="{FF2B5EF4-FFF2-40B4-BE49-F238E27FC236}">
                <a16:creationId xmlns:a16="http://schemas.microsoft.com/office/drawing/2014/main" id="{4C82DA98-5168-489B-BD27-62D0E4FCFDAC}"/>
              </a:ext>
            </a:extLst>
          </p:cNvPr>
          <p:cNvPicPr>
            <a:picLocks noChangeAspect="1"/>
          </p:cNvPicPr>
          <p:nvPr userDrawn="1"/>
        </p:nvPicPr>
        <p:blipFill>
          <a:blip r:embed="rId2"/>
          <a:stretch>
            <a:fillRect/>
          </a:stretch>
        </p:blipFill>
        <p:spPr>
          <a:xfrm>
            <a:off x="6625014" y="813544"/>
            <a:ext cx="5551469" cy="6044456"/>
          </a:xfrm>
          <a:prstGeom prst="rect">
            <a:avLst/>
          </a:prstGeom>
        </p:spPr>
      </p:pic>
      <p:pic>
        <p:nvPicPr>
          <p:cNvPr id="5" name="Picture 4">
            <a:extLst>
              <a:ext uri="{FF2B5EF4-FFF2-40B4-BE49-F238E27FC236}">
                <a16:creationId xmlns:a16="http://schemas.microsoft.com/office/drawing/2014/main" id="{5BDEF7F4-D864-4C22-919A-09743A9D20E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81837" y="2719774"/>
            <a:ext cx="2914409" cy="2018528"/>
          </a:xfrm>
          <a:prstGeom prst="rect">
            <a:avLst/>
          </a:prstGeom>
        </p:spPr>
      </p:pic>
    </p:spTree>
    <p:extLst>
      <p:ext uri="{BB962C8B-B14F-4D97-AF65-F5344CB8AC3E}">
        <p14:creationId xmlns:p14="http://schemas.microsoft.com/office/powerpoint/2010/main" val="3137906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 Waves">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3" name="Picture 2">
            <a:extLst>
              <a:ext uri="{FF2B5EF4-FFF2-40B4-BE49-F238E27FC236}">
                <a16:creationId xmlns:a16="http://schemas.microsoft.com/office/drawing/2014/main" id="{DBC892F5-BF7B-49F6-A81C-78C435F03319}"/>
              </a:ext>
            </a:extLst>
          </p:cNvPr>
          <p:cNvPicPr>
            <a:picLocks noChangeAspect="1"/>
          </p:cNvPicPr>
          <p:nvPr userDrawn="1"/>
        </p:nvPicPr>
        <p:blipFill>
          <a:blip r:embed="rId2"/>
          <a:stretch>
            <a:fillRect/>
          </a:stretch>
        </p:blipFill>
        <p:spPr>
          <a:xfrm>
            <a:off x="8298656" y="0"/>
            <a:ext cx="3893345" cy="6858000"/>
          </a:xfrm>
          <a:prstGeom prst="rect">
            <a:avLst/>
          </a:prstGeom>
        </p:spPr>
      </p:pic>
      <p:pic>
        <p:nvPicPr>
          <p:cNvPr id="5" name="Picture 4">
            <a:extLst>
              <a:ext uri="{FF2B5EF4-FFF2-40B4-BE49-F238E27FC236}">
                <a16:creationId xmlns:a16="http://schemas.microsoft.com/office/drawing/2014/main" id="{264D0273-C91D-4817-B0E0-8AC4B36EC1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81837" y="2719774"/>
            <a:ext cx="2914409" cy="2018528"/>
          </a:xfrm>
          <a:prstGeom prst="rect">
            <a:avLst/>
          </a:prstGeom>
        </p:spPr>
      </p:pic>
    </p:spTree>
    <p:extLst>
      <p:ext uri="{BB962C8B-B14F-4D97-AF65-F5344CB8AC3E}">
        <p14:creationId xmlns:p14="http://schemas.microsoft.com/office/powerpoint/2010/main" val="348147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26746201"/>
            <a:ext cx="11174936" cy="1161389"/>
          </a:xfrm>
          <a:prstGeom prst="rect">
            <a:avLst/>
          </a:prstGeom>
        </p:spPr>
      </p:pic>
      <p:grpSp>
        <p:nvGrpSpPr>
          <p:cNvPr id="369" name="Group 368">
            <a:extLst>
              <a:ext uri="{FF2B5EF4-FFF2-40B4-BE49-F238E27FC236}">
                <a16:creationId xmlns:a16="http://schemas.microsoft.com/office/drawing/2014/main" id="{AAFBF8FC-C743-408A-A4A2-FF666B13F17E}"/>
              </a:ext>
            </a:extLst>
          </p:cNvPr>
          <p:cNvGrpSpPr/>
          <p:nvPr/>
        </p:nvGrpSpPr>
        <p:grpSpPr>
          <a:xfrm>
            <a:off x="12293335" y="171456"/>
            <a:ext cx="1232544" cy="6300635"/>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dirty="0">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17" name="Group 16">
            <a:extLst>
              <a:ext uri="{FF2B5EF4-FFF2-40B4-BE49-F238E27FC236}">
                <a16:creationId xmlns:a16="http://schemas.microsoft.com/office/drawing/2014/main" id="{4F7633B5-4455-40FC-BED3-E87E5D37D86C}"/>
              </a:ext>
            </a:extLst>
          </p:cNvPr>
          <p:cNvGrpSpPr/>
          <p:nvPr userDrawn="1"/>
        </p:nvGrpSpPr>
        <p:grpSpPr>
          <a:xfrm>
            <a:off x="-54131" y="0"/>
            <a:ext cx="12304311" cy="7038474"/>
            <a:chOff x="-72174" y="-204544"/>
            <a:chExt cx="16405748" cy="9585835"/>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28675" y="1896965"/>
              <a:ext cx="14615656" cy="6087743"/>
              <a:chOff x="525688" y="965357"/>
              <a:chExt cx="11154401" cy="5631831"/>
            </a:xfrm>
          </p:grpSpPr>
          <p:sp>
            <p:nvSpPr>
              <p:cNvPr id="389" name="Rectangle 388">
                <a:extLst>
                  <a:ext uri="{FF2B5EF4-FFF2-40B4-BE49-F238E27FC236}">
                    <a16:creationId xmlns:a16="http://schemas.microsoft.com/office/drawing/2014/main" id="{7FD3E0D4-26D8-477C-81E9-E05DCFFA82FA}"/>
                  </a:ext>
                </a:extLst>
              </p:cNvPr>
              <p:cNvSpPr/>
              <p:nvPr/>
            </p:nvSpPr>
            <p:spPr>
              <a:xfrm>
                <a:off x="525688"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73222"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0757"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68291"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5825"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63360"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210894"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58428"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105963"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53497"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10001031"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48569" y="965357"/>
                <a:ext cx="731520" cy="563183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72174" y="-204544"/>
              <a:ext cx="16405748" cy="9585835"/>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dirty="0"/>
            </a:p>
          </p:txBody>
        </p:sp>
        <p:cxnSp>
          <p:nvCxnSpPr>
            <p:cNvPr id="373" name="Straight Connector 372">
              <a:extLst>
                <a:ext uri="{FF2B5EF4-FFF2-40B4-BE49-F238E27FC236}">
                  <a16:creationId xmlns:a16="http://schemas.microsoft.com/office/drawing/2014/main" id="{FEA1E562-C5D0-4A51-BBA7-18FBA5EDD06D}"/>
                </a:ext>
              </a:extLst>
            </p:cNvPr>
            <p:cNvCxnSpPr>
              <a:cxnSpLocks/>
            </p:cNvCxnSpPr>
            <p:nvPr/>
          </p:nvCxnSpPr>
          <p:spPr>
            <a:xfrm flipH="1">
              <a:off x="852739" y="219932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a:cxnSpLocks/>
            </p:cNvCxnSpPr>
            <p:nvPr/>
          </p:nvCxnSpPr>
          <p:spPr>
            <a:xfrm flipH="1">
              <a:off x="852739" y="256504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a:cxnSpLocks/>
            </p:cNvCxnSpPr>
            <p:nvPr/>
          </p:nvCxnSpPr>
          <p:spPr>
            <a:xfrm flipH="1">
              <a:off x="852739" y="293076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a:cxnSpLocks/>
            </p:cNvCxnSpPr>
            <p:nvPr/>
          </p:nvCxnSpPr>
          <p:spPr>
            <a:xfrm flipH="1">
              <a:off x="852739" y="329649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a:cxnSpLocks/>
            </p:cNvCxnSpPr>
            <p:nvPr/>
          </p:nvCxnSpPr>
          <p:spPr>
            <a:xfrm flipH="1">
              <a:off x="852739" y="366221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a:cxnSpLocks/>
            </p:cNvCxnSpPr>
            <p:nvPr/>
          </p:nvCxnSpPr>
          <p:spPr>
            <a:xfrm flipH="1">
              <a:off x="852739" y="402793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a:cxnSpLocks/>
            </p:cNvCxnSpPr>
            <p:nvPr/>
          </p:nvCxnSpPr>
          <p:spPr>
            <a:xfrm flipH="1">
              <a:off x="852739" y="439366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a:cxnSpLocks/>
            </p:cNvCxnSpPr>
            <p:nvPr/>
          </p:nvCxnSpPr>
          <p:spPr>
            <a:xfrm flipH="1">
              <a:off x="852739" y="475938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a:cxnSpLocks/>
            </p:cNvCxnSpPr>
            <p:nvPr/>
          </p:nvCxnSpPr>
          <p:spPr>
            <a:xfrm flipH="1">
              <a:off x="852739" y="512510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a:cxnSpLocks/>
            </p:cNvCxnSpPr>
            <p:nvPr/>
          </p:nvCxnSpPr>
          <p:spPr>
            <a:xfrm flipH="1">
              <a:off x="852739" y="549083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a:cxnSpLocks/>
            </p:cNvCxnSpPr>
            <p:nvPr/>
          </p:nvCxnSpPr>
          <p:spPr>
            <a:xfrm flipH="1">
              <a:off x="852739" y="585655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a:cxnSpLocks/>
            </p:cNvCxnSpPr>
            <p:nvPr/>
          </p:nvCxnSpPr>
          <p:spPr>
            <a:xfrm flipH="1">
              <a:off x="852739" y="622227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a:cxnSpLocks/>
            </p:cNvCxnSpPr>
            <p:nvPr/>
          </p:nvCxnSpPr>
          <p:spPr>
            <a:xfrm flipH="1">
              <a:off x="852739" y="658799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a:cxnSpLocks/>
            </p:cNvCxnSpPr>
            <p:nvPr/>
          </p:nvCxnSpPr>
          <p:spPr>
            <a:xfrm flipH="1">
              <a:off x="852739" y="695372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a:cxnSpLocks/>
            </p:cNvCxnSpPr>
            <p:nvPr/>
          </p:nvCxnSpPr>
          <p:spPr>
            <a:xfrm flipH="1">
              <a:off x="852739" y="7316370"/>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1901926"/>
              <a:ext cx="1256803" cy="6049427"/>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51" name="Title 1">
            <a:extLst>
              <a:ext uri="{FF2B5EF4-FFF2-40B4-BE49-F238E27FC236}">
                <a16:creationId xmlns:a16="http://schemas.microsoft.com/office/drawing/2014/main" id="{96243A50-302E-498E-8987-74059F6AF95C}"/>
              </a:ext>
            </a:extLst>
          </p:cNvPr>
          <p:cNvSpPr>
            <a:spLocks noGrp="1"/>
          </p:cNvSpPr>
          <p:nvPr>
            <p:ph type="title" hasCustomPrompt="1"/>
          </p:nvPr>
        </p:nvSpPr>
        <p:spPr>
          <a:xfrm>
            <a:off x="610362" y="219457"/>
            <a:ext cx="10972800" cy="902187"/>
          </a:xfrm>
        </p:spPr>
        <p:txBody>
          <a:bodyPr/>
          <a:lstStyle>
            <a:lvl1pPr>
              <a:defRPr/>
            </a:lvl1pPr>
          </a:lstStyle>
          <a:p>
            <a:r>
              <a:rPr lang="en-US" dirty="0"/>
              <a:t>Grid</a:t>
            </a:r>
          </a:p>
        </p:txBody>
      </p:sp>
    </p:spTree>
    <p:extLst>
      <p:ext uri="{BB962C8B-B14F-4D97-AF65-F5344CB8AC3E}">
        <p14:creationId xmlns:p14="http://schemas.microsoft.com/office/powerpoint/2010/main" val="7802534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dirty="0">
                <a:solidFill>
                  <a:schemeClr val="tx1"/>
                </a:solidFill>
              </a:rPr>
              <a:t>END OF TEMPLATE</a:t>
            </a:r>
          </a:p>
          <a:p>
            <a:pPr algn="l"/>
            <a:endParaRPr lang="en-US" sz="3000" b="0" dirty="0">
              <a:solidFill>
                <a:schemeClr val="tx1"/>
              </a:solidFill>
            </a:endParaRPr>
          </a:p>
          <a:p>
            <a:pPr algn="l"/>
            <a:r>
              <a:rPr lang="en-US" sz="6600" b="1" dirty="0">
                <a:solidFill>
                  <a:schemeClr val="tx1"/>
                </a:solidFill>
              </a:rPr>
              <a:t>Do not use any master slide that exists after this one</a:t>
            </a:r>
          </a:p>
        </p:txBody>
      </p:sp>
    </p:spTree>
    <p:extLst>
      <p:ext uri="{BB962C8B-B14F-4D97-AF65-F5344CB8AC3E}">
        <p14:creationId xmlns:p14="http://schemas.microsoft.com/office/powerpoint/2010/main" val="3033702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1"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783"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8"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1"/>
            <a:ext cx="4045796" cy="2294186"/>
          </a:xfrm>
        </p:spPr>
        <p:txBody>
          <a:bodyPr>
            <a:normAutofit/>
          </a:bodyPr>
          <a:lstStyle>
            <a:lvl1pPr>
              <a:defRPr sz="4500">
                <a:solidFill>
                  <a:schemeClr val="tx1"/>
                </a:solidFill>
              </a:defRPr>
            </a:lvl1pPr>
          </a:lstStyle>
          <a:p>
            <a:r>
              <a:rPr lang="en-US" dirty="0"/>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2" y="4636295"/>
            <a:ext cx="4056257" cy="744265"/>
          </a:xfrm>
        </p:spPr>
        <p:txBody>
          <a:bodyPr>
            <a:normAutofit/>
          </a:bodyPr>
          <a:lstStyle>
            <a:lvl1pPr marL="0" indent="0" algn="l">
              <a:buNone/>
              <a:defRPr sz="150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8" y="1133612"/>
            <a:ext cx="982969" cy="397803"/>
          </a:xfrm>
          <a:prstGeom prst="rect">
            <a:avLst/>
          </a:prstGeom>
        </p:spPr>
      </p:pic>
    </p:spTree>
    <p:extLst>
      <p:ext uri="{BB962C8B-B14F-4D97-AF65-F5344CB8AC3E}">
        <p14:creationId xmlns:p14="http://schemas.microsoft.com/office/powerpoint/2010/main" val="2877586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Cover - Blue gradient">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49F89B-A296-4B84-B95A-3ABCD41C05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3275962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1" y="1011117"/>
            <a:ext cx="5846885" cy="5846884"/>
          </a:xfrm>
          <a:prstGeom prst="rect">
            <a:avLst/>
          </a:prstGeom>
        </p:spPr>
      </p:pic>
    </p:spTree>
    <p:extLst>
      <p:ext uri="{BB962C8B-B14F-4D97-AF65-F5344CB8AC3E}">
        <p14:creationId xmlns:p14="http://schemas.microsoft.com/office/powerpoint/2010/main" val="1608188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7"/>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6" name="Slide Number Placeholder 2">
            <a:extLst>
              <a:ext uri="{FF2B5EF4-FFF2-40B4-BE49-F238E27FC236}">
                <a16:creationId xmlns:a16="http://schemas.microsoft.com/office/drawing/2014/main" id="{D8B151FE-45DE-7041-89E6-DA9AA2092C25}"/>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913286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1"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4"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7"/>
            <a:ext cx="10972800" cy="902187"/>
          </a:xfrm>
        </p:spPr>
        <p:txBody>
          <a:bodyPr/>
          <a:lstStyle/>
          <a:p>
            <a:r>
              <a:rPr lang="en-US" dirty="0"/>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6"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7" name="Slide Number Placeholder 2">
            <a:extLst>
              <a:ext uri="{FF2B5EF4-FFF2-40B4-BE49-F238E27FC236}">
                <a16:creationId xmlns:a16="http://schemas.microsoft.com/office/drawing/2014/main" id="{401F701F-2CE0-4D4C-AE50-E1816A3F0E0C}"/>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923753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7"/>
            <a:ext cx="10972800" cy="902187"/>
          </a:xfrm>
        </p:spPr>
        <p:txBody>
          <a:bodyPr/>
          <a:lstStyle/>
          <a:p>
            <a:r>
              <a:rPr lang="en-US" dirty="0"/>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8" name="Slide Number Placeholder 2">
            <a:extLst>
              <a:ext uri="{FF2B5EF4-FFF2-40B4-BE49-F238E27FC236}">
                <a16:creationId xmlns:a16="http://schemas.microsoft.com/office/drawing/2014/main" id="{CCC2575E-E1C2-6F49-A49E-DE8314CCBED2}"/>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783114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379229"/>
            <a:ext cx="4123424"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3"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2"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4"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7"/>
            <a:ext cx="10972800" cy="902187"/>
          </a:xfrm>
        </p:spPr>
        <p:txBody>
          <a:bodyPr/>
          <a:lstStyle/>
          <a:p>
            <a:r>
              <a:rPr lang="en-US" dirty="0"/>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4"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4"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2" y="1929690"/>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2"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2"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18" name="Slide Number Placeholder 2">
            <a:extLst>
              <a:ext uri="{FF2B5EF4-FFF2-40B4-BE49-F238E27FC236}">
                <a16:creationId xmlns:a16="http://schemas.microsoft.com/office/drawing/2014/main" id="{8E8970CE-1356-3E49-8ECE-879265F33BC0}"/>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199534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1"/>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7"/>
            <a:ext cx="10972800" cy="902187"/>
          </a:xfrm>
        </p:spPr>
        <p:txBody>
          <a:bodyPr/>
          <a:lstStyle/>
          <a:p>
            <a:r>
              <a:rPr lang="en-US" dirty="0"/>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6"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5"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5"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4"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4"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4"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dirty="0"/>
              <a:t>Click to add body</a:t>
            </a:r>
          </a:p>
          <a:p>
            <a:pPr lvl="0"/>
            <a:endParaRPr lang="en-US" dirty="0"/>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23" name="Slide Number Placeholder 2">
            <a:extLst>
              <a:ext uri="{FF2B5EF4-FFF2-40B4-BE49-F238E27FC236}">
                <a16:creationId xmlns:a16="http://schemas.microsoft.com/office/drawing/2014/main" id="{2AE05A0F-7106-A54D-86C6-8DB1EDCD2020}"/>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007900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18" name="Graphic 17">
            <a:extLst>
              <a:ext uri="{FF2B5EF4-FFF2-40B4-BE49-F238E27FC236}">
                <a16:creationId xmlns:a16="http://schemas.microsoft.com/office/drawing/2014/main" id="{04B8CEB6-B346-458A-9FC4-405E1474F1F9}"/>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l="51627" t="7660" r="-9878" b="7660"/>
          <a:stretch/>
        </p:blipFill>
        <p:spPr>
          <a:xfrm>
            <a:off x="-4887" y="0"/>
            <a:ext cx="4717463" cy="6858000"/>
          </a:xfrm>
          <a:prstGeom prst="rect">
            <a:avLst/>
          </a:prstGeom>
        </p:spPr>
      </p:pic>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3" y="3289701"/>
            <a:ext cx="3584857" cy="1645754"/>
          </a:xfrm>
          <a:prstGeom prst="rect">
            <a:avLst/>
          </a:prstGeom>
        </p:spPr>
        <p:txBody>
          <a:bodyPr anchor="b">
            <a:normAutofit/>
          </a:bodyPr>
          <a:lstStyle>
            <a:lvl1pPr marL="85723" indent="-85723">
              <a:spcBef>
                <a:spcPts val="450"/>
              </a:spcBef>
              <a:buFont typeface="Arial" panose="020B0604020202020204" pitchFamily="34" charset="0"/>
              <a:buChar char="“"/>
              <a:defRPr sz="135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dirty="0"/>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3"/>
            <a:ext cx="3497624" cy="1757635"/>
          </a:xfrm>
        </p:spPr>
        <p:txBody>
          <a:bodyPr anchor="t"/>
          <a:lstStyle>
            <a:lvl1pP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3" y="5294157"/>
            <a:ext cx="3584858" cy="529372"/>
          </a:xfrm>
        </p:spPr>
        <p:txBody>
          <a:bodyPr>
            <a:noAutofit/>
          </a:bodyPr>
          <a:lstStyle>
            <a:lvl1pPr marL="85723" indent="0">
              <a:spcBef>
                <a:spcPts val="450"/>
              </a:spcBef>
              <a:buFont typeface="Arial" panose="020B0604020202020204" pitchFamily="34" charset="0"/>
              <a:buChar char="​"/>
              <a:defRPr sz="1350" b="1">
                <a:solidFill>
                  <a:schemeClr val="bg1"/>
                </a:solidFill>
              </a:defRPr>
            </a:lvl1pPr>
            <a:lvl2pPr marL="85723" indent="0">
              <a:spcBef>
                <a:spcPts val="450"/>
              </a:spcBef>
              <a:buFont typeface="Arial" panose="020B0604020202020204" pitchFamily="34" charset="0"/>
              <a:buChar char="​"/>
              <a:defRPr sz="1350" b="1">
                <a:solidFill>
                  <a:schemeClr val="bg1"/>
                </a:solidFill>
              </a:defRPr>
            </a:lvl2pPr>
            <a:lvl3pPr marL="85723" indent="0">
              <a:spcBef>
                <a:spcPts val="450"/>
              </a:spcBef>
              <a:buFont typeface="Arial" panose="020B0604020202020204" pitchFamily="34" charset="0"/>
              <a:buChar char="​"/>
              <a:defRPr sz="1350" b="1">
                <a:solidFill>
                  <a:schemeClr val="bg1"/>
                </a:solidFill>
              </a:defRPr>
            </a:lvl3pPr>
            <a:lvl4pPr marL="85723" indent="0">
              <a:spcBef>
                <a:spcPts val="450"/>
              </a:spcBef>
              <a:buFont typeface="Arial" panose="020B0604020202020204" pitchFamily="34" charset="0"/>
              <a:buChar char="​"/>
              <a:defRPr sz="1350" b="1">
                <a:solidFill>
                  <a:schemeClr val="bg1"/>
                </a:solidFill>
              </a:defRPr>
            </a:lvl4pPr>
            <a:lvl5pPr marL="85723" indent="0">
              <a:spcBef>
                <a:spcPts val="450"/>
              </a:spcBef>
              <a:buFont typeface="Arial" panose="020B0604020202020204" pitchFamily="34" charset="0"/>
              <a:buChar char="​"/>
              <a:defRPr sz="1350" b="1">
                <a:solidFill>
                  <a:schemeClr val="bg1"/>
                </a:solidFill>
              </a:defRPr>
            </a:lvl5pPr>
            <a:lvl6pPr marL="85723" indent="0">
              <a:spcBef>
                <a:spcPts val="450"/>
              </a:spcBef>
              <a:buFont typeface="Arial" panose="020B0604020202020204" pitchFamily="34" charset="0"/>
              <a:buChar char="​"/>
              <a:defRPr sz="1350" b="1">
                <a:solidFill>
                  <a:schemeClr val="bg1"/>
                </a:solidFill>
              </a:defRPr>
            </a:lvl6pPr>
            <a:lvl7pPr marL="85723" indent="0">
              <a:spcBef>
                <a:spcPts val="450"/>
              </a:spcBef>
              <a:buFont typeface="Arial" panose="020B0604020202020204" pitchFamily="34" charset="0"/>
              <a:buChar char="​"/>
              <a:defRPr sz="1350" b="1">
                <a:solidFill>
                  <a:schemeClr val="bg1"/>
                </a:solidFill>
              </a:defRPr>
            </a:lvl7pPr>
            <a:lvl8pPr marL="85723" indent="0">
              <a:spcBef>
                <a:spcPts val="450"/>
              </a:spcBef>
              <a:buFont typeface="Arial" panose="020B0604020202020204" pitchFamily="34" charset="0"/>
              <a:buChar char="​"/>
              <a:defRPr sz="1350" b="1">
                <a:solidFill>
                  <a:schemeClr val="bg1"/>
                </a:solidFill>
              </a:defRPr>
            </a:lvl8pPr>
            <a:lvl9pPr marL="85723" indent="0">
              <a:spcBef>
                <a:spcPts val="450"/>
              </a:spcBef>
              <a:buFont typeface="Arial" panose="020B0604020202020204" pitchFamily="34" charset="0"/>
              <a:buChar char="​"/>
              <a:defRPr sz="1350" b="1">
                <a:solidFill>
                  <a:schemeClr val="bg1"/>
                </a:solidFill>
              </a:defRPr>
            </a:lvl9pPr>
          </a:lstStyle>
          <a:p>
            <a:pPr lvl="0"/>
            <a:r>
              <a:rPr lang="en-US" dirty="0"/>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2" y="1482493"/>
            <a:ext cx="5955047" cy="4685964"/>
          </a:xfrm>
        </p:spPr>
        <p:txBody>
          <a:bodyPr/>
          <a:lstStyle>
            <a:lvl1pPr>
              <a:defRPr/>
            </a:lvl1pPr>
          </a:lstStyle>
          <a:p>
            <a:pPr lvl="0"/>
            <a:r>
              <a:rPr lang="en-US" dirty="0"/>
              <a:t>Click to insert case study proof points</a:t>
            </a:r>
          </a:p>
          <a:p>
            <a:pPr lvl="1"/>
            <a:r>
              <a:rPr lang="en-US" dirty="0"/>
              <a:t>Second level</a:t>
            </a:r>
          </a:p>
          <a:p>
            <a:pPr lvl="2"/>
            <a:r>
              <a:rPr lang="en-US" dirty="0"/>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33397038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6" y="2665027"/>
            <a:ext cx="6473797" cy="3381265"/>
          </a:xfrm>
        </p:spPr>
        <p:txBody>
          <a:bodyPr anchor="t">
            <a:normAutofit/>
          </a:bodyPr>
          <a:lstStyle>
            <a:lvl1pPr>
              <a:defRPr sz="6000">
                <a:solidFill>
                  <a:schemeClr val="tx1"/>
                </a:solidFill>
              </a:defRPr>
            </a:lvl1pPr>
          </a:lstStyle>
          <a:p>
            <a:r>
              <a:rPr lang="en-US" dirty="0"/>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8"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8"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3445966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a:stretch>
            <a:fillRect/>
          </a:stretch>
        </p:blipFill>
        <p:spPr>
          <a:xfrm>
            <a:off x="372802" y="171455"/>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a:stretch>
            <a:fillRect/>
          </a:stretch>
        </p:blipFill>
        <p:spPr>
          <a:xfrm>
            <a:off x="372802" y="171455"/>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a:stretch>
            <a:fillRect/>
          </a:stretch>
        </p:blipFill>
        <p:spPr>
          <a:xfrm>
            <a:off x="372802" y="171455"/>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1"/>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dirty="0">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6673784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dirty="0">
                <a:solidFill>
                  <a:schemeClr val="tx1"/>
                </a:solidFill>
              </a:rPr>
              <a:t>END OF TEMPLATE</a:t>
            </a:r>
          </a:p>
          <a:p>
            <a:pPr algn="l"/>
            <a:endParaRPr lang="en-US" sz="3000" b="0" dirty="0">
              <a:solidFill>
                <a:schemeClr val="tx1"/>
              </a:solidFill>
            </a:endParaRPr>
          </a:p>
          <a:p>
            <a:pPr algn="l"/>
            <a:r>
              <a:rPr lang="en-US" sz="6600" b="1" dirty="0">
                <a:solidFill>
                  <a:schemeClr val="tx1"/>
                </a:solidFill>
              </a:rPr>
              <a:t>Do not use any master slide that exists after this one</a:t>
            </a:r>
          </a:p>
        </p:txBody>
      </p:sp>
    </p:spTree>
    <p:extLst>
      <p:ext uri="{BB962C8B-B14F-4D97-AF65-F5344CB8AC3E}">
        <p14:creationId xmlns:p14="http://schemas.microsoft.com/office/powerpoint/2010/main" val="325534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7" name="Picture 6">
            <a:extLst>
              <a:ext uri="{FF2B5EF4-FFF2-40B4-BE49-F238E27FC236}">
                <a16:creationId xmlns:a16="http://schemas.microsoft.com/office/drawing/2014/main" id="{F99C53D4-B33D-4443-A9D7-69EBFE1FB5D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78" t="8967"/>
          <a:stretch/>
        </p:blipFill>
        <p:spPr bwMode="black">
          <a:xfrm>
            <a:off x="0" y="0"/>
            <a:ext cx="11047763" cy="3926205"/>
          </a:xfrm>
          <a:prstGeom prst="rect">
            <a:avLst/>
          </a:prstGeom>
        </p:spPr>
      </p:pic>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17257179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opy">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493776" y="446147"/>
            <a:ext cx="11205972" cy="1056132"/>
          </a:xfrm>
          <a:prstGeom prst="rect">
            <a:avLst/>
          </a:prstGeom>
        </p:spPr>
        <p:txBody>
          <a:bodyPr vert="horz" anchor="t">
            <a:noAutofit/>
          </a:bodyPr>
          <a:lstStyle>
            <a:lvl1pPr algn="l">
              <a:defRPr sz="3600" b="1">
                <a:solidFill>
                  <a:schemeClr val="tx1"/>
                </a:solidFill>
                <a:latin typeface="+mj-lt"/>
              </a:defRPr>
            </a:lvl1pPr>
          </a:lstStyle>
          <a:p>
            <a:r>
              <a:rPr lang="en-US" dirty="0"/>
              <a:t>Click to add concise headlin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70700" y="6230322"/>
            <a:ext cx="627463" cy="252058"/>
          </a:xfrm>
          <a:prstGeom prst="rect">
            <a:avLst/>
          </a:prstGeom>
        </p:spPr>
      </p:pic>
      <p:sp>
        <p:nvSpPr>
          <p:cNvPr id="8" name="Text Placeholder 27">
            <a:extLst>
              <a:ext uri="{FF2B5EF4-FFF2-40B4-BE49-F238E27FC236}">
                <a16:creationId xmlns:a16="http://schemas.microsoft.com/office/drawing/2014/main" id="{BB7E6D24-19E3-3F4D-A645-5D241E738D7E}"/>
              </a:ext>
            </a:extLst>
          </p:cNvPr>
          <p:cNvSpPr>
            <a:spLocks noGrp="1"/>
          </p:cNvSpPr>
          <p:nvPr>
            <p:ph type="body" sz="quarter" idx="13" hasCustomPrompt="1"/>
          </p:nvPr>
        </p:nvSpPr>
        <p:spPr>
          <a:xfrm>
            <a:off x="493776" y="1714500"/>
            <a:ext cx="11205972" cy="4203954"/>
          </a:xfrm>
          <a:prstGeom prst="rect">
            <a:avLst/>
          </a:prstGeom>
        </p:spPr>
        <p:txBody>
          <a:bodyPr anchor="t"/>
          <a:lstStyle>
            <a:lvl1pPr marL="171442" indent="-171442">
              <a:buClr>
                <a:schemeClr val="tx1"/>
              </a:buClr>
              <a:buFont typeface="Arial" panose="020B0604020202020204" pitchFamily="34" charset="0"/>
              <a:buChar char="•"/>
              <a:tabLst/>
              <a:defRPr sz="1350" b="0">
                <a:solidFill>
                  <a:schemeClr val="tx1"/>
                </a:solidFill>
              </a:defRPr>
            </a:lvl1pPr>
            <a:lvl2pPr marL="609459" indent="0">
              <a:buNone/>
              <a:defRPr/>
            </a:lvl2pPr>
            <a:lvl3pPr marL="1218916" indent="0">
              <a:buNone/>
              <a:defRPr/>
            </a:lvl3pPr>
            <a:lvl4pPr marL="1828373" indent="0">
              <a:buNone/>
              <a:defRPr/>
            </a:lvl4pPr>
            <a:lvl5pPr marL="2437829" indent="0">
              <a:buNone/>
              <a:defRPr/>
            </a:lvl5pPr>
          </a:lstStyle>
          <a:p>
            <a:pPr lvl="0"/>
            <a:r>
              <a:rPr lang="en-US" dirty="0"/>
              <a:t>Bullets or copy</a:t>
            </a:r>
          </a:p>
        </p:txBody>
      </p:sp>
    </p:spTree>
    <p:extLst>
      <p:ext uri="{BB962C8B-B14F-4D97-AF65-F5344CB8AC3E}">
        <p14:creationId xmlns:p14="http://schemas.microsoft.com/office/powerpoint/2010/main" val="14348582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solidFill>
                  <a:schemeClr val="tx1"/>
                </a:solidFill>
              </a:defRPr>
            </a:lvl1pPr>
          </a:lstStyle>
          <a:p>
            <a:r>
              <a:rPr lang="en-US" dirty="0"/>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3285249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6"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0"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0" y="1011117"/>
            <a:ext cx="5846885" cy="5846884"/>
          </a:xfrm>
          <a:prstGeom prst="rect">
            <a:avLst/>
          </a:prstGeom>
        </p:spPr>
      </p:pic>
    </p:spTree>
    <p:extLst>
      <p:ext uri="{BB962C8B-B14F-4D97-AF65-F5344CB8AC3E}">
        <p14:creationId xmlns:p14="http://schemas.microsoft.com/office/powerpoint/2010/main" val="1642757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6" name="Slide Number Placeholder 2">
            <a:extLst>
              <a:ext uri="{FF2B5EF4-FFF2-40B4-BE49-F238E27FC236}">
                <a16:creationId xmlns:a16="http://schemas.microsoft.com/office/drawing/2014/main" id="{D8B151FE-45DE-7041-89E6-DA9AA2092C25}"/>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280757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0"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6"/>
            <a:ext cx="10972800" cy="902187"/>
          </a:xfrm>
        </p:spPr>
        <p:txBody>
          <a:bodyPr/>
          <a:lstStyle/>
          <a:p>
            <a:r>
              <a:rPr lang="en-US" dirty="0"/>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5"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7" name="Slide Number Placeholder 2">
            <a:extLst>
              <a:ext uri="{FF2B5EF4-FFF2-40B4-BE49-F238E27FC236}">
                <a16:creationId xmlns:a16="http://schemas.microsoft.com/office/drawing/2014/main" id="{401F701F-2CE0-4D4C-AE50-E1816A3F0E0C}"/>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440357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8" name="Slide Number Placeholder 2">
            <a:extLst>
              <a:ext uri="{FF2B5EF4-FFF2-40B4-BE49-F238E27FC236}">
                <a16:creationId xmlns:a16="http://schemas.microsoft.com/office/drawing/2014/main" id="{CCC2575E-E1C2-6F49-A49E-DE8314CCBED2}"/>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36644035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379229"/>
            <a:ext cx="4123424"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2"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1"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3"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6"/>
            <a:ext cx="10972800" cy="902187"/>
          </a:xfrm>
        </p:spPr>
        <p:txBody>
          <a:bodyPr/>
          <a:lstStyle/>
          <a:p>
            <a:r>
              <a:rPr lang="en-US" dirty="0"/>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3"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3"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1" y="1929689"/>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1"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1"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8" name="Slide Number Placeholder 2">
            <a:extLst>
              <a:ext uri="{FF2B5EF4-FFF2-40B4-BE49-F238E27FC236}">
                <a16:creationId xmlns:a16="http://schemas.microsoft.com/office/drawing/2014/main" id="{8E8970CE-1356-3E49-8ECE-879265F33BC0}"/>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41161116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0"/>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6"/>
            <a:ext cx="10972800" cy="902187"/>
          </a:xfrm>
        </p:spPr>
        <p:txBody>
          <a:bodyPr/>
          <a:lstStyle/>
          <a:p>
            <a:r>
              <a:rPr lang="en-US" dirty="0"/>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3"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3"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3"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23" name="Slide Number Placeholder 2">
            <a:extLst>
              <a:ext uri="{FF2B5EF4-FFF2-40B4-BE49-F238E27FC236}">
                <a16:creationId xmlns:a16="http://schemas.microsoft.com/office/drawing/2014/main" id="{2AE05A0F-7106-A54D-86C6-8DB1EDCD2020}"/>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36971762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18" name="Graphic 17">
            <a:extLst>
              <a:ext uri="{FF2B5EF4-FFF2-40B4-BE49-F238E27FC236}">
                <a16:creationId xmlns:a16="http://schemas.microsoft.com/office/drawing/2014/main" id="{04B8CEB6-B346-458A-9FC4-405E1474F1F9}"/>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1627" t="7660" r="-9878" b="7660"/>
          <a:stretch/>
        </p:blipFill>
        <p:spPr>
          <a:xfrm>
            <a:off x="-4887" y="0"/>
            <a:ext cx="4717463" cy="6858000"/>
          </a:xfrm>
          <a:prstGeom prst="rect">
            <a:avLst/>
          </a:prstGeom>
        </p:spPr>
      </p:pic>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dirty="0"/>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2"/>
            <a:ext cx="3497624" cy="1757635"/>
          </a:xfrm>
        </p:spPr>
        <p:txBody>
          <a:bodyPr anchor="t"/>
          <a:lstStyle>
            <a:lvl1pP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dirty="0"/>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dirty="0"/>
              <a:t>Click to insert case study proof points</a:t>
            </a:r>
          </a:p>
          <a:p>
            <a:pPr lvl="1"/>
            <a:r>
              <a:rPr lang="en-US" dirty="0"/>
              <a:t>Second level</a:t>
            </a:r>
          </a:p>
          <a:p>
            <a:pPr lvl="2"/>
            <a:r>
              <a:rPr lang="en-US" dirty="0"/>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268733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solidFill>
                  <a:schemeClr val="tx1"/>
                </a:solidFill>
              </a:defRPr>
            </a:lvl1pPr>
          </a:lstStyle>
          <a:p>
            <a:r>
              <a:rPr lang="en-US" dirty="0"/>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1726148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 Green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1AF6193C-FC63-40E3-9D4E-DAA085E63F6D}"/>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pic>
        <p:nvPicPr>
          <p:cNvPr id="4" name="Graphic 3">
            <a:extLst>
              <a:ext uri="{FF2B5EF4-FFF2-40B4-BE49-F238E27FC236}">
                <a16:creationId xmlns:a16="http://schemas.microsoft.com/office/drawing/2014/main" id="{EB7F2F39-FE8D-9347-AFCD-F1BB907B15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4787900" cy="6858000"/>
          </a:xfrm>
          <a:prstGeom prst="rect">
            <a:avLst/>
          </a:prstGeom>
        </p:spPr>
      </p:pic>
    </p:spTree>
    <p:extLst>
      <p:ext uri="{BB962C8B-B14F-4D97-AF65-F5344CB8AC3E}">
        <p14:creationId xmlns:p14="http://schemas.microsoft.com/office/powerpoint/2010/main" val="7777115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dirty="0">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1608091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dirty="0">
                <a:solidFill>
                  <a:schemeClr val="tx1"/>
                </a:solidFill>
              </a:rPr>
              <a:t>END OF TEMPLATE</a:t>
            </a:r>
          </a:p>
          <a:p>
            <a:pPr algn="l"/>
            <a:endParaRPr lang="en-US" sz="3000" b="0" dirty="0">
              <a:solidFill>
                <a:schemeClr val="tx1"/>
              </a:solidFill>
            </a:endParaRPr>
          </a:p>
          <a:p>
            <a:pPr algn="l"/>
            <a:r>
              <a:rPr lang="en-US" sz="6600" b="1" dirty="0">
                <a:solidFill>
                  <a:schemeClr val="tx1"/>
                </a:solidFill>
              </a:rPr>
              <a:t>Do not use any master slide that exists after this one</a:t>
            </a:r>
          </a:p>
        </p:txBody>
      </p:sp>
    </p:spTree>
    <p:extLst>
      <p:ext uri="{BB962C8B-B14F-4D97-AF65-F5344CB8AC3E}">
        <p14:creationId xmlns:p14="http://schemas.microsoft.com/office/powerpoint/2010/main" val="3489288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White title slide">
    <p:spTree>
      <p:nvGrpSpPr>
        <p:cNvPr id="1" name=""/>
        <p:cNvGrpSpPr/>
        <p:nvPr/>
      </p:nvGrpSpPr>
      <p:grpSpPr>
        <a:xfrm>
          <a:off x="0" y="0"/>
          <a:ext cx="0" cy="0"/>
          <a:chOff x="0" y="0"/>
          <a:chExt cx="0" cy="0"/>
        </a:xfrm>
      </p:grpSpPr>
      <p:pic>
        <p:nvPicPr>
          <p:cNvPr id="3" name="Picture 2" descr="base2.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582" y="11290"/>
            <a:ext cx="12188388" cy="6858000"/>
          </a:xfrm>
          <a:prstGeom prst="rect">
            <a:avLst/>
          </a:prstGeom>
        </p:spPr>
      </p:pic>
      <p:pic>
        <p:nvPicPr>
          <p:cNvPr id="2" name="Picture 1" descr="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5098" y="155296"/>
            <a:ext cx="3863099" cy="456710"/>
          </a:xfrm>
          <a:prstGeom prst="rect">
            <a:avLst/>
          </a:prstGeom>
        </p:spPr>
      </p:pic>
    </p:spTree>
    <p:extLst>
      <p:ext uri="{BB962C8B-B14F-4D97-AF65-F5344CB8AC3E}">
        <p14:creationId xmlns:p14="http://schemas.microsoft.com/office/powerpoint/2010/main" val="8104442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ue title slide ">
    <p:spTree>
      <p:nvGrpSpPr>
        <p:cNvPr id="1" name=""/>
        <p:cNvGrpSpPr/>
        <p:nvPr/>
      </p:nvGrpSpPr>
      <p:grpSpPr>
        <a:xfrm>
          <a:off x="0" y="0"/>
          <a:ext cx="0" cy="0"/>
          <a:chOff x="0" y="0"/>
          <a:chExt cx="0" cy="0"/>
        </a:xfrm>
      </p:grpSpPr>
      <p:pic>
        <p:nvPicPr>
          <p:cNvPr id="1026" name="Picture 2" descr="C:\Users\breno\Desktop\ENVIAR\Untitled-3.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
            <a:ext cx="12192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Subtitle 2"/>
          <p:cNvSpPr>
            <a:spLocks noGrp="1"/>
          </p:cNvSpPr>
          <p:nvPr>
            <p:ph type="subTitle" idx="1" hasCustomPrompt="1"/>
          </p:nvPr>
        </p:nvSpPr>
        <p:spPr bwMode="black">
          <a:xfrm>
            <a:off x="592671" y="3116379"/>
            <a:ext cx="10972800" cy="1219200"/>
          </a:xfrm>
          <a:prstGeom prst="rect">
            <a:avLst/>
          </a:prstGeom>
        </p:spPr>
        <p:txBody>
          <a:bodyPr/>
          <a:lstStyle>
            <a:lvl1pPr marL="0" indent="0" algn="l">
              <a:buNone/>
              <a:defRPr sz="2398">
                <a:solidFill>
                  <a:schemeClr val="bg1"/>
                </a:solidFill>
                <a:latin typeface="Arial"/>
                <a:cs typeface="Arial"/>
              </a:defRPr>
            </a:lvl1pPr>
            <a:lvl2pPr marL="609021" indent="0" algn="ctr">
              <a:buNone/>
              <a:defRPr>
                <a:solidFill>
                  <a:schemeClr val="tx1">
                    <a:tint val="75000"/>
                  </a:schemeClr>
                </a:solidFill>
              </a:defRPr>
            </a:lvl2pPr>
            <a:lvl3pPr marL="1218041" indent="0" algn="ctr">
              <a:buNone/>
              <a:defRPr>
                <a:solidFill>
                  <a:schemeClr val="tx1">
                    <a:tint val="75000"/>
                  </a:schemeClr>
                </a:solidFill>
              </a:defRPr>
            </a:lvl3pPr>
            <a:lvl4pPr marL="1827062" indent="0" algn="ctr">
              <a:buNone/>
              <a:defRPr>
                <a:solidFill>
                  <a:schemeClr val="tx1">
                    <a:tint val="75000"/>
                  </a:schemeClr>
                </a:solidFill>
              </a:defRPr>
            </a:lvl4pPr>
            <a:lvl5pPr marL="2436083" indent="0" algn="ctr">
              <a:buNone/>
              <a:defRPr>
                <a:solidFill>
                  <a:schemeClr val="tx1">
                    <a:tint val="75000"/>
                  </a:schemeClr>
                </a:solidFill>
              </a:defRPr>
            </a:lvl5pPr>
            <a:lvl6pPr marL="3045105" indent="0" algn="ctr">
              <a:buNone/>
              <a:defRPr>
                <a:solidFill>
                  <a:schemeClr val="tx1">
                    <a:tint val="75000"/>
                  </a:schemeClr>
                </a:solidFill>
              </a:defRPr>
            </a:lvl6pPr>
            <a:lvl7pPr marL="3654126" indent="0" algn="ctr">
              <a:buNone/>
              <a:defRPr>
                <a:solidFill>
                  <a:schemeClr val="tx1">
                    <a:tint val="75000"/>
                  </a:schemeClr>
                </a:solidFill>
              </a:defRPr>
            </a:lvl7pPr>
            <a:lvl8pPr marL="4263146" indent="0" algn="ctr">
              <a:buNone/>
              <a:defRPr>
                <a:solidFill>
                  <a:schemeClr val="tx1">
                    <a:tint val="75000"/>
                  </a:schemeClr>
                </a:solidFill>
              </a:defRPr>
            </a:lvl8pPr>
            <a:lvl9pPr marL="4872167" indent="0" algn="ctr">
              <a:buNone/>
              <a:defRPr>
                <a:solidFill>
                  <a:schemeClr val="tx1">
                    <a:tint val="75000"/>
                  </a:schemeClr>
                </a:solidFill>
              </a:defRPr>
            </a:lvl9pPr>
          </a:lstStyle>
          <a:p>
            <a:r>
              <a:rPr lang="en-US" dirty="0"/>
              <a:t>Subtitle</a:t>
            </a:r>
          </a:p>
        </p:txBody>
      </p:sp>
      <p:pic>
        <p:nvPicPr>
          <p:cNvPr id="13" name="Picture 12" descr="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9066" y="155296"/>
            <a:ext cx="3863099" cy="456710"/>
          </a:xfrm>
          <a:prstGeom prst="rect">
            <a:avLst/>
          </a:prstGeom>
        </p:spPr>
      </p:pic>
      <p:sp>
        <p:nvSpPr>
          <p:cNvPr id="4" name="Title 3"/>
          <p:cNvSpPr>
            <a:spLocks noGrp="1"/>
          </p:cNvSpPr>
          <p:nvPr>
            <p:ph type="title" hasCustomPrompt="1"/>
          </p:nvPr>
        </p:nvSpPr>
        <p:spPr>
          <a:xfrm>
            <a:off x="592671" y="1732912"/>
            <a:ext cx="10972800" cy="1141943"/>
          </a:xfrm>
          <a:prstGeom prst="rect">
            <a:avLst/>
          </a:prstGeom>
        </p:spPr>
        <p:txBody>
          <a:bodyPr vert="horz"/>
          <a:lstStyle>
            <a:lvl1pPr algn="l">
              <a:defRPr sz="3996" b="1">
                <a:solidFill>
                  <a:srgbClr val="FFFF00"/>
                </a:solidFill>
                <a:latin typeface="Arial"/>
                <a:cs typeface="Arial"/>
              </a:defRPr>
            </a:lvl1pPr>
          </a:lstStyle>
          <a:p>
            <a:r>
              <a:rPr lang="x-none" dirty="0"/>
              <a:t>Title</a:t>
            </a:r>
            <a:endParaRPr lang="en-US" dirty="0"/>
          </a:p>
        </p:txBody>
      </p:sp>
    </p:spTree>
    <p:extLst>
      <p:ext uri="{BB962C8B-B14F-4D97-AF65-F5344CB8AC3E}">
        <p14:creationId xmlns:p14="http://schemas.microsoft.com/office/powerpoint/2010/main" val="4142354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53600" y="6232588"/>
            <a:ext cx="3863099" cy="456710"/>
          </a:xfrm>
          <a:prstGeom prst="rect">
            <a:avLst/>
          </a:prstGeom>
        </p:spPr>
      </p:pic>
    </p:spTree>
    <p:extLst>
      <p:ext uri="{BB962C8B-B14F-4D97-AF65-F5344CB8AC3E}">
        <p14:creationId xmlns:p14="http://schemas.microsoft.com/office/powerpoint/2010/main" val="21711008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pic>
        <p:nvPicPr>
          <p:cNvPr id="2" name="Picture 1" descr="got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5696" y="3998426"/>
            <a:ext cx="3472499" cy="3210832"/>
          </a:xfrm>
          <a:prstGeom prst="rect">
            <a:avLst/>
          </a:prstGeom>
        </p:spPr>
      </p:pic>
      <p:pic>
        <p:nvPicPr>
          <p:cNvPr id="8" name="Picture 7" descr="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5098" y="155296"/>
            <a:ext cx="3863099" cy="456710"/>
          </a:xfrm>
          <a:prstGeom prst="rect">
            <a:avLst/>
          </a:prstGeom>
        </p:spPr>
      </p:pic>
    </p:spTree>
    <p:extLst>
      <p:ext uri="{BB962C8B-B14F-4D97-AF65-F5344CB8AC3E}">
        <p14:creationId xmlns:p14="http://schemas.microsoft.com/office/powerpoint/2010/main" val="584800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 name="Picture 1" descr="Sem-Título-4.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1"/>
            <a:ext cx="12191572" cy="6858000"/>
          </a:xfrm>
          <a:prstGeom prst="rect">
            <a:avLst/>
          </a:prstGeom>
        </p:spPr>
      </p:pic>
    </p:spTree>
    <p:extLst>
      <p:ext uri="{BB962C8B-B14F-4D97-AF65-F5344CB8AC3E}">
        <p14:creationId xmlns:p14="http://schemas.microsoft.com/office/powerpoint/2010/main" val="4223667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_White title slide">
    <p:spTree>
      <p:nvGrpSpPr>
        <p:cNvPr id="1" name=""/>
        <p:cNvGrpSpPr/>
        <p:nvPr/>
      </p:nvGrpSpPr>
      <p:grpSpPr>
        <a:xfrm>
          <a:off x="0" y="0"/>
          <a:ext cx="0" cy="0"/>
          <a:chOff x="0" y="0"/>
          <a:chExt cx="0" cy="0"/>
        </a:xfrm>
      </p:grpSpPr>
      <p:sp>
        <p:nvSpPr>
          <p:cNvPr id="10" name="TextBox 9"/>
          <p:cNvSpPr txBox="1"/>
          <p:nvPr userDrawn="1"/>
        </p:nvSpPr>
        <p:spPr>
          <a:xfrm>
            <a:off x="592670" y="6345071"/>
            <a:ext cx="10683393" cy="304800"/>
          </a:xfrm>
          <a:prstGeom prst="rect">
            <a:avLst/>
          </a:prstGeom>
          <a:noFill/>
        </p:spPr>
        <p:txBody>
          <a:bodyPr wrap="square" rtlCol="0">
            <a:noAutofit/>
          </a:bodyPr>
          <a:lstStyle/>
          <a:p>
            <a:pPr marL="0" marR="0" indent="0" algn="l" defTabSz="609021" rtl="0" eaLnBrk="1" fontAlgn="auto" latinLnBrk="0" hangingPunct="1">
              <a:lnSpc>
                <a:spcPct val="100000"/>
              </a:lnSpc>
              <a:spcBef>
                <a:spcPts val="0"/>
              </a:spcBef>
              <a:spcAft>
                <a:spcPts val="0"/>
              </a:spcAft>
              <a:buClrTx/>
              <a:buSzTx/>
              <a:buFontTx/>
              <a:buNone/>
              <a:tabLst/>
              <a:defRPr/>
            </a:pPr>
            <a:r>
              <a:rPr lang="en-US" sz="932" b="0" i="0" dirty="0">
                <a:solidFill>
                  <a:srgbClr val="B9B8BB"/>
                </a:solidFill>
                <a:latin typeface="HP Simplified"/>
                <a:cs typeface="HP Simplified"/>
              </a:rPr>
              <a:t>The information contained herein is subject to change </a:t>
            </a:r>
            <a:r>
              <a:rPr lang="en-US" sz="932" b="0" i="0">
                <a:solidFill>
                  <a:srgbClr val="B9B8BB"/>
                </a:solidFill>
                <a:latin typeface="HP Simplified"/>
                <a:cs typeface="HP Simplified"/>
              </a:rPr>
              <a:t>without notice.</a:t>
            </a:r>
            <a:endParaRPr lang="en-US" sz="932" b="0" i="0" dirty="0">
              <a:solidFill>
                <a:srgbClr val="B9B8BB"/>
              </a:solidFill>
              <a:latin typeface="HP Simplified"/>
              <a:cs typeface="HP Simplified"/>
            </a:endParaRPr>
          </a:p>
        </p:txBody>
      </p:sp>
      <p:sp>
        <p:nvSpPr>
          <p:cNvPr id="11" name="Title 1"/>
          <p:cNvSpPr>
            <a:spLocks noGrp="1"/>
          </p:cNvSpPr>
          <p:nvPr>
            <p:ph type="ctrTitle" hasCustomPrompt="1"/>
          </p:nvPr>
        </p:nvSpPr>
        <p:spPr bwMode="black">
          <a:xfrm>
            <a:off x="752420" y="2281946"/>
            <a:ext cx="9144000" cy="2438101"/>
          </a:xfrm>
          <a:prstGeom prst="rect">
            <a:avLst/>
          </a:prstGeom>
        </p:spPr>
        <p:txBody>
          <a:bodyPr anchor="b"/>
          <a:lstStyle>
            <a:lvl1pPr>
              <a:lnSpc>
                <a:spcPct val="90000"/>
              </a:lnSpc>
              <a:defRPr sz="6128" spc="-133">
                <a:solidFill>
                  <a:srgbClr val="008000"/>
                </a:solidFill>
              </a:defRPr>
            </a:lvl1pPr>
          </a:lstStyle>
          <a:p>
            <a:r>
              <a:rPr lang="en-US" dirty="0"/>
              <a:t>Click to edit master </a:t>
            </a:r>
            <a:br>
              <a:rPr lang="en-US" dirty="0"/>
            </a:br>
            <a:r>
              <a:rPr lang="en-US" dirty="0"/>
              <a:t>title style</a:t>
            </a:r>
          </a:p>
        </p:txBody>
      </p:sp>
      <p:pic>
        <p:nvPicPr>
          <p:cNvPr id="8" name="Imagem 7" descr="Tela_sinc.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57600"/>
          </a:xfrm>
          <a:prstGeom prst="rect">
            <a:avLst/>
          </a:prstGeom>
        </p:spPr>
      </p:pic>
    </p:spTree>
    <p:extLst>
      <p:ext uri="{BB962C8B-B14F-4D97-AF65-F5344CB8AC3E}">
        <p14:creationId xmlns:p14="http://schemas.microsoft.com/office/powerpoint/2010/main" val="3109624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68598" tIns="34299" rIns="68598" bIns="34299"/>
          <a:lstStyle/>
          <a:p>
            <a:r>
              <a:rPr lang="en-US"/>
              <a:t>Click to edit Master title style</a:t>
            </a:r>
          </a:p>
        </p:txBody>
      </p:sp>
      <p:sp>
        <p:nvSpPr>
          <p:cNvPr id="3" name="Content Placeholder 2"/>
          <p:cNvSpPr>
            <a:spLocks noGrp="1"/>
          </p:cNvSpPr>
          <p:nvPr>
            <p:ph idx="1"/>
          </p:nvPr>
        </p:nvSpPr>
        <p:spPr/>
        <p:txBody>
          <a:bodyPr lIns="68598" tIns="34299" rIns="68598" bIns="342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lIns="68598" tIns="34299" rIns="68598" bIns="34299"/>
          <a:lstStyle/>
          <a:p>
            <a:fld id="{4B34872B-52FF-4606-A952-74E59C77123B}" type="datetimeFigureOut">
              <a:rPr lang="en-US" smtClean="0"/>
              <a:pPr/>
              <a:t>9/30/2024</a:t>
            </a:fld>
            <a:endParaRPr lang="en-US"/>
          </a:p>
        </p:txBody>
      </p:sp>
      <p:sp>
        <p:nvSpPr>
          <p:cNvPr id="5" name="Footer Placeholder 4"/>
          <p:cNvSpPr>
            <a:spLocks noGrp="1"/>
          </p:cNvSpPr>
          <p:nvPr>
            <p:ph type="ftr" sz="quarter" idx="11"/>
          </p:nvPr>
        </p:nvSpPr>
        <p:spPr/>
        <p:txBody>
          <a:bodyPr lIns="68598" tIns="34299" rIns="68598" bIns="34299"/>
          <a:lstStyle/>
          <a:p>
            <a:endParaRPr lang="en-US"/>
          </a:p>
        </p:txBody>
      </p:sp>
      <p:sp>
        <p:nvSpPr>
          <p:cNvPr id="6" name="Slide Number Placeholder 5"/>
          <p:cNvSpPr>
            <a:spLocks noGrp="1"/>
          </p:cNvSpPr>
          <p:nvPr>
            <p:ph type="sldNum" sz="quarter" idx="12"/>
          </p:nvPr>
        </p:nvSpPr>
        <p:spPr/>
        <p:txBody>
          <a:bodyPr lIns="68598" tIns="34299" rIns="68598" bIns="34299"/>
          <a:lstStyle/>
          <a:p>
            <a:fld id="{60F25C11-F78C-443F-BA89-E6AF738E8FD0}" type="slidenum">
              <a:rPr lang="en-US" smtClean="0"/>
              <a:pPr/>
              <a:t>‹#›</a:t>
            </a:fld>
            <a:endParaRPr lang="en-US"/>
          </a:p>
        </p:txBody>
      </p:sp>
    </p:spTree>
    <p:extLst>
      <p:ext uri="{BB962C8B-B14F-4D97-AF65-F5344CB8AC3E}">
        <p14:creationId xmlns:p14="http://schemas.microsoft.com/office/powerpoint/2010/main" val="3167257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6_Custom Layout">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592671" y="287746"/>
            <a:ext cx="10972800" cy="605509"/>
          </a:xfrm>
          <a:prstGeom prst="rect">
            <a:avLst/>
          </a:prstGeom>
          <a:ln>
            <a:noFill/>
          </a:ln>
        </p:spPr>
        <p:txBody>
          <a:bodyPr anchor="ctr"/>
          <a:lstStyle>
            <a:lvl1pPr marL="0" indent="0" algn="ctr">
              <a:buNone/>
              <a:defRPr sz="3194" baseline="0">
                <a:solidFill>
                  <a:schemeClr val="tx1"/>
                </a:solidFill>
                <a:latin typeface="Arial"/>
                <a:cs typeface="Arial"/>
              </a:defRPr>
            </a:lvl1pPr>
            <a:lvl2pPr marL="608458" indent="0" algn="ctr">
              <a:buNone/>
              <a:defRPr>
                <a:solidFill>
                  <a:schemeClr val="tx1">
                    <a:tint val="75000"/>
                  </a:schemeClr>
                </a:solidFill>
              </a:defRPr>
            </a:lvl2pPr>
            <a:lvl3pPr marL="1216915" indent="0" algn="ctr">
              <a:buNone/>
              <a:defRPr>
                <a:solidFill>
                  <a:schemeClr val="tx1">
                    <a:tint val="75000"/>
                  </a:schemeClr>
                </a:solidFill>
              </a:defRPr>
            </a:lvl3pPr>
            <a:lvl4pPr marL="1825373" indent="0" algn="ctr">
              <a:buNone/>
              <a:defRPr>
                <a:solidFill>
                  <a:schemeClr val="tx1">
                    <a:tint val="75000"/>
                  </a:schemeClr>
                </a:solidFill>
              </a:defRPr>
            </a:lvl4pPr>
            <a:lvl5pPr marL="2433830" indent="0" algn="ctr">
              <a:buNone/>
              <a:defRPr>
                <a:solidFill>
                  <a:schemeClr val="tx1">
                    <a:tint val="75000"/>
                  </a:schemeClr>
                </a:solidFill>
              </a:defRPr>
            </a:lvl5pPr>
            <a:lvl6pPr marL="3042289" indent="0" algn="ctr">
              <a:buNone/>
              <a:defRPr>
                <a:solidFill>
                  <a:schemeClr val="tx1">
                    <a:tint val="75000"/>
                  </a:schemeClr>
                </a:solidFill>
              </a:defRPr>
            </a:lvl6pPr>
            <a:lvl7pPr marL="3650746" indent="0" algn="ctr">
              <a:buNone/>
              <a:defRPr>
                <a:solidFill>
                  <a:schemeClr val="tx1">
                    <a:tint val="75000"/>
                  </a:schemeClr>
                </a:solidFill>
              </a:defRPr>
            </a:lvl7pPr>
            <a:lvl8pPr marL="4259204" indent="0" algn="ctr">
              <a:buNone/>
              <a:defRPr>
                <a:solidFill>
                  <a:schemeClr val="tx1">
                    <a:tint val="75000"/>
                  </a:schemeClr>
                </a:solidFill>
              </a:defRPr>
            </a:lvl8pPr>
            <a:lvl9pPr marL="4867661" indent="0" algn="ctr">
              <a:buNone/>
              <a:defRPr>
                <a:solidFill>
                  <a:schemeClr val="tx1">
                    <a:tint val="75000"/>
                  </a:schemeClr>
                </a:solidFill>
              </a:defRPr>
            </a:lvl9pPr>
          </a:lstStyle>
          <a:p>
            <a:r>
              <a:rPr lang="en-US" dirty="0"/>
              <a:t>Slide Title</a:t>
            </a:r>
          </a:p>
        </p:txBody>
      </p:sp>
      <p:pic>
        <p:nvPicPr>
          <p:cNvPr id="5"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323074" y="6326791"/>
            <a:ext cx="2679276" cy="477074"/>
          </a:xfrm>
          <a:prstGeom prst="rect">
            <a:avLst/>
          </a:prstGeom>
          <a:noFill/>
          <a:ln w="9525">
            <a:noFill/>
            <a:miter lim="800000"/>
            <a:headEnd/>
            <a:tailEnd/>
          </a:ln>
          <a:effectLst/>
        </p:spPr>
      </p:pic>
    </p:spTree>
    <p:extLst>
      <p:ext uri="{BB962C8B-B14F-4D97-AF65-F5344CB8AC3E}">
        <p14:creationId xmlns:p14="http://schemas.microsoft.com/office/powerpoint/2010/main" val="981596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Divider - Green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1AF6193C-FC63-40E3-9D4E-DAA085E63F6D}"/>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pic>
        <p:nvPicPr>
          <p:cNvPr id="4" name="Graphic 3">
            <a:extLst>
              <a:ext uri="{FF2B5EF4-FFF2-40B4-BE49-F238E27FC236}">
                <a16:creationId xmlns:a16="http://schemas.microsoft.com/office/drawing/2014/main" id="{EB7F2F39-FE8D-9347-AFCD-F1BB907B15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4787900" cy="6858000"/>
          </a:xfrm>
          <a:prstGeom prst="rect">
            <a:avLst/>
          </a:prstGeom>
        </p:spPr>
      </p:pic>
    </p:spTree>
    <p:extLst>
      <p:ext uri="{BB962C8B-B14F-4D97-AF65-F5344CB8AC3E}">
        <p14:creationId xmlns:p14="http://schemas.microsoft.com/office/powerpoint/2010/main" val="1492299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ver - Blue gradient">
    <p:bg>
      <p:bgRef idx="1001">
        <a:schemeClr val="bg1"/>
      </p:bgRef>
    </p:bg>
    <p:spTree>
      <p:nvGrpSpPr>
        <p:cNvPr id="1" name=""/>
        <p:cNvGrpSpPr/>
        <p:nvPr/>
      </p:nvGrpSpPr>
      <p:grpSpPr>
        <a:xfrm>
          <a:off x="0" y="0"/>
          <a:ext cx="0" cy="0"/>
          <a:chOff x="0" y="0"/>
          <a:chExt cx="0" cy="0"/>
        </a:xfrm>
      </p:grpSpPr>
      <p:pic>
        <p:nvPicPr>
          <p:cNvPr id="7" name="Picture 6" descr="A body of water with a mountain in the background&#10;&#10;Description automatically generated">
            <a:extLst>
              <a:ext uri="{FF2B5EF4-FFF2-40B4-BE49-F238E27FC236}">
                <a16:creationId xmlns:a16="http://schemas.microsoft.com/office/drawing/2014/main" id="{B92443FF-9D46-4FEA-B425-69939657E2DB}"/>
              </a:ext>
            </a:extLst>
          </p:cNvPr>
          <p:cNvPicPr>
            <a:picLocks noChangeAspect="1"/>
          </p:cNvPicPr>
          <p:nvPr userDrawn="1"/>
        </p:nvPicPr>
        <p:blipFill>
          <a:blip r:embed="rId2"/>
          <a:stretch>
            <a:fillRect/>
          </a:stretch>
        </p:blipFill>
        <p:spPr>
          <a:xfrm>
            <a:off x="-1" y="-1"/>
            <a:ext cx="12192001" cy="6858001"/>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429969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2_Cover - Blue gradient">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DAD5E-5C69-401D-8BC6-22DF2FF56A6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1045298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3_Cover - Blue gradient">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49F89B-A296-4B84-B95A-3ABCD41C057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920186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7" name="Picture 6">
            <a:extLst>
              <a:ext uri="{FF2B5EF4-FFF2-40B4-BE49-F238E27FC236}">
                <a16:creationId xmlns:a16="http://schemas.microsoft.com/office/drawing/2014/main" id="{F99C53D4-B33D-4443-A9D7-69EBFE1FB5D7}"/>
              </a:ext>
            </a:extLst>
          </p:cNvPr>
          <p:cNvPicPr>
            <a:picLocks noChangeAspect="1"/>
          </p:cNvPicPr>
          <p:nvPr/>
        </p:nvPicPr>
        <p:blipFill rotWithShape="1">
          <a:blip r:embed="rId2">
            <a:extLst>
              <a:ext uri="{28A0092B-C50C-407E-A947-70E740481C1C}">
                <a14:useLocalDpi xmlns:a14="http://schemas.microsoft.com/office/drawing/2010/main"/>
              </a:ext>
            </a:extLst>
          </a:blip>
          <a:srcRect l="3878" t="8967"/>
          <a:stretch/>
        </p:blipFill>
        <p:spPr bwMode="black">
          <a:xfrm>
            <a:off x="0" y="0"/>
            <a:ext cx="11047763" cy="3926205"/>
          </a:xfrm>
          <a:prstGeom prst="rect">
            <a:avLst/>
          </a:prstGeom>
        </p:spPr>
      </p:pic>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42424523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ivider - Green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1AF6193C-FC63-40E3-9D4E-DAA085E63F6D}"/>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pic>
        <p:nvPicPr>
          <p:cNvPr id="9" name="Picture 8">
            <a:extLst>
              <a:ext uri="{FF2B5EF4-FFF2-40B4-BE49-F238E27FC236}">
                <a16:creationId xmlns:a16="http://schemas.microsoft.com/office/drawing/2014/main" id="{72F0C79A-5767-447E-BFBC-3C587A00B65D}"/>
              </a:ext>
            </a:extLst>
          </p:cNvPr>
          <p:cNvPicPr>
            <a:picLocks noChangeAspect="1"/>
          </p:cNvPicPr>
          <p:nvPr/>
        </p:nvPicPr>
        <p:blipFill rotWithShape="1">
          <a:blip r:embed="rId2">
            <a:extLst>
              <a:ext uri="{28A0092B-C50C-407E-A947-70E740481C1C}">
                <a14:useLocalDpi xmlns:a14="http://schemas.microsoft.com/office/drawing/2010/main"/>
              </a:ext>
            </a:extLst>
          </a:blip>
          <a:srcRect l="41390" t="77774" b="8035"/>
          <a:stretch/>
        </p:blipFill>
        <p:spPr>
          <a:xfrm>
            <a:off x="-85725" y="0"/>
            <a:ext cx="5047289" cy="6858000"/>
          </a:xfrm>
          <a:prstGeom prst="rect">
            <a:avLst/>
          </a:prstGeom>
        </p:spPr>
      </p:pic>
      <p:pic>
        <p:nvPicPr>
          <p:cNvPr id="5" name="Picture 4">
            <a:extLst>
              <a:ext uri="{FF2B5EF4-FFF2-40B4-BE49-F238E27FC236}">
                <a16:creationId xmlns:a16="http://schemas.microsoft.com/office/drawing/2014/main" id="{A7B7AF42-FA8B-4E62-8199-B95EE20046E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41390" t="77774" b="8035"/>
          <a:stretch/>
        </p:blipFill>
        <p:spPr bwMode="black">
          <a:xfrm>
            <a:off x="-85725" y="0"/>
            <a:ext cx="5047289" cy="6858000"/>
          </a:xfrm>
          <a:prstGeom prst="rect">
            <a:avLst/>
          </a:prstGeom>
        </p:spPr>
      </p:pic>
    </p:spTree>
    <p:extLst>
      <p:ext uri="{BB962C8B-B14F-4D97-AF65-F5344CB8AC3E}">
        <p14:creationId xmlns:p14="http://schemas.microsoft.com/office/powerpoint/2010/main" val="1686297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Divider - Fuschia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099"/>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59F5FB2A-25C0-A341-84C5-1FBAC66FCC52}"/>
              </a:ext>
            </a:extLst>
          </p:cNvPr>
          <p:cNvPicPr>
            <a:picLocks noChangeAspect="1"/>
          </p:cNvPicPr>
          <p:nvPr/>
        </p:nvPicPr>
        <p:blipFill rotWithShape="1">
          <a:blip r:embed="rId2">
            <a:extLst>
              <a:ext uri="{28A0092B-C50C-407E-A947-70E740481C1C}">
                <a14:useLocalDpi xmlns:a14="http://schemas.microsoft.com/office/drawing/2010/main"/>
              </a:ext>
            </a:extLst>
          </a:blip>
          <a:srcRect l="35314" b="27707"/>
          <a:stretch/>
        </p:blipFill>
        <p:spPr bwMode="black">
          <a:xfrm>
            <a:off x="0" y="464756"/>
            <a:ext cx="5720519" cy="6393245"/>
          </a:xfrm>
          <a:prstGeom prst="rect">
            <a:avLst/>
          </a:prstGeom>
        </p:spPr>
      </p:pic>
      <p:sp>
        <p:nvSpPr>
          <p:cNvPr id="3" name="Title 2">
            <a:extLst>
              <a:ext uri="{FF2B5EF4-FFF2-40B4-BE49-F238E27FC236}">
                <a16:creationId xmlns:a16="http://schemas.microsoft.com/office/drawing/2014/main" id="{3436B071-8BEA-43B1-87FE-9FA213E3D8CB}"/>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4187374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ivider - Yellow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751B44C2-E17A-B444-8E08-86FF5CCF3E8B}"/>
              </a:ext>
            </a:extLst>
          </p:cNvPr>
          <p:cNvPicPr>
            <a:picLocks noChangeAspect="1"/>
          </p:cNvPicPr>
          <p:nvPr/>
        </p:nvPicPr>
        <p:blipFill rotWithShape="1">
          <a:blip r:embed="rId2">
            <a:extLst>
              <a:ext uri="{28A0092B-C50C-407E-A947-70E740481C1C}">
                <a14:useLocalDpi xmlns:a14="http://schemas.microsoft.com/office/drawing/2010/main"/>
              </a:ext>
            </a:extLst>
          </a:blip>
          <a:srcRect l="29809" t="44849" r="-383" b="25155"/>
          <a:stretch/>
        </p:blipFill>
        <p:spPr bwMode="black">
          <a:xfrm>
            <a:off x="1" y="0"/>
            <a:ext cx="4445459" cy="6858000"/>
          </a:xfrm>
          <a:prstGeom prst="rect">
            <a:avLst/>
          </a:prstGeom>
        </p:spPr>
      </p:pic>
      <p:sp>
        <p:nvSpPr>
          <p:cNvPr id="3" name="Title 2">
            <a:extLst>
              <a:ext uri="{FF2B5EF4-FFF2-40B4-BE49-F238E27FC236}">
                <a16:creationId xmlns:a16="http://schemas.microsoft.com/office/drawing/2014/main" id="{4ABFEB5A-5B0E-426B-93EC-629646B3452A}"/>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20943685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39555" y="1573833"/>
            <a:ext cx="4987799"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569956" y="1573833"/>
            <a:ext cx="4977193" cy="427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a:t>Click to edit your title</a:t>
            </a:r>
          </a:p>
        </p:txBody>
      </p:sp>
    </p:spTree>
    <p:extLst>
      <p:ext uri="{BB962C8B-B14F-4D97-AF65-F5344CB8AC3E}">
        <p14:creationId xmlns:p14="http://schemas.microsoft.com/office/powerpoint/2010/main" val="3929810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39554"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44536"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49522"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44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39555" y="1573833"/>
            <a:ext cx="4987799" cy="1874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569956" y="1573835"/>
            <a:ext cx="4977193" cy="18748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39120" y="3931908"/>
            <a:ext cx="4988234"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564648" y="3931908"/>
            <a:ext cx="4977193"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513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 Fuschia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099"/>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59F5FB2A-25C0-A341-84C5-1FBAC66FCC5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5314" b="27707"/>
          <a:stretch/>
        </p:blipFill>
        <p:spPr bwMode="black">
          <a:xfrm>
            <a:off x="0" y="464756"/>
            <a:ext cx="5720519" cy="6393245"/>
          </a:xfrm>
          <a:prstGeom prst="rect">
            <a:avLst/>
          </a:prstGeom>
        </p:spPr>
      </p:pic>
      <p:sp>
        <p:nvSpPr>
          <p:cNvPr id="3" name="Title 2">
            <a:extLst>
              <a:ext uri="{FF2B5EF4-FFF2-40B4-BE49-F238E27FC236}">
                <a16:creationId xmlns:a16="http://schemas.microsoft.com/office/drawing/2014/main" id="{3436B071-8BEA-43B1-87FE-9FA213E3D8CB}"/>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2408789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8AA3504-A3CC-4CD3-A78A-2E2FE2301C4F}"/>
              </a:ext>
            </a:extLst>
          </p:cNvPr>
          <p:cNvSpPr/>
          <p:nvPr userDrawn="1"/>
        </p:nvSpPr>
        <p:spPr bwMode="hidden">
          <a:xfrm>
            <a:off x="644850" y="1532676"/>
            <a:ext cx="3490457" cy="432246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8" name="Rectangle 27">
            <a:extLst>
              <a:ext uri="{FF2B5EF4-FFF2-40B4-BE49-F238E27FC236}">
                <a16:creationId xmlns:a16="http://schemas.microsoft.com/office/drawing/2014/main" id="{4D1BE738-C7FE-4063-9CE3-50B70EACE4FF}"/>
              </a:ext>
            </a:extLst>
          </p:cNvPr>
          <p:cNvSpPr/>
          <p:nvPr userDrawn="1"/>
        </p:nvSpPr>
        <p:spPr bwMode="hidden">
          <a:xfrm>
            <a:off x="4353194" y="1532676"/>
            <a:ext cx="3490457" cy="432246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Rectangle 28">
            <a:extLst>
              <a:ext uri="{FF2B5EF4-FFF2-40B4-BE49-F238E27FC236}">
                <a16:creationId xmlns:a16="http://schemas.microsoft.com/office/drawing/2014/main" id="{998B9464-C1B3-49B1-BEC9-EF06DCDDDC88}"/>
              </a:ext>
            </a:extLst>
          </p:cNvPr>
          <p:cNvSpPr/>
          <p:nvPr userDrawn="1"/>
        </p:nvSpPr>
        <p:spPr bwMode="hidden">
          <a:xfrm>
            <a:off x="8056309" y="1532676"/>
            <a:ext cx="3490457" cy="432246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p:ph type="pic" sz="quarter" idx="21" hasCustomPrompt="1"/>
          </p:nvPr>
        </p:nvSpPr>
        <p:spPr>
          <a:xfrm>
            <a:off x="1464029" y="2152296"/>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p:ph type="title" hasCustomPrompt="1"/>
          </p:nvPr>
        </p:nvSpPr>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p:ph type="body" sz="quarter" idx="12" hasCustomPrompt="1"/>
          </p:nvPr>
        </p:nvSpPr>
        <p:spPr>
          <a:xfrm>
            <a:off x="896498"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p:ph type="body" sz="quarter" idx="15" hasCustomPrompt="1"/>
          </p:nvPr>
        </p:nvSpPr>
        <p:spPr>
          <a:xfrm>
            <a:off x="896498" y="4670164"/>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p:ph type="pic" sz="quarter" idx="22" hasCustomPrompt="1"/>
          </p:nvPr>
        </p:nvSpPr>
        <p:spPr>
          <a:xfrm>
            <a:off x="5167143" y="2152296"/>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p:ph type="body" sz="quarter" idx="23" hasCustomPrompt="1"/>
          </p:nvPr>
        </p:nvSpPr>
        <p:spPr>
          <a:xfrm>
            <a:off x="4599613"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p:ph type="body" sz="quarter" idx="24" hasCustomPrompt="1"/>
          </p:nvPr>
        </p:nvSpPr>
        <p:spPr>
          <a:xfrm>
            <a:off x="4599613" y="4670163"/>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p:ph type="pic" sz="quarter" idx="25" hasCustomPrompt="1"/>
          </p:nvPr>
        </p:nvSpPr>
        <p:spPr>
          <a:xfrm>
            <a:off x="8870259" y="2075161"/>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p:ph type="body" sz="quarter" idx="26" hasCustomPrompt="1"/>
          </p:nvPr>
        </p:nvSpPr>
        <p:spPr>
          <a:xfrm>
            <a:off x="8302729"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p:ph type="body" sz="quarter" idx="27" hasCustomPrompt="1"/>
          </p:nvPr>
        </p:nvSpPr>
        <p:spPr>
          <a:xfrm>
            <a:off x="8302729" y="4670163"/>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2802167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8F1EED4-9C02-4A24-A994-AD388A2977C2}"/>
              </a:ext>
            </a:extLst>
          </p:cNvPr>
          <p:cNvSpPr/>
          <p:nvPr userDrawn="1"/>
        </p:nvSpPr>
        <p:spPr bwMode="white">
          <a:xfrm>
            <a:off x="644850" y="1532677"/>
            <a:ext cx="2566081" cy="432246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0" name="Rectangle 29">
            <a:extLst>
              <a:ext uri="{FF2B5EF4-FFF2-40B4-BE49-F238E27FC236}">
                <a16:creationId xmlns:a16="http://schemas.microsoft.com/office/drawing/2014/main" id="{2913C06C-907C-4773-A5E4-AD20E35B9F5F}"/>
              </a:ext>
            </a:extLst>
          </p:cNvPr>
          <p:cNvSpPr/>
          <p:nvPr userDrawn="1"/>
        </p:nvSpPr>
        <p:spPr bwMode="white">
          <a:xfrm>
            <a:off x="3421824" y="1532677"/>
            <a:ext cx="2566081" cy="432246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1" name="Rectangle 30">
            <a:extLst>
              <a:ext uri="{FF2B5EF4-FFF2-40B4-BE49-F238E27FC236}">
                <a16:creationId xmlns:a16="http://schemas.microsoft.com/office/drawing/2014/main" id="{53C086EF-2C30-43A0-9153-3878AD90FBAF}"/>
              </a:ext>
            </a:extLst>
          </p:cNvPr>
          <p:cNvSpPr/>
          <p:nvPr userDrawn="1"/>
        </p:nvSpPr>
        <p:spPr bwMode="white">
          <a:xfrm>
            <a:off x="6198798" y="1532677"/>
            <a:ext cx="2566081" cy="432246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2" name="Rectangle 31">
            <a:extLst>
              <a:ext uri="{FF2B5EF4-FFF2-40B4-BE49-F238E27FC236}">
                <a16:creationId xmlns:a16="http://schemas.microsoft.com/office/drawing/2014/main" id="{87F60045-5CBA-4C5E-817F-3C6796211521}"/>
              </a:ext>
            </a:extLst>
          </p:cNvPr>
          <p:cNvSpPr/>
          <p:nvPr userDrawn="1"/>
        </p:nvSpPr>
        <p:spPr bwMode="white">
          <a:xfrm>
            <a:off x="8975773" y="1532677"/>
            <a:ext cx="2566081" cy="432246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noProof="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76E45A0-DE19-41AA-9EA2-68795CBC79E7}"/>
              </a:ext>
            </a:extLst>
          </p:cNvPr>
          <p:cNvSpPr>
            <a:spLocks noGrp="1"/>
          </p:cNvSpPr>
          <p:nvPr>
            <p:ph type="title" hasCustomPrompt="1"/>
          </p:nvPr>
        </p:nvSpPr>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p:ph type="pic" sz="quarter" idx="21" hasCustomPrompt="1"/>
          </p:nvPr>
        </p:nvSpPr>
        <p:spPr>
          <a:xfrm>
            <a:off x="1254190"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p:ph type="body" sz="quarter" idx="12" hasCustomPrompt="1"/>
          </p:nvPr>
        </p:nvSpPr>
        <p:spPr>
          <a:xfrm>
            <a:off x="842889"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p:ph type="body" sz="quarter" idx="15" hasCustomPrompt="1"/>
          </p:nvPr>
        </p:nvSpPr>
        <p:spPr>
          <a:xfrm>
            <a:off x="842889"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p:ph type="pic" sz="quarter" idx="22" hasCustomPrompt="1"/>
          </p:nvPr>
        </p:nvSpPr>
        <p:spPr>
          <a:xfrm>
            <a:off x="403116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p:ph type="body" sz="quarter" idx="23" hasCustomPrompt="1"/>
          </p:nvPr>
        </p:nvSpPr>
        <p:spPr>
          <a:xfrm>
            <a:off x="361986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p:ph type="body" sz="quarter" idx="24" hasCustomPrompt="1"/>
          </p:nvPr>
        </p:nvSpPr>
        <p:spPr>
          <a:xfrm>
            <a:off x="3619864"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p:ph type="pic" sz="quarter" idx="25" hasCustomPrompt="1"/>
          </p:nvPr>
        </p:nvSpPr>
        <p:spPr>
          <a:xfrm>
            <a:off x="6808138"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p:ph type="body" sz="quarter" idx="26" hasCustomPrompt="1"/>
          </p:nvPr>
        </p:nvSpPr>
        <p:spPr>
          <a:xfrm>
            <a:off x="6396838"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p:ph type="body" sz="quarter" idx="27" hasCustomPrompt="1"/>
          </p:nvPr>
        </p:nvSpPr>
        <p:spPr>
          <a:xfrm>
            <a:off x="6396838"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p:ph type="pic" sz="quarter" idx="28" hasCustomPrompt="1"/>
          </p:nvPr>
        </p:nvSpPr>
        <p:spPr>
          <a:xfrm>
            <a:off x="958511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p:ph type="body" sz="quarter" idx="29" hasCustomPrompt="1"/>
          </p:nvPr>
        </p:nvSpPr>
        <p:spPr>
          <a:xfrm>
            <a:off x="917381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p:ph type="body" sz="quarter" idx="30" hasCustomPrompt="1"/>
          </p:nvPr>
        </p:nvSpPr>
        <p:spPr>
          <a:xfrm>
            <a:off x="9173812"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1027652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330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se study - Green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938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ase study - Fuschia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0250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ase study - Gold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a:solidFill>
                <a:srgbClr val="FFFFFF"/>
              </a:solidFill>
              <a:latin typeface="Century Gothic" panose="020F0302020204030204"/>
            </a:endParaRPr>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8811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645512DE-CB1D-4630-AD41-1644F213BA87}"/>
              </a:ext>
            </a:extLst>
          </p:cNvPr>
          <p:cNvPicPr>
            <a:picLocks noChangeAspect="1"/>
          </p:cNvPicPr>
          <p:nvPr userDrawn="1"/>
        </p:nvPicPr>
        <p:blipFill rotWithShape="1">
          <a:blip r:embed="rId4">
            <a:extLst>
              <a:ext uri="{28A0092B-C50C-407E-A947-70E740481C1C}">
                <a14:useLocalDpi xmlns:a14="http://schemas.microsoft.com/office/drawing/2010/main"/>
              </a:ext>
            </a:extLst>
          </a:blip>
          <a:srcRect l="2954" t="8845"/>
          <a:stretch/>
        </p:blipFill>
        <p:spPr bwMode="black">
          <a:xfrm rot="10800000">
            <a:off x="1268730" y="2957706"/>
            <a:ext cx="10923270" cy="3900295"/>
          </a:xfrm>
          <a:prstGeom prst="rect">
            <a:avLst/>
          </a:prstGeom>
        </p:spPr>
      </p:pic>
    </p:spTree>
    <p:extLst>
      <p:ext uri="{BB962C8B-B14F-4D97-AF65-F5344CB8AC3E}">
        <p14:creationId xmlns:p14="http://schemas.microsoft.com/office/powerpoint/2010/main" val="1014214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losing - Green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6"/>
            <a:ext cx="6109588" cy="3381265"/>
          </a:xfrm>
        </p:spPr>
        <p:txBody>
          <a:bodyPr anchor="t">
            <a:normAutofit/>
          </a:bodyPr>
          <a:lstStyle>
            <a:lvl1pPr>
              <a:defRPr sz="6000"/>
            </a:lvl1pPr>
          </a:lstStyle>
          <a:p>
            <a:r>
              <a:rPr lang="en-US"/>
              <a:t>Click to add short closing sentence</a:t>
            </a:r>
          </a:p>
        </p:txBody>
      </p:sp>
      <p:pic>
        <p:nvPicPr>
          <p:cNvPr id="12" name="Graphic 11">
            <a:extLst>
              <a:ext uri="{FF2B5EF4-FFF2-40B4-BE49-F238E27FC236}">
                <a16:creationId xmlns:a16="http://schemas.microsoft.com/office/drawing/2014/main" id="{EFDA44A8-255F-47C9-B257-951087A30F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5EC7BA9B-B3CC-4795-BF6A-AF3C73C4E4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949518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Closing - Green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6"/>
            <a:ext cx="6109588" cy="3381265"/>
          </a:xfrm>
        </p:spPr>
        <p:txBody>
          <a:bodyPr anchor="t">
            <a:normAutofit/>
          </a:bodyPr>
          <a:lstStyle>
            <a:lvl1pPr>
              <a:defRPr sz="6000"/>
            </a:lvl1pPr>
          </a:lstStyle>
          <a:p>
            <a:r>
              <a:rPr lang="en-US"/>
              <a:t>Click to add short closing sentence</a:t>
            </a:r>
          </a:p>
        </p:txBody>
      </p:sp>
    </p:spTree>
    <p:extLst>
      <p:ext uri="{BB962C8B-B14F-4D97-AF65-F5344CB8AC3E}">
        <p14:creationId xmlns:p14="http://schemas.microsoft.com/office/powerpoint/2010/main" val="2392934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losing - Fuschia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A9AD33F6-1416-4A9E-93DD-CB80F116A1C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2688" t="-449" r="2175" b="29077"/>
          <a:stretch/>
        </p:blipFill>
        <p:spPr bwMode="black">
          <a:xfrm rot="16200000">
            <a:off x="5888459" y="554451"/>
            <a:ext cx="6857998" cy="5749090"/>
          </a:xfrm>
          <a:prstGeom prst="rect">
            <a:avLst/>
          </a:prstGeom>
        </p:spPr>
      </p:pic>
      <p:sp>
        <p:nvSpPr>
          <p:cNvPr id="4" name="Title 3">
            <a:extLst>
              <a:ext uri="{FF2B5EF4-FFF2-40B4-BE49-F238E27FC236}">
                <a16:creationId xmlns:a16="http://schemas.microsoft.com/office/drawing/2014/main" id="{732A62C7-DE6E-41CE-BE44-090856989E47}"/>
              </a:ext>
            </a:extLst>
          </p:cNvPr>
          <p:cNvSpPr>
            <a:spLocks noGrp="1"/>
          </p:cNvSpPr>
          <p:nvPr>
            <p:ph type="title" hasCustomPrompt="1"/>
          </p:nvPr>
        </p:nvSpPr>
        <p:spPr>
          <a:xfrm>
            <a:off x="639555" y="2665026"/>
            <a:ext cx="5693153" cy="3381265"/>
          </a:xfrm>
        </p:spPr>
        <p:txBody>
          <a:bodyPr anchor="t">
            <a:normAutofit/>
          </a:bodyPr>
          <a:lstStyle>
            <a:lvl1pPr>
              <a:defRPr sz="6000"/>
            </a:lvl1pPr>
          </a:lstStyle>
          <a:p>
            <a:r>
              <a:rPr lang="en-US"/>
              <a:t>Click to add short closing sentence</a:t>
            </a:r>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539667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 Yellow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751B44C2-E17A-B444-8E08-86FF5CCF3E8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9809" t="44849" r="-383" b="25155"/>
          <a:stretch/>
        </p:blipFill>
        <p:spPr bwMode="black">
          <a:xfrm>
            <a:off x="1" y="0"/>
            <a:ext cx="4445459" cy="6858000"/>
          </a:xfrm>
          <a:prstGeom prst="rect">
            <a:avLst/>
          </a:prstGeom>
        </p:spPr>
      </p:pic>
      <p:sp>
        <p:nvSpPr>
          <p:cNvPr id="3" name="Title 2">
            <a:extLst>
              <a:ext uri="{FF2B5EF4-FFF2-40B4-BE49-F238E27FC236}">
                <a16:creationId xmlns:a16="http://schemas.microsoft.com/office/drawing/2014/main" id="{4ABFEB5A-5B0E-426B-93EC-629646B3452A}"/>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3697639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losing - Gold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1C0BAD3-71E8-4F30-86E6-613BBF710A63}"/>
              </a:ext>
            </a:extLst>
          </p:cNvPr>
          <p:cNvSpPr>
            <a:spLocks noGrp="1"/>
          </p:cNvSpPr>
          <p:nvPr>
            <p:ph type="title" hasCustomPrompt="1"/>
          </p:nvPr>
        </p:nvSpPr>
        <p:spPr>
          <a:xfrm>
            <a:off x="639555" y="2665026"/>
            <a:ext cx="6109588" cy="3381265"/>
          </a:xfrm>
        </p:spPr>
        <p:txBody>
          <a:bodyPr anchor="t">
            <a:noAutofit/>
          </a:bodyPr>
          <a:lstStyle>
            <a:lvl1pPr>
              <a:defRPr sz="6000"/>
            </a:lvl1pPr>
          </a:lstStyle>
          <a:p>
            <a:r>
              <a:rPr lang="en-US"/>
              <a:t>Click to add short closing sentence</a:t>
            </a:r>
          </a:p>
        </p:txBody>
      </p:sp>
      <p:pic>
        <p:nvPicPr>
          <p:cNvPr id="71" name="Graphic 70">
            <a:extLst>
              <a:ext uri="{FF2B5EF4-FFF2-40B4-BE49-F238E27FC236}">
                <a16:creationId xmlns:a16="http://schemas.microsoft.com/office/drawing/2014/main" id="{D61F507B-2EC6-43D0-8C98-4FFE0C8EB9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4DD9EAB6-D427-4E29-9773-D39A538947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7CA0B16D-EEDF-46B0-924E-4B559D093E29}"/>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31256" r="11043" b="34663"/>
          <a:stretch/>
        </p:blipFill>
        <p:spPr bwMode="black">
          <a:xfrm>
            <a:off x="7260383" y="1"/>
            <a:ext cx="4931618" cy="6858000"/>
          </a:xfrm>
          <a:prstGeom prst="rect">
            <a:avLst/>
          </a:prstGeom>
        </p:spPr>
      </p:pic>
    </p:spTree>
    <p:extLst>
      <p:ext uri="{BB962C8B-B14F-4D97-AF65-F5344CB8AC3E}">
        <p14:creationId xmlns:p14="http://schemas.microsoft.com/office/powerpoint/2010/main" val="624148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2181029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a:solidFill>
                  <a:schemeClr val="tx1"/>
                </a:solidFill>
              </a:rPr>
              <a:t>END OF TEMPLATE</a:t>
            </a:r>
          </a:p>
          <a:p>
            <a:pPr algn="l"/>
            <a:endParaRPr lang="en-US" sz="3000" b="0">
              <a:solidFill>
                <a:schemeClr val="tx1"/>
              </a:solidFill>
            </a:endParaRPr>
          </a:p>
          <a:p>
            <a:pPr algn="l"/>
            <a:r>
              <a:rPr lang="en-US" sz="6600" b="1">
                <a:solidFill>
                  <a:schemeClr val="tx1"/>
                </a:solidFill>
              </a:rPr>
              <a:t>Do not use any master slide that exists after this one</a:t>
            </a:r>
          </a:p>
        </p:txBody>
      </p:sp>
    </p:spTree>
    <p:extLst>
      <p:ext uri="{BB962C8B-B14F-4D97-AF65-F5344CB8AC3E}">
        <p14:creationId xmlns:p14="http://schemas.microsoft.com/office/powerpoint/2010/main" val="1564847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Org Chart with Headline">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493776" y="446147"/>
            <a:ext cx="11205972" cy="1053044"/>
          </a:xfrm>
          <a:prstGeom prst="rect">
            <a:avLst/>
          </a:prstGeom>
        </p:spPr>
        <p:txBody>
          <a:bodyPr vert="horz" anchor="t">
            <a:noAutofit/>
          </a:bodyPr>
          <a:lstStyle>
            <a:lvl1pPr algn="l">
              <a:defRPr sz="3600" b="1">
                <a:solidFill>
                  <a:schemeClr val="tx1"/>
                </a:solidFill>
                <a:latin typeface="+mj-lt"/>
              </a:defRPr>
            </a:lvl1pPr>
          </a:lstStyle>
          <a:p>
            <a:r>
              <a:rPr lang="en-US"/>
              <a:t>Click to add concise headlin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70698" y="6230322"/>
            <a:ext cx="627463" cy="252058"/>
          </a:xfrm>
          <a:prstGeom prst="rect">
            <a:avLst/>
          </a:prstGeom>
        </p:spPr>
      </p:pic>
      <p:sp>
        <p:nvSpPr>
          <p:cNvPr id="10" name="SmartArt Placeholder 9">
            <a:extLst>
              <a:ext uri="{FF2B5EF4-FFF2-40B4-BE49-F238E27FC236}">
                <a16:creationId xmlns:a16="http://schemas.microsoft.com/office/drawing/2014/main" id="{A29D8A31-E9F4-C143-A782-5B192F394C8E}"/>
              </a:ext>
            </a:extLst>
          </p:cNvPr>
          <p:cNvSpPr>
            <a:spLocks noGrp="1"/>
          </p:cNvSpPr>
          <p:nvPr>
            <p:ph type="dgm" sz="quarter" idx="10" hasCustomPrompt="1"/>
          </p:nvPr>
        </p:nvSpPr>
        <p:spPr>
          <a:xfrm>
            <a:off x="493776" y="1714500"/>
            <a:ext cx="11205972" cy="4203954"/>
          </a:xfrm>
          <a:prstGeom prst="rect">
            <a:avLst/>
          </a:prstGeom>
        </p:spPr>
        <p:txBody>
          <a:bodyPr/>
          <a:lstStyle>
            <a:lvl1pPr marL="0" indent="0">
              <a:buNone/>
              <a:defRPr sz="1350"/>
            </a:lvl1pPr>
          </a:lstStyle>
          <a:p>
            <a:r>
              <a:rPr lang="en-US"/>
              <a:t>Click to insert smart graphic</a:t>
            </a:r>
          </a:p>
        </p:txBody>
      </p:sp>
    </p:spTree>
    <p:extLst>
      <p:ext uri="{BB962C8B-B14F-4D97-AF65-F5344CB8AC3E}">
        <p14:creationId xmlns:p14="http://schemas.microsoft.com/office/powerpoint/2010/main" val="24713973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Date Placeholder 3"/>
          <p:cNvSpPr>
            <a:spLocks noGrp="1"/>
          </p:cNvSpPr>
          <p:nvPr>
            <p:ph type="dt" sz="half" idx="11"/>
          </p:nvPr>
        </p:nvSpPr>
        <p:spPr>
          <a:xfrm>
            <a:off x="123900" y="6135914"/>
            <a:ext cx="2844800" cy="269055"/>
          </a:xfrm>
        </p:spPr>
        <p:txBody>
          <a:bodyPr/>
          <a:lstStyle>
            <a:lvl1pPr algn="l">
              <a:defRPr sz="1575"/>
            </a:lvl1pPr>
          </a:lstStyle>
          <a:p>
            <a:endParaRPr lang="en-US" dirty="0"/>
          </a:p>
        </p:txBody>
      </p:sp>
      <p:sp>
        <p:nvSpPr>
          <p:cNvPr id="11" name="Text Placeholder 5"/>
          <p:cNvSpPr>
            <a:spLocks noGrp="1"/>
          </p:cNvSpPr>
          <p:nvPr>
            <p:ph type="body" sz="quarter" idx="10" hasCustomPrompt="1"/>
          </p:nvPr>
        </p:nvSpPr>
        <p:spPr>
          <a:xfrm>
            <a:off x="5988454" y="5116968"/>
            <a:ext cx="5572073" cy="803076"/>
          </a:xfrm>
          <a:prstGeom prst="rect">
            <a:avLst/>
          </a:prstGeom>
        </p:spPr>
        <p:txBody>
          <a:bodyPr vert="horz" lIns="162547" tIns="81273" rIns="162547" bIns="81273" anchor="b"/>
          <a:lstStyle>
            <a:lvl1pPr marL="0" marR="0" indent="0" algn="r" defTabSz="609473" rtl="0" eaLnBrk="1" fontAlgn="auto" latinLnBrk="0" hangingPunct="1">
              <a:lnSpc>
                <a:spcPct val="100000"/>
              </a:lnSpc>
              <a:spcBef>
                <a:spcPct val="20000"/>
              </a:spcBef>
              <a:spcAft>
                <a:spcPts val="0"/>
              </a:spcAft>
              <a:buClrTx/>
              <a:buSzTx/>
              <a:buFont typeface="Arial"/>
              <a:buNone/>
              <a:tabLst/>
              <a:defRPr sz="2400" b="1" spc="0" baseline="0">
                <a:solidFill>
                  <a:schemeClr val="tx1"/>
                </a:solidFill>
              </a:defRPr>
            </a:lvl1pPr>
          </a:lstStyle>
          <a:p>
            <a:pPr marL="0" marR="0" lvl="0" indent="0" algn="r" defTabSz="609473" rtl="0" eaLnBrk="1" fontAlgn="auto" latinLnBrk="0" hangingPunct="1">
              <a:lnSpc>
                <a:spcPct val="100000"/>
              </a:lnSpc>
              <a:spcBef>
                <a:spcPct val="20000"/>
              </a:spcBef>
              <a:spcAft>
                <a:spcPts val="0"/>
              </a:spcAft>
              <a:buClrTx/>
              <a:buSzTx/>
              <a:buFont typeface="Arial"/>
              <a:buNone/>
              <a:tabLst/>
              <a:defRPr/>
            </a:pPr>
            <a:r>
              <a:rPr lang="en-US" dirty="0"/>
              <a:t>This Is A Presentation Title That Can Go On Two Lines</a:t>
            </a:r>
          </a:p>
        </p:txBody>
      </p:sp>
      <p:sp>
        <p:nvSpPr>
          <p:cNvPr id="12" name="Text Placeholder 5"/>
          <p:cNvSpPr>
            <a:spLocks noGrp="1"/>
          </p:cNvSpPr>
          <p:nvPr>
            <p:ph type="body" sz="quarter" idx="12" hasCustomPrompt="1"/>
          </p:nvPr>
        </p:nvSpPr>
        <p:spPr>
          <a:xfrm>
            <a:off x="8888584" y="5933814"/>
            <a:ext cx="2671940" cy="465040"/>
          </a:xfrm>
          <a:prstGeom prst="rect">
            <a:avLst/>
          </a:prstGeom>
        </p:spPr>
        <p:txBody>
          <a:bodyPr vert="horz" lIns="162547" tIns="81273" rIns="162547" bIns="81273" anchor="ctr"/>
          <a:lstStyle>
            <a:lvl1pPr marL="0" indent="0" algn="r">
              <a:lnSpc>
                <a:spcPct val="90000"/>
              </a:lnSpc>
              <a:buNone/>
              <a:defRPr sz="2175" b="0">
                <a:solidFill>
                  <a:schemeClr val="bg1"/>
                </a:solidFill>
              </a:defRPr>
            </a:lvl1pPr>
          </a:lstStyle>
          <a:p>
            <a:pPr lvl="0"/>
            <a:r>
              <a:rPr lang="en-US" dirty="0"/>
              <a:t>Author</a:t>
            </a:r>
          </a:p>
        </p:txBody>
      </p:sp>
      <p:sp>
        <p:nvSpPr>
          <p:cNvPr id="13" name="Text Placeholder 5"/>
          <p:cNvSpPr>
            <a:spLocks noGrp="1"/>
          </p:cNvSpPr>
          <p:nvPr>
            <p:ph type="body" sz="quarter" idx="13" hasCustomPrompt="1"/>
          </p:nvPr>
        </p:nvSpPr>
        <p:spPr>
          <a:xfrm>
            <a:off x="8888584" y="6398854"/>
            <a:ext cx="2671940" cy="312122"/>
          </a:xfrm>
          <a:prstGeom prst="rect">
            <a:avLst/>
          </a:prstGeom>
        </p:spPr>
        <p:txBody>
          <a:bodyPr vert="horz" lIns="162547" tIns="81273" rIns="162547" bIns="81273"/>
          <a:lstStyle>
            <a:lvl1pPr marL="0" indent="0" algn="r">
              <a:lnSpc>
                <a:spcPct val="90000"/>
              </a:lnSpc>
              <a:buNone/>
              <a:defRPr sz="1575" b="0">
                <a:solidFill>
                  <a:schemeClr val="bg1"/>
                </a:solidFill>
              </a:defRPr>
            </a:lvl1pPr>
          </a:lstStyle>
          <a:p>
            <a:pPr lvl="0"/>
            <a:r>
              <a:rPr lang="en-US" dirty="0"/>
              <a:t>Position</a:t>
            </a:r>
          </a:p>
        </p:txBody>
      </p:sp>
    </p:spTree>
    <p:extLst>
      <p:ext uri="{BB962C8B-B14F-4D97-AF65-F5344CB8AC3E}">
        <p14:creationId xmlns:p14="http://schemas.microsoft.com/office/powerpoint/2010/main" val="3422566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Slide">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2"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10801" y="6371286"/>
            <a:ext cx="713675" cy="286690"/>
          </a:xfrm>
          <a:prstGeom prst="rect">
            <a:avLst/>
          </a:prstGeom>
        </p:spPr>
      </p:pic>
    </p:spTree>
    <p:extLst>
      <p:ext uri="{BB962C8B-B14F-4D97-AF65-F5344CB8AC3E}">
        <p14:creationId xmlns:p14="http://schemas.microsoft.com/office/powerpoint/2010/main" val="6409092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_Bullet Slide">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2"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sp>
        <p:nvSpPr>
          <p:cNvPr id="8" name="Text Placeholder 8"/>
          <p:cNvSpPr>
            <a:spLocks noGrp="1"/>
          </p:cNvSpPr>
          <p:nvPr>
            <p:ph type="body" sz="quarter" idx="15" hasCustomPrompt="1"/>
          </p:nvPr>
        </p:nvSpPr>
        <p:spPr>
          <a:xfrm>
            <a:off x="237393" y="1222023"/>
            <a:ext cx="11717542" cy="621828"/>
          </a:xfrm>
          <a:prstGeom prst="rect">
            <a:avLst/>
          </a:prstGeom>
        </p:spPr>
        <p:txBody>
          <a:bodyPr vert="horz" lIns="162547" tIns="81273" rIns="162547" bIns="81273"/>
          <a:lstStyle>
            <a:lvl1pPr marL="0" marR="0" indent="0" algn="l" defTabSz="609473"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10" name="Text Placeholder 8"/>
          <p:cNvSpPr>
            <a:spLocks noGrp="1"/>
          </p:cNvSpPr>
          <p:nvPr>
            <p:ph type="body" sz="quarter" idx="16" hasCustomPrompt="1"/>
          </p:nvPr>
        </p:nvSpPr>
        <p:spPr>
          <a:xfrm>
            <a:off x="237393" y="1843855"/>
            <a:ext cx="11717542" cy="1066175"/>
          </a:xfrm>
          <a:prstGeom prst="rect">
            <a:avLst/>
          </a:prstGeom>
        </p:spPr>
        <p:txBody>
          <a:bodyPr vert="horz" lIns="162547" tIns="81273" rIns="162547" bIns="81273"/>
          <a:lstStyle>
            <a:lvl1pPr marL="0" marR="0" indent="0" algn="l" defTabSz="609473" rtl="0" eaLnBrk="1" fontAlgn="auto" latinLnBrk="0" hangingPunct="1">
              <a:lnSpc>
                <a:spcPct val="100000"/>
              </a:lnSpc>
              <a:spcBef>
                <a:spcPct val="20000"/>
              </a:spcBef>
              <a:spcAft>
                <a:spcPts val="0"/>
              </a:spcAft>
              <a:buClrTx/>
              <a:buSzTx/>
              <a:buFont typeface="Arial"/>
              <a:buNone/>
              <a:tabLst/>
              <a:defRPr sz="1875" b="1">
                <a:solidFill>
                  <a:srgbClr val="787878"/>
                </a:solidFill>
                <a:latin typeface="+mn-lt"/>
              </a:defRPr>
            </a:lvl1pPr>
            <a:lvl2pPr>
              <a:defRPr sz="2175"/>
            </a:lvl2pPr>
            <a:lvl3pPr>
              <a:defRPr sz="1875"/>
            </a:lvl3pPr>
            <a:lvl4pPr>
              <a:defRPr sz="1575"/>
            </a:lvl4pPr>
            <a:lvl5pPr>
              <a:defRPr sz="1575"/>
            </a:lvl5pPr>
          </a:lstStyle>
          <a:p>
            <a:pPr lvl="0"/>
            <a:r>
              <a:rPr lang="en-US" dirty="0"/>
              <a:t>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ecima</a:t>
            </a:r>
            <a:r>
              <a:rPr lang="en-US" dirty="0"/>
              <a:t> </a:t>
            </a:r>
            <a:r>
              <a:rPr lang="en-US" dirty="0" err="1"/>
              <a:t>eodem</a:t>
            </a:r>
            <a:r>
              <a:rPr lang="en-US" dirty="0"/>
              <a:t> </a:t>
            </a:r>
            <a:r>
              <a:rPr lang="en-US" dirty="0" err="1"/>
              <a:t>modo</a:t>
            </a:r>
            <a:r>
              <a:rPr lang="en-US" dirty="0"/>
              <a:t> </a:t>
            </a:r>
            <a:r>
              <a:rPr lang="en-US" dirty="0" err="1"/>
              <a:t>typi</a:t>
            </a:r>
            <a:r>
              <a:rPr lang="en-US" dirty="0"/>
              <a:t>, qui </a:t>
            </a:r>
            <a:r>
              <a:rPr lang="en-US" dirty="0" err="1"/>
              <a:t>nunc</a:t>
            </a:r>
            <a:r>
              <a:rPr lang="en-US" dirty="0"/>
              <a:t> </a:t>
            </a:r>
            <a:r>
              <a:rPr lang="en-US" dirty="0" err="1"/>
              <a:t>nobis</a:t>
            </a:r>
            <a:r>
              <a:rPr lang="en-US" dirty="0"/>
              <a:t> </a:t>
            </a:r>
            <a:r>
              <a:rPr lang="en-US" dirty="0" err="1"/>
              <a:t>videntu</a:t>
            </a:r>
            <a:r>
              <a:rPr lang="en-US" dirty="0"/>
              <a:t> </a:t>
            </a:r>
            <a:r>
              <a:rPr lang="en-US" dirty="0" err="1"/>
              <a:t>parum</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a:t>
            </a:r>
          </a:p>
        </p:txBody>
      </p:sp>
      <p:sp>
        <p:nvSpPr>
          <p:cNvPr id="12" name="Text Placeholder 11"/>
          <p:cNvSpPr>
            <a:spLocks noGrp="1"/>
          </p:cNvSpPr>
          <p:nvPr>
            <p:ph type="body" sz="quarter" idx="17" hasCustomPrompt="1"/>
          </p:nvPr>
        </p:nvSpPr>
        <p:spPr>
          <a:xfrm>
            <a:off x="237069" y="3104447"/>
            <a:ext cx="8173156" cy="3116440"/>
          </a:xfrm>
          <a:prstGeom prst="rect">
            <a:avLst/>
          </a:prstGeom>
        </p:spPr>
        <p:txBody>
          <a:bodyPr vert="horz" lIns="162547" tIns="81273" rIns="162547" bIns="81273"/>
          <a:lstStyle>
            <a:lvl1pPr marL="341305" indent="-341305">
              <a:spcAft>
                <a:spcPts val="800"/>
              </a:spcAft>
              <a:buSzPct val="90000"/>
              <a:buFontTx/>
              <a:buBlip>
                <a:blip r:embed="rId4"/>
              </a:buBlip>
              <a:defRPr sz="1875">
                <a:solidFill>
                  <a:srgbClr val="787878"/>
                </a:solidFill>
                <a:latin typeface="+mn-lt"/>
              </a:defRPr>
            </a:lvl1pPr>
            <a:lvl2pPr marL="792314" indent="-377873">
              <a:spcAft>
                <a:spcPts val="800"/>
              </a:spcAft>
              <a:defRPr sz="15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pic>
        <p:nvPicPr>
          <p:cNvPr id="11" name="Picture 1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10801" y="6371286"/>
            <a:ext cx="713675" cy="286690"/>
          </a:xfrm>
          <a:prstGeom prst="rect">
            <a:avLst/>
          </a:prstGeom>
        </p:spPr>
      </p:pic>
    </p:spTree>
    <p:extLst>
      <p:ext uri="{BB962C8B-B14F-4D97-AF65-F5344CB8AC3E}">
        <p14:creationId xmlns:p14="http://schemas.microsoft.com/office/powerpoint/2010/main" val="3196888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ullet Slide and Content White">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7" name="Text Placeholder 11"/>
          <p:cNvSpPr>
            <a:spLocks noGrp="1"/>
          </p:cNvSpPr>
          <p:nvPr>
            <p:ph type="body" sz="quarter" idx="17" hasCustomPrompt="1"/>
          </p:nvPr>
        </p:nvSpPr>
        <p:spPr>
          <a:xfrm>
            <a:off x="237070" y="1961447"/>
            <a:ext cx="5463823" cy="4058356"/>
          </a:xfrm>
          <a:prstGeom prst="rect">
            <a:avLst/>
          </a:prstGeom>
        </p:spPr>
        <p:txBody>
          <a:bodyPr vert="horz" lIns="162547" tIns="81273" rIns="162547" bIns="81273"/>
          <a:lstStyle>
            <a:lvl1pPr marL="341305" indent="-341305">
              <a:spcAft>
                <a:spcPts val="800"/>
              </a:spcAft>
              <a:buSzPct val="90000"/>
              <a:buFontTx/>
              <a:buBlip>
                <a:blip r:embed="rId4"/>
              </a:buBlip>
              <a:defRPr sz="1875">
                <a:solidFill>
                  <a:srgbClr val="787878"/>
                </a:solidFill>
                <a:latin typeface="+mn-lt"/>
              </a:defRPr>
            </a:lvl1pPr>
            <a:lvl2pPr marL="792314" indent="-377873">
              <a:spcAft>
                <a:spcPts val="800"/>
              </a:spcAft>
              <a:defRPr sz="15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8" name="Text Placeholder 8"/>
          <p:cNvSpPr>
            <a:spLocks noGrp="1"/>
          </p:cNvSpPr>
          <p:nvPr>
            <p:ph type="body" sz="quarter" idx="18" hasCustomPrompt="1"/>
          </p:nvPr>
        </p:nvSpPr>
        <p:spPr>
          <a:xfrm>
            <a:off x="237396" y="1222023"/>
            <a:ext cx="5463497"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16" name="Title 10"/>
          <p:cNvSpPr>
            <a:spLocks noGrp="1"/>
          </p:cNvSpPr>
          <p:nvPr>
            <p:ph type="title" hasCustomPrompt="1"/>
          </p:nvPr>
        </p:nvSpPr>
        <p:spPr>
          <a:xfrm>
            <a:off x="237392"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sp>
        <p:nvSpPr>
          <p:cNvPr id="4" name="Content Placeholder 3"/>
          <p:cNvSpPr>
            <a:spLocks noGrp="1"/>
          </p:cNvSpPr>
          <p:nvPr>
            <p:ph sz="quarter" idx="19" hasCustomPrompt="1"/>
          </p:nvPr>
        </p:nvSpPr>
        <p:spPr>
          <a:xfrm>
            <a:off x="6087315" y="1222025"/>
            <a:ext cx="5856112" cy="4798219"/>
          </a:xfrm>
          <a:prstGeom prst="rect">
            <a:avLst/>
          </a:prstGeom>
        </p:spPr>
        <p:txBody>
          <a:bodyPr vert="horz"/>
          <a:lstStyle>
            <a:lvl1pPr marL="0" indent="0">
              <a:buNone/>
              <a:defRPr baseline="0">
                <a:latin typeface="+mn-lt"/>
              </a:defRPr>
            </a:lvl1pPr>
          </a:lstStyle>
          <a:p>
            <a:pPr lvl="0"/>
            <a:r>
              <a:rPr lang="en-US" dirty="0"/>
              <a:t>Click to add content</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10801" y="6371286"/>
            <a:ext cx="713675" cy="286690"/>
          </a:xfrm>
          <a:prstGeom prst="rect">
            <a:avLst/>
          </a:prstGeom>
        </p:spPr>
      </p:pic>
    </p:spTree>
    <p:extLst>
      <p:ext uri="{BB962C8B-B14F-4D97-AF65-F5344CB8AC3E}">
        <p14:creationId xmlns:p14="http://schemas.microsoft.com/office/powerpoint/2010/main" val="3752064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 Collunm Bullet">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11" name="Text Placeholder 11"/>
          <p:cNvSpPr>
            <a:spLocks noGrp="1"/>
          </p:cNvSpPr>
          <p:nvPr>
            <p:ph type="body" sz="quarter" idx="17" hasCustomPrompt="1"/>
          </p:nvPr>
        </p:nvSpPr>
        <p:spPr>
          <a:xfrm>
            <a:off x="237068" y="1961447"/>
            <a:ext cx="2737217" cy="4058356"/>
          </a:xfrm>
          <a:prstGeom prst="rect">
            <a:avLst/>
          </a:prstGeom>
        </p:spPr>
        <p:txBody>
          <a:bodyPr vert="horz" lIns="162547" tIns="81273" rIns="162547" bIns="81273"/>
          <a:lstStyle>
            <a:lvl1pPr marL="341305" indent="-341305">
              <a:spcAft>
                <a:spcPts val="800"/>
              </a:spcAft>
              <a:buSzPct val="90000"/>
              <a:buFontTx/>
              <a:buBlip>
                <a:blip r:embed="rId4"/>
              </a:buBlip>
              <a:defRPr sz="1575">
                <a:solidFill>
                  <a:srgbClr val="787878"/>
                </a:solidFill>
                <a:latin typeface="+mn-lt"/>
              </a:defRPr>
            </a:lvl1pPr>
            <a:lvl2pPr marL="792314" indent="-377873">
              <a:spcAft>
                <a:spcPts val="800"/>
              </a:spcAft>
              <a:defRPr sz="12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12" name="Text Placeholder 8"/>
          <p:cNvSpPr>
            <a:spLocks noGrp="1"/>
          </p:cNvSpPr>
          <p:nvPr>
            <p:ph type="body" sz="quarter" idx="18" hasCustomPrompt="1"/>
          </p:nvPr>
        </p:nvSpPr>
        <p:spPr>
          <a:xfrm>
            <a:off x="237395" y="1222023"/>
            <a:ext cx="273705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18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16" name="Title 10"/>
          <p:cNvSpPr>
            <a:spLocks noGrp="1"/>
          </p:cNvSpPr>
          <p:nvPr>
            <p:ph type="title" hasCustomPrompt="1"/>
          </p:nvPr>
        </p:nvSpPr>
        <p:spPr>
          <a:xfrm>
            <a:off x="237392"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sp>
        <p:nvSpPr>
          <p:cNvPr id="13" name="Text Placeholder 11"/>
          <p:cNvSpPr>
            <a:spLocks noGrp="1"/>
          </p:cNvSpPr>
          <p:nvPr>
            <p:ph type="body" sz="quarter" idx="19" hasCustomPrompt="1"/>
          </p:nvPr>
        </p:nvSpPr>
        <p:spPr>
          <a:xfrm>
            <a:off x="3226004" y="1961447"/>
            <a:ext cx="2737217" cy="4058356"/>
          </a:xfrm>
          <a:prstGeom prst="rect">
            <a:avLst/>
          </a:prstGeom>
        </p:spPr>
        <p:txBody>
          <a:bodyPr vert="horz" lIns="162547" tIns="81273" rIns="162547" bIns="81273"/>
          <a:lstStyle>
            <a:lvl1pPr marL="341305" indent="-341305">
              <a:spcAft>
                <a:spcPts val="800"/>
              </a:spcAft>
              <a:buSzPct val="90000"/>
              <a:buFontTx/>
              <a:buBlip>
                <a:blip r:embed="rId4"/>
              </a:buBlip>
              <a:defRPr sz="1575">
                <a:solidFill>
                  <a:srgbClr val="787878"/>
                </a:solidFill>
                <a:latin typeface="+mn-lt"/>
              </a:defRPr>
            </a:lvl1pPr>
            <a:lvl2pPr marL="792314" indent="-377873">
              <a:spcAft>
                <a:spcPts val="800"/>
              </a:spcAft>
              <a:defRPr sz="12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14" name="Text Placeholder 8"/>
          <p:cNvSpPr>
            <a:spLocks noGrp="1"/>
          </p:cNvSpPr>
          <p:nvPr>
            <p:ph type="body" sz="quarter" idx="20" hasCustomPrompt="1"/>
          </p:nvPr>
        </p:nvSpPr>
        <p:spPr>
          <a:xfrm>
            <a:off x="3226329" y="1222023"/>
            <a:ext cx="273705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18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20" name="Text Placeholder 11"/>
          <p:cNvSpPr>
            <a:spLocks noGrp="1"/>
          </p:cNvSpPr>
          <p:nvPr>
            <p:ph type="body" sz="quarter" idx="21" hasCustomPrompt="1"/>
          </p:nvPr>
        </p:nvSpPr>
        <p:spPr>
          <a:xfrm>
            <a:off x="6229593" y="1961447"/>
            <a:ext cx="2737217" cy="4058356"/>
          </a:xfrm>
          <a:prstGeom prst="rect">
            <a:avLst/>
          </a:prstGeom>
        </p:spPr>
        <p:txBody>
          <a:bodyPr vert="horz" lIns="162547" tIns="81273" rIns="162547" bIns="81273"/>
          <a:lstStyle>
            <a:lvl1pPr marL="341305" indent="-341305">
              <a:spcAft>
                <a:spcPts val="800"/>
              </a:spcAft>
              <a:buSzPct val="90000"/>
              <a:buFontTx/>
              <a:buBlip>
                <a:blip r:embed="rId4"/>
              </a:buBlip>
              <a:defRPr sz="1575">
                <a:solidFill>
                  <a:srgbClr val="787878"/>
                </a:solidFill>
                <a:latin typeface="+mn-lt"/>
              </a:defRPr>
            </a:lvl1pPr>
            <a:lvl2pPr marL="792314" indent="-377873">
              <a:spcAft>
                <a:spcPts val="800"/>
              </a:spcAft>
              <a:defRPr sz="12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21" name="Text Placeholder 8"/>
          <p:cNvSpPr>
            <a:spLocks noGrp="1"/>
          </p:cNvSpPr>
          <p:nvPr>
            <p:ph type="body" sz="quarter" idx="22" hasCustomPrompt="1"/>
          </p:nvPr>
        </p:nvSpPr>
        <p:spPr>
          <a:xfrm>
            <a:off x="6229919" y="1222023"/>
            <a:ext cx="273705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18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22" name="Text Placeholder 11"/>
          <p:cNvSpPr>
            <a:spLocks noGrp="1"/>
          </p:cNvSpPr>
          <p:nvPr>
            <p:ph type="body" sz="quarter" idx="23" hasCustomPrompt="1"/>
          </p:nvPr>
        </p:nvSpPr>
        <p:spPr>
          <a:xfrm>
            <a:off x="9218528" y="1961447"/>
            <a:ext cx="2737217" cy="4058356"/>
          </a:xfrm>
          <a:prstGeom prst="rect">
            <a:avLst/>
          </a:prstGeom>
        </p:spPr>
        <p:txBody>
          <a:bodyPr vert="horz" lIns="162547" tIns="81273" rIns="162547" bIns="81273"/>
          <a:lstStyle>
            <a:lvl1pPr marL="341305" indent="-341305">
              <a:spcAft>
                <a:spcPts val="800"/>
              </a:spcAft>
              <a:buSzPct val="90000"/>
              <a:buFontTx/>
              <a:buBlip>
                <a:blip r:embed="rId4"/>
              </a:buBlip>
              <a:defRPr sz="1575">
                <a:solidFill>
                  <a:srgbClr val="787878"/>
                </a:solidFill>
                <a:latin typeface="+mn-lt"/>
              </a:defRPr>
            </a:lvl1pPr>
            <a:lvl2pPr marL="792314" indent="-377873">
              <a:spcAft>
                <a:spcPts val="800"/>
              </a:spcAft>
              <a:defRPr sz="12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23" name="Text Placeholder 8"/>
          <p:cNvSpPr>
            <a:spLocks noGrp="1"/>
          </p:cNvSpPr>
          <p:nvPr>
            <p:ph type="body" sz="quarter" idx="24" hasCustomPrompt="1"/>
          </p:nvPr>
        </p:nvSpPr>
        <p:spPr>
          <a:xfrm>
            <a:off x="9218853" y="1222023"/>
            <a:ext cx="273705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18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pic>
        <p:nvPicPr>
          <p:cNvPr id="17" name="Picture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10801" y="6371286"/>
            <a:ext cx="713675" cy="286690"/>
          </a:xfrm>
          <a:prstGeom prst="rect">
            <a:avLst/>
          </a:prstGeom>
        </p:spPr>
      </p:pic>
    </p:spTree>
    <p:extLst>
      <p:ext uri="{BB962C8B-B14F-4D97-AF65-F5344CB8AC3E}">
        <p14:creationId xmlns:p14="http://schemas.microsoft.com/office/powerpoint/2010/main" val="442523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 Collunm Bullet">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11" name="Text Placeholder 11"/>
          <p:cNvSpPr>
            <a:spLocks noGrp="1"/>
          </p:cNvSpPr>
          <p:nvPr>
            <p:ph type="body" sz="quarter" idx="17" hasCustomPrompt="1"/>
          </p:nvPr>
        </p:nvSpPr>
        <p:spPr>
          <a:xfrm>
            <a:off x="237068" y="1961447"/>
            <a:ext cx="3762831" cy="4058356"/>
          </a:xfrm>
          <a:prstGeom prst="rect">
            <a:avLst/>
          </a:prstGeom>
        </p:spPr>
        <p:txBody>
          <a:bodyPr vert="horz" lIns="162547" tIns="81273" rIns="162547" bIns="81273"/>
          <a:lstStyle>
            <a:lvl1pPr marL="341305" indent="-341305">
              <a:spcAft>
                <a:spcPts val="800"/>
              </a:spcAft>
              <a:buSzPct val="90000"/>
              <a:buFontTx/>
              <a:buBlip>
                <a:blip r:embed="rId4"/>
              </a:buBlip>
              <a:defRPr sz="1800">
                <a:solidFill>
                  <a:srgbClr val="787878"/>
                </a:solidFill>
                <a:latin typeface="+mn-lt"/>
              </a:defRPr>
            </a:lvl1pPr>
            <a:lvl2pPr marL="792314" indent="-377873">
              <a:spcAft>
                <a:spcPts val="800"/>
              </a:spcAft>
              <a:defRPr sz="15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12" name="Text Placeholder 8"/>
          <p:cNvSpPr>
            <a:spLocks noGrp="1"/>
          </p:cNvSpPr>
          <p:nvPr>
            <p:ph type="body" sz="quarter" idx="18" hasCustomPrompt="1"/>
          </p:nvPr>
        </p:nvSpPr>
        <p:spPr>
          <a:xfrm>
            <a:off x="237428" y="1222023"/>
            <a:ext cx="376260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16" name="Title 10"/>
          <p:cNvSpPr>
            <a:spLocks noGrp="1"/>
          </p:cNvSpPr>
          <p:nvPr>
            <p:ph type="title" hasCustomPrompt="1"/>
          </p:nvPr>
        </p:nvSpPr>
        <p:spPr>
          <a:xfrm>
            <a:off x="237392"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sp>
        <p:nvSpPr>
          <p:cNvPr id="13" name="Text Placeholder 11"/>
          <p:cNvSpPr>
            <a:spLocks noGrp="1"/>
          </p:cNvSpPr>
          <p:nvPr>
            <p:ph type="body" sz="quarter" idx="19" hasCustomPrompt="1"/>
          </p:nvPr>
        </p:nvSpPr>
        <p:spPr>
          <a:xfrm>
            <a:off x="4222316" y="1961447"/>
            <a:ext cx="3762831" cy="4058356"/>
          </a:xfrm>
          <a:prstGeom prst="rect">
            <a:avLst/>
          </a:prstGeom>
        </p:spPr>
        <p:txBody>
          <a:bodyPr vert="horz" lIns="162547" tIns="81273" rIns="162547" bIns="81273"/>
          <a:lstStyle>
            <a:lvl1pPr marL="341305" indent="-341305">
              <a:spcAft>
                <a:spcPts val="800"/>
              </a:spcAft>
              <a:buSzPct val="90000"/>
              <a:buFontTx/>
              <a:buBlip>
                <a:blip r:embed="rId4"/>
              </a:buBlip>
              <a:defRPr sz="1800">
                <a:solidFill>
                  <a:srgbClr val="787878"/>
                </a:solidFill>
                <a:latin typeface="+mn-lt"/>
              </a:defRPr>
            </a:lvl1pPr>
            <a:lvl2pPr marL="792314" indent="-377873">
              <a:spcAft>
                <a:spcPts val="800"/>
              </a:spcAft>
              <a:defRPr sz="15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14" name="Text Placeholder 8"/>
          <p:cNvSpPr>
            <a:spLocks noGrp="1"/>
          </p:cNvSpPr>
          <p:nvPr>
            <p:ph type="body" sz="quarter" idx="20" hasCustomPrompt="1"/>
          </p:nvPr>
        </p:nvSpPr>
        <p:spPr>
          <a:xfrm>
            <a:off x="4222673" y="1222023"/>
            <a:ext cx="376260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20" name="Text Placeholder 11"/>
          <p:cNvSpPr>
            <a:spLocks noGrp="1"/>
          </p:cNvSpPr>
          <p:nvPr>
            <p:ph type="body" sz="quarter" idx="21" hasCustomPrompt="1"/>
          </p:nvPr>
        </p:nvSpPr>
        <p:spPr>
          <a:xfrm>
            <a:off x="8192912" y="1961447"/>
            <a:ext cx="3762831" cy="4058356"/>
          </a:xfrm>
          <a:prstGeom prst="rect">
            <a:avLst/>
          </a:prstGeom>
        </p:spPr>
        <p:txBody>
          <a:bodyPr vert="horz" lIns="162547" tIns="81273" rIns="162547" bIns="81273"/>
          <a:lstStyle>
            <a:lvl1pPr marL="341305" indent="-341305">
              <a:spcAft>
                <a:spcPts val="800"/>
              </a:spcAft>
              <a:buSzPct val="90000"/>
              <a:buFontTx/>
              <a:buBlip>
                <a:blip r:embed="rId4"/>
              </a:buBlip>
              <a:defRPr sz="1800">
                <a:solidFill>
                  <a:srgbClr val="787878"/>
                </a:solidFill>
                <a:latin typeface="+mn-lt"/>
              </a:defRPr>
            </a:lvl1pPr>
            <a:lvl2pPr marL="792314" indent="-377873">
              <a:spcAft>
                <a:spcPts val="800"/>
              </a:spcAft>
              <a:defRPr sz="15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sp>
        <p:nvSpPr>
          <p:cNvPr id="21" name="Text Placeholder 8"/>
          <p:cNvSpPr>
            <a:spLocks noGrp="1"/>
          </p:cNvSpPr>
          <p:nvPr>
            <p:ph type="body" sz="quarter" idx="22" hasCustomPrompt="1"/>
          </p:nvPr>
        </p:nvSpPr>
        <p:spPr>
          <a:xfrm>
            <a:off x="8193270" y="1222023"/>
            <a:ext cx="3762605" cy="621828"/>
          </a:xfrm>
          <a:prstGeom prst="rect">
            <a:avLst/>
          </a:prstGeom>
        </p:spPr>
        <p:txBody>
          <a:bodyPr vert="horz" lIns="162547" tIns="81273" rIns="162547" bIns="81273" anchor="ctr"/>
          <a:lstStyle>
            <a:lvl1pPr marL="0" marR="0" indent="0" algn="l" defTabSz="609473"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pic>
        <p:nvPicPr>
          <p:cNvPr id="17" name="Picture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10801" y="6371286"/>
            <a:ext cx="713675" cy="286690"/>
          </a:xfrm>
          <a:prstGeom prst="rect">
            <a:avLst/>
          </a:prstGeom>
        </p:spPr>
      </p:pic>
    </p:spTree>
    <p:extLst>
      <p:ext uri="{BB962C8B-B14F-4D97-AF65-F5344CB8AC3E}">
        <p14:creationId xmlns:p14="http://schemas.microsoft.com/office/powerpoint/2010/main" val="36247432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6"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0" y="1535136"/>
            <a:ext cx="5344163" cy="2037940"/>
          </a:xfrm>
        </p:spPr>
        <p:txBody>
          <a:bodyPr/>
          <a:lstStyle>
            <a:lvl1pPr>
              <a:defRPr sz="4500">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0" y="1011117"/>
            <a:ext cx="5846885" cy="5846884"/>
          </a:xfrm>
          <a:prstGeom prst="rect">
            <a:avLst/>
          </a:prstGeom>
        </p:spPr>
      </p:pic>
    </p:spTree>
    <p:extLst>
      <p:ext uri="{BB962C8B-B14F-4D97-AF65-F5344CB8AC3E}">
        <p14:creationId xmlns:p14="http://schemas.microsoft.com/office/powerpoint/2010/main" val="2588679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Divider - Yellow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751B44C2-E17A-B444-8E08-86FF5CCF3E8B}"/>
              </a:ext>
            </a:extLst>
          </p:cNvPr>
          <p:cNvPicPr>
            <a:picLocks noChangeAspect="1"/>
          </p:cNvPicPr>
          <p:nvPr/>
        </p:nvPicPr>
        <p:blipFill rotWithShape="1">
          <a:blip r:embed="rId2" cstate="email">
            <a:duotone>
              <a:prstClr val="black"/>
              <a:schemeClr val="accent3">
                <a:tint val="45000"/>
                <a:satMod val="400000"/>
              </a:schemeClr>
            </a:duotone>
            <a:lum bright="-20000" contrast="40000"/>
            <a:extLst>
              <a:ext uri="{28A0092B-C50C-407E-A947-70E740481C1C}">
                <a14:useLocalDpi xmlns:a14="http://schemas.microsoft.com/office/drawing/2010/main"/>
              </a:ext>
            </a:extLst>
          </a:blip>
          <a:srcRect l="29809" t="44849" r="-383" b="25155"/>
          <a:stretch/>
        </p:blipFill>
        <p:spPr bwMode="black">
          <a:xfrm>
            <a:off x="1" y="0"/>
            <a:ext cx="4445459" cy="6858000"/>
          </a:xfrm>
          <a:prstGeom prst="rect">
            <a:avLst/>
          </a:prstGeom>
        </p:spPr>
      </p:pic>
      <p:sp>
        <p:nvSpPr>
          <p:cNvPr id="3" name="Title 2">
            <a:extLst>
              <a:ext uri="{FF2B5EF4-FFF2-40B4-BE49-F238E27FC236}">
                <a16:creationId xmlns:a16="http://schemas.microsoft.com/office/drawing/2014/main" id="{4ABFEB5A-5B0E-426B-93EC-629646B3452A}"/>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2679139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ivider Slid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390" y="2935114"/>
            <a:ext cx="11748684" cy="865483"/>
          </a:xfrm>
          <a:effectLst/>
        </p:spPr>
        <p:txBody>
          <a:bodyPr>
            <a:normAutofit/>
          </a:bodyPr>
          <a:lstStyle>
            <a:lvl1pPr>
              <a:defRPr sz="3450">
                <a:latin typeface="+mj-lt"/>
              </a:defRPr>
            </a:lvl1pPr>
          </a:lstStyle>
          <a:p>
            <a:r>
              <a:rPr lang="en-US" dirty="0"/>
              <a:t>Subject Divider</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10801" y="6371286"/>
            <a:ext cx="713675" cy="286690"/>
          </a:xfrm>
          <a:prstGeom prst="rect">
            <a:avLst/>
          </a:prstGeom>
        </p:spPr>
      </p:pic>
    </p:spTree>
    <p:extLst>
      <p:ext uri="{BB962C8B-B14F-4D97-AF65-F5344CB8AC3E}">
        <p14:creationId xmlns:p14="http://schemas.microsoft.com/office/powerpoint/2010/main" val="352937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ign Off">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390" y="5062088"/>
            <a:ext cx="11748684" cy="865483"/>
          </a:xfrm>
          <a:effectLst/>
        </p:spPr>
        <p:txBody>
          <a:bodyPr>
            <a:normAutofit/>
          </a:bodyPr>
          <a:lstStyle>
            <a:lvl1pPr algn="ctr">
              <a:defRPr sz="3450" b="1" baseline="0">
                <a:solidFill>
                  <a:schemeClr val="tx1"/>
                </a:solidFill>
                <a:latin typeface="+mj-lt"/>
              </a:defRPr>
            </a:lvl1pPr>
          </a:lstStyle>
          <a:p>
            <a:r>
              <a:rPr lang="en-US" dirty="0"/>
              <a:t>Sign-Off Text</a:t>
            </a:r>
          </a:p>
        </p:txBody>
      </p:sp>
    </p:spTree>
    <p:extLst>
      <p:ext uri="{BB962C8B-B14F-4D97-AF65-F5344CB8AC3E}">
        <p14:creationId xmlns:p14="http://schemas.microsoft.com/office/powerpoint/2010/main" val="440216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94" y="1589"/>
          <a:ext cx="1591" cy="1587"/>
        </p:xfrm>
        <a:graphic>
          <a:graphicData uri="http://schemas.openxmlformats.org/presentationml/2006/ole">
            <mc:AlternateContent xmlns:mc="http://schemas.openxmlformats.org/markup-compatibility/2006">
              <mc:Choice xmlns:v="urn:schemas-microsoft-com:vml" Requires="v">
                <p:oleObj spid="_x0000_s3076" name="think-cell Slide" r:id="rId5" imgW="270" imgH="270" progId="TCLayout.ActiveDocument.1">
                  <p:embed/>
                </p:oleObj>
              </mc:Choice>
              <mc:Fallback>
                <p:oleObj name="think-cell Slide" r:id="rId5" imgW="270" imgH="270" progId="TCLayout.ActiveDocument.1">
                  <p:embed/>
                  <p:pic>
                    <p:nvPicPr>
                      <p:cNvPr id="4" name="Objekt 3" hidden="1"/>
                      <p:cNvPicPr/>
                      <p:nvPr/>
                    </p:nvPicPr>
                    <p:blipFill>
                      <a:blip r:embed="rId6"/>
                      <a:stretch>
                        <a:fillRect/>
                      </a:stretch>
                    </p:blipFill>
                    <p:spPr>
                      <a:xfrm>
                        <a:off x="1594" y="1589"/>
                        <a:ext cx="1591" cy="1587"/>
                      </a:xfrm>
                      <a:prstGeom prst="rect">
                        <a:avLst/>
                      </a:prstGeom>
                    </p:spPr>
                  </p:pic>
                </p:oleObj>
              </mc:Fallback>
            </mc:AlternateContent>
          </a:graphicData>
        </a:graphic>
      </p:graphicFrame>
      <p:pic>
        <p:nvPicPr>
          <p:cNvPr id="3" name="Picture 4" descr="BACKGROUND_divider 01 copy copy.jpg"/>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gray">
          <a:xfrm>
            <a:off x="0" y="5"/>
            <a:ext cx="12192000" cy="1096703"/>
          </a:xfrm>
          <a:prstGeom prst="rect">
            <a:avLst/>
          </a:prstGeom>
        </p:spPr>
      </p:pic>
      <p:sp>
        <p:nvSpPr>
          <p:cNvPr id="2" name="Titel 1"/>
          <p:cNvSpPr>
            <a:spLocks noGrp="1"/>
          </p:cNvSpPr>
          <p:nvPr>
            <p:ph type="title" hasCustomPrompt="1"/>
          </p:nvPr>
        </p:nvSpPr>
        <p:spPr/>
        <p:txBody>
          <a:bodyPr/>
          <a:lstStyle/>
          <a:p>
            <a:r>
              <a:rPr lang="en-US" dirty="0"/>
              <a:t>Click to add your slide title</a:t>
            </a:r>
          </a:p>
        </p:txBody>
      </p:sp>
      <p:pic>
        <p:nvPicPr>
          <p:cNvPr id="5" name="Picture 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bwMode="gray">
          <a:xfrm>
            <a:off x="11195573" y="6350429"/>
            <a:ext cx="756160" cy="380329"/>
          </a:xfrm>
          <a:prstGeom prst="rect">
            <a:avLst/>
          </a:prstGeom>
        </p:spPr>
      </p:pic>
      <p:sp>
        <p:nvSpPr>
          <p:cNvPr id="6" name="masterStatus"/>
          <p:cNvSpPr/>
          <p:nvPr userDrawn="1">
            <p:custDataLst>
              <p:tags r:id="rId3"/>
            </p:custDataLst>
          </p:nvPr>
        </p:nvSpPr>
        <p:spPr bwMode="gray">
          <a:xfrm>
            <a:off x="10465722" y="-14172"/>
            <a:ext cx="1477392" cy="215444"/>
          </a:xfrm>
          <a:custGeom>
            <a:avLst/>
            <a:gdLst>
              <a:gd name="connsiteX0" fmla="*/ 0 w 847725"/>
              <a:gd name="connsiteY0" fmla="*/ 0 h 409575"/>
              <a:gd name="connsiteX1" fmla="*/ 847725 w 847725"/>
              <a:gd name="connsiteY1" fmla="*/ 0 h 409575"/>
              <a:gd name="connsiteX2" fmla="*/ 847725 w 847725"/>
              <a:gd name="connsiteY2" fmla="*/ 409575 h 409575"/>
              <a:gd name="connsiteX3" fmla="*/ 0 w 847725"/>
              <a:gd name="connsiteY3" fmla="*/ 409575 h 409575"/>
              <a:gd name="connsiteX4" fmla="*/ 0 w 847725"/>
              <a:gd name="connsiteY4" fmla="*/ 0 h 4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25" h="409575">
                <a:moveTo>
                  <a:pt x="0" y="0"/>
                </a:moveTo>
                <a:lnTo>
                  <a:pt x="847725" y="0"/>
                </a:lnTo>
                <a:lnTo>
                  <a:pt x="847725" y="409575"/>
                </a:lnTo>
                <a:lnTo>
                  <a:pt x="0" y="409575"/>
                </a:lnTo>
                <a:lnTo>
                  <a:pt x="0" y="0"/>
                </a:lnTo>
                <a:close/>
              </a:path>
            </a:pathLst>
          </a:custGeom>
          <a:noFill/>
          <a:extLst>
            <a:ext uri="{909E8E84-426E-40DD-AFC4-6F175D3DCCD1}">
              <a14:hiddenFill xmlns:a14="http://schemas.microsoft.com/office/drawing/2010/main">
                <a:solidFill>
                  <a:srgbClr val="091A24"/>
                </a:solidFill>
              </a14:hiddenFill>
            </a:ext>
          </a:extLst>
        </p:spPr>
        <p:txBody>
          <a:bodyPr vert="horz" wrap="none" lIns="0" tIns="0" rIns="0" bIns="0" anchor="ctr" anchorCtr="0">
            <a:spAutoFit/>
          </a:bodyPr>
          <a:lstStyle/>
          <a:p>
            <a:pPr algn="r" defTabSz="609382">
              <a:spcBef>
                <a:spcPct val="20000"/>
              </a:spcBef>
              <a:buFont typeface="Arial"/>
              <a:buNone/>
            </a:pPr>
            <a:r>
              <a:rPr lang="en-US" sz="1400">
                <a:solidFill>
                  <a:srgbClr val="FFFFFF"/>
                </a:solidFill>
              </a:rPr>
              <a:t>WORK IN PROGRESS</a:t>
            </a:r>
            <a:endParaRPr lang="en-US" sz="1400" dirty="0">
              <a:solidFill>
                <a:srgbClr val="FFFFFF"/>
              </a:solidFill>
            </a:endParaRPr>
          </a:p>
        </p:txBody>
      </p:sp>
    </p:spTree>
    <p:extLst>
      <p:ext uri="{BB962C8B-B14F-4D97-AF65-F5344CB8AC3E}">
        <p14:creationId xmlns:p14="http://schemas.microsoft.com/office/powerpoint/2010/main" val="949091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Blank White Slide">
    <p:bg>
      <p:bgPr>
        <a:solidFill>
          <a:schemeClr val="bg2"/>
        </a:solidFill>
        <a:effectLst/>
      </p:bgPr>
    </p:bg>
    <p:spTree>
      <p:nvGrpSpPr>
        <p:cNvPr id="1" name=""/>
        <p:cNvGrpSpPr/>
        <p:nvPr/>
      </p:nvGrpSpPr>
      <p:grpSpPr>
        <a:xfrm>
          <a:off x="0" y="0"/>
          <a:ext cx="0" cy="0"/>
          <a:chOff x="0" y="0"/>
          <a:chExt cx="0" cy="0"/>
        </a:xfrm>
      </p:grpSpPr>
      <p:pic>
        <p:nvPicPr>
          <p:cNvPr id="6" name="Picture 5" descr="BACKGROUND_divider 01 copy copy.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1096703"/>
          </a:xfrm>
          <a:prstGeom prst="rect">
            <a:avLst/>
          </a:prstGeom>
        </p:spPr>
      </p:pic>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defRPr>
            </a:lvl1pPr>
          </a:lstStyle>
          <a:p>
            <a:fld id="{C48D9196-7146-4672-A4BA-DB29036C6B41}" type="slidenum">
              <a:rPr lang="en-US" smtClean="0"/>
              <a:t>‹#›</a:t>
            </a:fld>
            <a:endParaRPr lang="en-US"/>
          </a:p>
        </p:txBody>
      </p:sp>
      <p:sp>
        <p:nvSpPr>
          <p:cNvPr id="16" name="Title 10"/>
          <p:cNvSpPr>
            <a:spLocks noGrp="1"/>
          </p:cNvSpPr>
          <p:nvPr>
            <p:ph type="title" hasCustomPrompt="1"/>
          </p:nvPr>
        </p:nvSpPr>
        <p:spPr>
          <a:xfrm>
            <a:off x="237392" y="275170"/>
            <a:ext cx="11717219" cy="627944"/>
          </a:xfrm>
          <a:prstGeom prst="rect">
            <a:avLst/>
          </a:prstGeom>
        </p:spPr>
        <p:txBody>
          <a:bodyPr vert="horz">
            <a:noAutofit/>
          </a:bodyPr>
          <a:lstStyle>
            <a:lvl1pPr algn="l">
              <a:defRPr sz="3000" b="1">
                <a:solidFill>
                  <a:srgbClr val="009BDE"/>
                </a:solidFill>
              </a:defRPr>
            </a:lvl1pPr>
          </a:lstStyle>
          <a:p>
            <a:r>
              <a:rPr lang="en-US" dirty="0"/>
              <a:t>Subject Titl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95572" y="6350425"/>
            <a:ext cx="756161" cy="380329"/>
          </a:xfrm>
          <a:prstGeom prst="rect">
            <a:avLst/>
          </a:prstGeom>
        </p:spPr>
      </p:pic>
      <p:pic>
        <p:nvPicPr>
          <p:cNvPr id="8" name="Picture 7" descr="BACKGROUND_divider 01 copy copy.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1096703"/>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95572" y="6350425"/>
            <a:ext cx="756161" cy="380329"/>
          </a:xfrm>
          <a:prstGeom prst="rect">
            <a:avLst/>
          </a:prstGeom>
        </p:spPr>
      </p:pic>
    </p:spTree>
    <p:extLst>
      <p:ext uri="{BB962C8B-B14F-4D97-AF65-F5344CB8AC3E}">
        <p14:creationId xmlns:p14="http://schemas.microsoft.com/office/powerpoint/2010/main" val="1900197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Blank Slide">
    <p:bg>
      <p:bgPr>
        <a:solidFill>
          <a:schemeClr val="bg2"/>
        </a:solidFill>
        <a:effectLst/>
      </p:bgPr>
    </p:bg>
    <p:spTree>
      <p:nvGrpSpPr>
        <p:cNvPr id="1" name=""/>
        <p:cNvGrpSpPr/>
        <p:nvPr/>
      </p:nvGrpSpPr>
      <p:grpSpPr>
        <a:xfrm>
          <a:off x="0" y="0"/>
          <a:ext cx="0" cy="0"/>
          <a:chOff x="0" y="0"/>
          <a:chExt cx="0" cy="0"/>
        </a:xfrm>
      </p:grpSpPr>
      <p:pic>
        <p:nvPicPr>
          <p:cNvPr id="5" name="Picture 4" descr="BACKGROUND_divider 01 copy copy.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5"/>
            <a:ext cx="12192000" cy="1096703"/>
          </a:xfrm>
          <a:prstGeom prst="rect">
            <a:avLst/>
          </a:prstGeom>
        </p:spPr>
      </p:pic>
      <p:sp>
        <p:nvSpPr>
          <p:cNvPr id="3" name="Slide Number Placeholder 2"/>
          <p:cNvSpPr>
            <a:spLocks noGrp="1"/>
          </p:cNvSpPr>
          <p:nvPr>
            <p:ph type="sldNum" sz="quarter" idx="10"/>
          </p:nvPr>
        </p:nvSpPr>
        <p:spPr>
          <a:xfrm>
            <a:off x="237391" y="6356354"/>
            <a:ext cx="2844800" cy="366183"/>
          </a:xfrm>
        </p:spPr>
        <p:txBody>
          <a:bodyPr/>
          <a:lstStyle>
            <a:lvl1pPr>
              <a:defRPr>
                <a:solidFill>
                  <a:srgbClr val="009ADD"/>
                </a:solidFill>
              </a:defRPr>
            </a:lvl1pPr>
          </a:lstStyle>
          <a:p>
            <a:fld id="{C48D9196-7146-4672-A4BA-DB29036C6B41}" type="slidenum">
              <a:rPr lang="en-US" smtClean="0"/>
              <a:t>‹#›</a:t>
            </a:fld>
            <a:endParaRPr lang="en-US"/>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95572" y="6350428"/>
            <a:ext cx="756161" cy="380330"/>
          </a:xfrm>
          <a:prstGeom prst="rect">
            <a:avLst/>
          </a:prstGeom>
        </p:spPr>
      </p:pic>
      <p:sp>
        <p:nvSpPr>
          <p:cNvPr id="6" name="Title 10"/>
          <p:cNvSpPr>
            <a:spLocks noGrp="1"/>
          </p:cNvSpPr>
          <p:nvPr>
            <p:ph type="title" hasCustomPrompt="1"/>
          </p:nvPr>
        </p:nvSpPr>
        <p:spPr>
          <a:xfrm>
            <a:off x="237393" y="275173"/>
            <a:ext cx="11717219" cy="627944"/>
          </a:xfrm>
          <a:prstGeom prst="rect">
            <a:avLst/>
          </a:prstGeom>
        </p:spPr>
        <p:txBody>
          <a:bodyPr vert="horz">
            <a:noAutofit/>
          </a:bodyPr>
          <a:lstStyle>
            <a:lvl1pPr algn="l">
              <a:defRPr sz="2925" b="1">
                <a:solidFill>
                  <a:srgbClr val="009BDE"/>
                </a:solidFill>
              </a:defRPr>
            </a:lvl1pPr>
          </a:lstStyle>
          <a:p>
            <a:r>
              <a:rPr lang="en-US" dirty="0"/>
              <a:t>Subject Title</a:t>
            </a:r>
          </a:p>
        </p:txBody>
      </p:sp>
      <p:sp>
        <p:nvSpPr>
          <p:cNvPr id="10" name="Text Placeholder 8"/>
          <p:cNvSpPr>
            <a:spLocks noGrp="1"/>
          </p:cNvSpPr>
          <p:nvPr>
            <p:ph type="body" sz="quarter" idx="16" hasCustomPrompt="1"/>
          </p:nvPr>
        </p:nvSpPr>
        <p:spPr>
          <a:xfrm>
            <a:off x="234192" y="1371876"/>
            <a:ext cx="11717542" cy="1066175"/>
          </a:xfrm>
          <a:prstGeom prst="rect">
            <a:avLst/>
          </a:prstGeom>
        </p:spPr>
        <p:txBody>
          <a:bodyPr vert="horz" lIns="288832" tIns="144412" rIns="288832" bIns="144412"/>
          <a:lstStyle>
            <a:lvl1pPr marL="0" marR="0" indent="0" algn="l" defTabSz="609101" rtl="0" eaLnBrk="1" fontAlgn="auto" latinLnBrk="0" hangingPunct="1">
              <a:lnSpc>
                <a:spcPct val="100000"/>
              </a:lnSpc>
              <a:spcBef>
                <a:spcPct val="20000"/>
              </a:spcBef>
              <a:spcAft>
                <a:spcPts val="0"/>
              </a:spcAft>
              <a:buClrTx/>
              <a:buSzTx/>
              <a:buFont typeface="Arial"/>
              <a:buNone/>
              <a:tabLst/>
              <a:defRPr sz="1875" b="1">
                <a:solidFill>
                  <a:srgbClr val="787878"/>
                </a:solidFill>
              </a:defRPr>
            </a:lvl1pPr>
            <a:lvl2pPr>
              <a:defRPr sz="2100"/>
            </a:lvl2pPr>
            <a:lvl3pPr>
              <a:defRPr sz="1875"/>
            </a:lvl3pPr>
            <a:lvl4pPr>
              <a:defRPr sz="1575"/>
            </a:lvl4pPr>
            <a:lvl5pPr>
              <a:defRPr sz="1575"/>
            </a:lvl5pPr>
          </a:lstStyle>
          <a:p>
            <a:pPr lvl="0"/>
            <a:r>
              <a:rPr lang="en-US" dirty="0"/>
              <a:t>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ecima</a:t>
            </a:r>
            <a:r>
              <a:rPr lang="en-US" dirty="0"/>
              <a:t> </a:t>
            </a:r>
            <a:r>
              <a:rPr lang="en-US" dirty="0" err="1"/>
              <a:t>eodem</a:t>
            </a:r>
            <a:r>
              <a:rPr lang="en-US" dirty="0"/>
              <a:t> </a:t>
            </a:r>
            <a:r>
              <a:rPr lang="en-US" dirty="0" err="1"/>
              <a:t>modo</a:t>
            </a:r>
            <a:r>
              <a:rPr lang="en-US" dirty="0"/>
              <a:t> </a:t>
            </a:r>
            <a:r>
              <a:rPr lang="en-US" dirty="0" err="1"/>
              <a:t>typi</a:t>
            </a:r>
            <a:r>
              <a:rPr lang="en-US" dirty="0"/>
              <a:t>, qui </a:t>
            </a:r>
            <a:r>
              <a:rPr lang="en-US" dirty="0" err="1"/>
              <a:t>nunc</a:t>
            </a:r>
            <a:r>
              <a:rPr lang="en-US" dirty="0"/>
              <a:t> </a:t>
            </a:r>
            <a:r>
              <a:rPr lang="en-US" dirty="0" err="1"/>
              <a:t>nobis</a:t>
            </a:r>
            <a:r>
              <a:rPr lang="en-US" dirty="0"/>
              <a:t> </a:t>
            </a:r>
            <a:r>
              <a:rPr lang="en-US" dirty="0" err="1"/>
              <a:t>videntu</a:t>
            </a:r>
            <a:r>
              <a:rPr lang="en-US" dirty="0"/>
              <a:t> </a:t>
            </a:r>
            <a:r>
              <a:rPr lang="en-US" dirty="0" err="1"/>
              <a:t>parum</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a:t>
            </a:r>
          </a:p>
        </p:txBody>
      </p:sp>
    </p:spTree>
    <p:extLst>
      <p:ext uri="{BB962C8B-B14F-4D97-AF65-F5344CB8AC3E}">
        <p14:creationId xmlns:p14="http://schemas.microsoft.com/office/powerpoint/2010/main" val="2823743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3"/>
        <p:cNvGrpSpPr/>
        <p:nvPr/>
      </p:nvGrpSpPr>
      <p:grpSpPr>
        <a:xfrm>
          <a:off x="0" y="0"/>
          <a:ext cx="0" cy="0"/>
          <a:chOff x="0" y="0"/>
          <a:chExt cx="0" cy="0"/>
        </a:xfrm>
      </p:grpSpPr>
      <p:sp>
        <p:nvSpPr>
          <p:cNvPr id="14" name="Google Shape;14;p2"/>
          <p:cNvSpPr txBox="1">
            <a:spLocks noGrp="1"/>
          </p:cNvSpPr>
          <p:nvPr>
            <p:ph type="title"/>
          </p:nvPr>
        </p:nvSpPr>
        <p:spPr>
          <a:xfrm>
            <a:off x="844551" y="177800"/>
            <a:ext cx="10502885" cy="1143000"/>
          </a:xfrm>
          <a:prstGeom prst="rect">
            <a:avLst/>
          </a:prstGeom>
          <a:noFill/>
          <a:ln>
            <a:noFill/>
          </a:ln>
        </p:spPr>
        <p:txBody>
          <a:bodyPr spcFirstLastPara="1" wrap="square" lIns="50800" tIns="50800" rIns="50800" bIns="50800" anchor="ctr" anchorCtr="0">
            <a:noAutofit/>
          </a:bodyPr>
          <a:lstStyle>
            <a:lvl1pPr lvl="0" algn="ctr">
              <a:lnSpc>
                <a:spcPct val="100000"/>
              </a:lnSpc>
              <a:spcBef>
                <a:spcPts val="0"/>
              </a:spcBef>
              <a:spcAft>
                <a:spcPts val="0"/>
              </a:spcAft>
              <a:buSzPts val="11200"/>
              <a:buNone/>
              <a:defRPr/>
            </a:lvl1pPr>
            <a:lvl2pPr lvl="1" algn="ctr">
              <a:lnSpc>
                <a:spcPct val="100000"/>
              </a:lnSpc>
              <a:spcBef>
                <a:spcPts val="0"/>
              </a:spcBef>
              <a:spcAft>
                <a:spcPts val="0"/>
              </a:spcAft>
              <a:buSzPts val="11200"/>
              <a:buNone/>
              <a:defRPr/>
            </a:lvl2pPr>
            <a:lvl3pPr lvl="2" algn="ctr">
              <a:lnSpc>
                <a:spcPct val="100000"/>
              </a:lnSpc>
              <a:spcBef>
                <a:spcPts val="0"/>
              </a:spcBef>
              <a:spcAft>
                <a:spcPts val="0"/>
              </a:spcAft>
              <a:buSzPts val="11200"/>
              <a:buNone/>
              <a:defRPr/>
            </a:lvl3pPr>
            <a:lvl4pPr lvl="3" algn="ctr">
              <a:lnSpc>
                <a:spcPct val="100000"/>
              </a:lnSpc>
              <a:spcBef>
                <a:spcPts val="0"/>
              </a:spcBef>
              <a:spcAft>
                <a:spcPts val="0"/>
              </a:spcAft>
              <a:buSzPts val="11200"/>
              <a:buNone/>
              <a:defRPr/>
            </a:lvl4pPr>
            <a:lvl5pPr lvl="4" algn="ctr">
              <a:lnSpc>
                <a:spcPct val="100000"/>
              </a:lnSpc>
              <a:spcBef>
                <a:spcPts val="0"/>
              </a:spcBef>
              <a:spcAft>
                <a:spcPts val="0"/>
              </a:spcAft>
              <a:buSzPts val="11200"/>
              <a:buNone/>
              <a:defRPr/>
            </a:lvl5pPr>
            <a:lvl6pPr lvl="5" algn="ctr">
              <a:lnSpc>
                <a:spcPct val="100000"/>
              </a:lnSpc>
              <a:spcBef>
                <a:spcPts val="0"/>
              </a:spcBef>
              <a:spcAft>
                <a:spcPts val="0"/>
              </a:spcAft>
              <a:buSzPts val="11200"/>
              <a:buNone/>
              <a:defRPr/>
            </a:lvl6pPr>
            <a:lvl7pPr lvl="6" algn="ctr">
              <a:lnSpc>
                <a:spcPct val="100000"/>
              </a:lnSpc>
              <a:spcBef>
                <a:spcPts val="0"/>
              </a:spcBef>
              <a:spcAft>
                <a:spcPts val="0"/>
              </a:spcAft>
              <a:buSzPts val="11200"/>
              <a:buNone/>
              <a:defRPr/>
            </a:lvl7pPr>
            <a:lvl8pPr lvl="7" algn="ctr">
              <a:lnSpc>
                <a:spcPct val="100000"/>
              </a:lnSpc>
              <a:spcBef>
                <a:spcPts val="0"/>
              </a:spcBef>
              <a:spcAft>
                <a:spcPts val="0"/>
              </a:spcAft>
              <a:buSzPts val="11200"/>
              <a:buNone/>
              <a:defRPr/>
            </a:lvl8pPr>
            <a:lvl9pPr lvl="8" algn="ctr">
              <a:lnSpc>
                <a:spcPct val="100000"/>
              </a:lnSpc>
              <a:spcBef>
                <a:spcPts val="0"/>
              </a:spcBef>
              <a:spcAft>
                <a:spcPts val="0"/>
              </a:spcAft>
              <a:buSzPts val="11200"/>
              <a:buNone/>
              <a:defRPr/>
            </a:lvl9pPr>
          </a:lstStyle>
          <a:p>
            <a:endParaRPr/>
          </a:p>
        </p:txBody>
      </p:sp>
      <p:sp>
        <p:nvSpPr>
          <p:cNvPr id="15" name="Google Shape;15;p2"/>
          <p:cNvSpPr txBox="1">
            <a:spLocks noGrp="1"/>
          </p:cNvSpPr>
          <p:nvPr>
            <p:ph type="body" idx="1"/>
          </p:nvPr>
        </p:nvSpPr>
        <p:spPr>
          <a:xfrm>
            <a:off x="844551" y="1574800"/>
            <a:ext cx="10502885" cy="4648200"/>
          </a:xfrm>
          <a:prstGeom prst="rect">
            <a:avLst/>
          </a:prstGeom>
          <a:noFill/>
          <a:ln>
            <a:noFill/>
          </a:ln>
        </p:spPr>
        <p:txBody>
          <a:bodyPr spcFirstLastPara="1" wrap="square" lIns="50800" tIns="50800" rIns="50800" bIns="50800" anchor="ctr" anchorCtr="0">
            <a:noAutofit/>
          </a:bodyPr>
          <a:lstStyle>
            <a:lvl1pPr marL="228605" lvl="0" indent="-320683" algn="l">
              <a:lnSpc>
                <a:spcPct val="100000"/>
              </a:lnSpc>
              <a:spcBef>
                <a:spcPts val="2951"/>
              </a:spcBef>
              <a:spcAft>
                <a:spcPts val="0"/>
              </a:spcAft>
              <a:buSzPts val="6500"/>
              <a:buChar char="•"/>
              <a:defRPr/>
            </a:lvl1pPr>
            <a:lvl2pPr marL="457211" lvl="1" indent="-320683" algn="l">
              <a:lnSpc>
                <a:spcPct val="100000"/>
              </a:lnSpc>
              <a:spcBef>
                <a:spcPts val="2951"/>
              </a:spcBef>
              <a:spcAft>
                <a:spcPts val="0"/>
              </a:spcAft>
              <a:buSzPts val="6500"/>
              <a:buChar char="•"/>
              <a:defRPr/>
            </a:lvl2pPr>
            <a:lvl3pPr marL="685818" lvl="2" indent="-320683" algn="l">
              <a:lnSpc>
                <a:spcPct val="100000"/>
              </a:lnSpc>
              <a:spcBef>
                <a:spcPts val="2951"/>
              </a:spcBef>
              <a:spcAft>
                <a:spcPts val="0"/>
              </a:spcAft>
              <a:buSzPts val="6500"/>
              <a:buChar char="•"/>
              <a:defRPr/>
            </a:lvl3pPr>
            <a:lvl4pPr marL="914423" lvl="3" indent="-320683" algn="l">
              <a:lnSpc>
                <a:spcPct val="100000"/>
              </a:lnSpc>
              <a:spcBef>
                <a:spcPts val="2951"/>
              </a:spcBef>
              <a:spcAft>
                <a:spcPts val="0"/>
              </a:spcAft>
              <a:buSzPts val="6500"/>
              <a:buChar char="•"/>
              <a:defRPr/>
            </a:lvl4pPr>
            <a:lvl5pPr marL="1143029" lvl="4" indent="-320683" algn="l">
              <a:lnSpc>
                <a:spcPct val="100000"/>
              </a:lnSpc>
              <a:spcBef>
                <a:spcPts val="2951"/>
              </a:spcBef>
              <a:spcAft>
                <a:spcPts val="0"/>
              </a:spcAft>
              <a:buSzPts val="6500"/>
              <a:buChar char="•"/>
              <a:defRPr/>
            </a:lvl5pPr>
            <a:lvl6pPr marL="1371634" lvl="5" indent="-320683" algn="l">
              <a:lnSpc>
                <a:spcPct val="100000"/>
              </a:lnSpc>
              <a:spcBef>
                <a:spcPts val="2951"/>
              </a:spcBef>
              <a:spcAft>
                <a:spcPts val="0"/>
              </a:spcAft>
              <a:buSzPts val="6500"/>
              <a:buChar char="•"/>
              <a:defRPr/>
            </a:lvl6pPr>
            <a:lvl7pPr marL="1600240" lvl="6" indent="-320683" algn="l">
              <a:lnSpc>
                <a:spcPct val="100000"/>
              </a:lnSpc>
              <a:spcBef>
                <a:spcPts val="2951"/>
              </a:spcBef>
              <a:spcAft>
                <a:spcPts val="0"/>
              </a:spcAft>
              <a:buSzPts val="6500"/>
              <a:buChar char="•"/>
              <a:defRPr/>
            </a:lvl7pPr>
            <a:lvl8pPr marL="1828847" lvl="7" indent="-320683" algn="l">
              <a:lnSpc>
                <a:spcPct val="100000"/>
              </a:lnSpc>
              <a:spcBef>
                <a:spcPts val="2951"/>
              </a:spcBef>
              <a:spcAft>
                <a:spcPts val="0"/>
              </a:spcAft>
              <a:buSzPts val="6500"/>
              <a:buChar char="•"/>
              <a:defRPr/>
            </a:lvl8pPr>
            <a:lvl9pPr marL="2057452" lvl="8" indent="-320683" algn="l">
              <a:lnSpc>
                <a:spcPct val="100000"/>
              </a:lnSpc>
              <a:spcBef>
                <a:spcPts val="2951"/>
              </a:spcBef>
              <a:spcAft>
                <a:spcPts val="0"/>
              </a:spcAft>
              <a:buSzPts val="6500"/>
              <a:buChar char="•"/>
              <a:defRPr/>
            </a:lvl9pPr>
          </a:lstStyle>
          <a:p>
            <a:endParaRPr/>
          </a:p>
        </p:txBody>
      </p:sp>
      <p:sp>
        <p:nvSpPr>
          <p:cNvPr id="16" name="Google Shape;16;p2"/>
          <p:cNvSpPr txBox="1">
            <a:spLocks noGrp="1"/>
          </p:cNvSpPr>
          <p:nvPr>
            <p:ph type="dt" idx="10"/>
          </p:nvPr>
        </p:nvSpPr>
        <p:spPr>
          <a:xfrm>
            <a:off x="838201" y="6356352"/>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9pPr>
          </a:lstStyle>
          <a:p>
            <a:endParaRPr/>
          </a:p>
        </p:txBody>
      </p:sp>
      <p:sp>
        <p:nvSpPr>
          <p:cNvPr id="17" name="Google Shape;17;p2"/>
          <p:cNvSpPr txBox="1">
            <a:spLocks noGrp="1"/>
          </p:cNvSpPr>
          <p:nvPr>
            <p:ph type="ftr" idx="11"/>
          </p:nvPr>
        </p:nvSpPr>
        <p:spPr>
          <a:xfrm>
            <a:off x="4038601" y="6356352"/>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700" b="0" i="0" u="none" strike="noStrike" cap="none">
                <a:solidFill>
                  <a:srgbClr val="000000"/>
                </a:solidFill>
                <a:latin typeface="Arial"/>
                <a:ea typeface="Arial"/>
                <a:cs typeface="Arial"/>
                <a:sym typeface="Arial"/>
              </a:defRPr>
            </a:lvl9pPr>
          </a:lstStyle>
          <a:p>
            <a:endParaRPr/>
          </a:p>
        </p:txBody>
      </p:sp>
      <p:sp>
        <p:nvSpPr>
          <p:cNvPr id="18" name="Google Shape;18;p2"/>
          <p:cNvSpPr txBox="1">
            <a:spLocks noGrp="1"/>
          </p:cNvSpPr>
          <p:nvPr>
            <p:ph type="sldNum" idx="12"/>
          </p:nvPr>
        </p:nvSpPr>
        <p:spPr>
          <a:xfrm>
            <a:off x="5979517" y="6540500"/>
            <a:ext cx="226709" cy="230550"/>
          </a:xfrm>
          <a:prstGeom prst="rect">
            <a:avLst/>
          </a:prstGeom>
          <a:noFill/>
          <a:ln>
            <a:noFill/>
          </a:ln>
        </p:spPr>
        <p:txBody>
          <a:bodyPr spcFirstLastPara="1" wrap="square" lIns="50800" tIns="50800" rIns="50800" bIns="50800" anchor="t" anchorCtr="0">
            <a:noAutofit/>
          </a:bodyPr>
          <a:lstStyle>
            <a:lvl1pPr marL="0" marR="0" lvl="0" indent="0" algn="ctr">
              <a:lnSpc>
                <a:spcPct val="100000"/>
              </a:lnSpc>
              <a:spcBef>
                <a:spcPts val="0"/>
              </a:spcBef>
              <a:spcAft>
                <a:spcPts val="0"/>
              </a:spcAft>
              <a:buClr>
                <a:srgbClr val="000000"/>
              </a:buClr>
              <a:buSzPts val="2400"/>
              <a:buFont typeface="Helvetica Neue Light"/>
              <a:buNone/>
              <a:defRPr/>
            </a:lvl1pPr>
            <a:lvl2pPr marL="0" marR="0" lvl="1" indent="0" algn="ctr">
              <a:lnSpc>
                <a:spcPct val="100000"/>
              </a:lnSpc>
              <a:spcBef>
                <a:spcPts val="0"/>
              </a:spcBef>
              <a:spcAft>
                <a:spcPts val="0"/>
              </a:spcAft>
              <a:buClr>
                <a:srgbClr val="000000"/>
              </a:buClr>
              <a:buSzPts val="2400"/>
              <a:buFont typeface="Helvetica Neue Light"/>
              <a:buNone/>
              <a:defRPr/>
            </a:lvl2pPr>
            <a:lvl3pPr marL="0" marR="0" lvl="2" indent="0" algn="ctr">
              <a:lnSpc>
                <a:spcPct val="100000"/>
              </a:lnSpc>
              <a:spcBef>
                <a:spcPts val="0"/>
              </a:spcBef>
              <a:spcAft>
                <a:spcPts val="0"/>
              </a:spcAft>
              <a:buClr>
                <a:srgbClr val="000000"/>
              </a:buClr>
              <a:buSzPts val="2400"/>
              <a:buFont typeface="Helvetica Neue Light"/>
              <a:buNone/>
              <a:defRPr/>
            </a:lvl3pPr>
            <a:lvl4pPr marL="0" marR="0" lvl="3" indent="0" algn="ctr">
              <a:lnSpc>
                <a:spcPct val="100000"/>
              </a:lnSpc>
              <a:spcBef>
                <a:spcPts val="0"/>
              </a:spcBef>
              <a:spcAft>
                <a:spcPts val="0"/>
              </a:spcAft>
              <a:buClr>
                <a:srgbClr val="000000"/>
              </a:buClr>
              <a:buSzPts val="2400"/>
              <a:buFont typeface="Helvetica Neue Light"/>
              <a:buNone/>
              <a:defRPr/>
            </a:lvl4pPr>
            <a:lvl5pPr marL="0" marR="0" lvl="4" indent="0" algn="ctr">
              <a:lnSpc>
                <a:spcPct val="100000"/>
              </a:lnSpc>
              <a:spcBef>
                <a:spcPts val="0"/>
              </a:spcBef>
              <a:spcAft>
                <a:spcPts val="0"/>
              </a:spcAft>
              <a:buClr>
                <a:srgbClr val="000000"/>
              </a:buClr>
              <a:buSzPts val="2400"/>
              <a:buFont typeface="Helvetica Neue Light"/>
              <a:buNone/>
              <a:defRPr/>
            </a:lvl5pPr>
            <a:lvl6pPr marL="0" marR="0" lvl="5" indent="0" algn="ctr">
              <a:lnSpc>
                <a:spcPct val="100000"/>
              </a:lnSpc>
              <a:spcBef>
                <a:spcPts val="0"/>
              </a:spcBef>
              <a:spcAft>
                <a:spcPts val="0"/>
              </a:spcAft>
              <a:buClr>
                <a:srgbClr val="000000"/>
              </a:buClr>
              <a:buSzPts val="2400"/>
              <a:buFont typeface="Helvetica Neue Light"/>
              <a:buNone/>
              <a:defRPr/>
            </a:lvl6pPr>
            <a:lvl7pPr marL="0" marR="0" lvl="6" indent="0" algn="ctr">
              <a:lnSpc>
                <a:spcPct val="100000"/>
              </a:lnSpc>
              <a:spcBef>
                <a:spcPts val="0"/>
              </a:spcBef>
              <a:spcAft>
                <a:spcPts val="0"/>
              </a:spcAft>
              <a:buClr>
                <a:srgbClr val="000000"/>
              </a:buClr>
              <a:buSzPts val="2400"/>
              <a:buFont typeface="Helvetica Neue Light"/>
              <a:buNone/>
              <a:defRPr/>
            </a:lvl7pPr>
            <a:lvl8pPr marL="0" marR="0" lvl="7" indent="0" algn="ctr">
              <a:lnSpc>
                <a:spcPct val="100000"/>
              </a:lnSpc>
              <a:spcBef>
                <a:spcPts val="0"/>
              </a:spcBef>
              <a:spcAft>
                <a:spcPts val="0"/>
              </a:spcAft>
              <a:buClr>
                <a:srgbClr val="000000"/>
              </a:buClr>
              <a:buSzPts val="2400"/>
              <a:buFont typeface="Helvetica Neue Light"/>
              <a:buNone/>
              <a:defRPr/>
            </a:lvl8pPr>
            <a:lvl9pPr marL="0" marR="0" lvl="8" indent="0" algn="ctr">
              <a:lnSpc>
                <a:spcPct val="100000"/>
              </a:lnSpc>
              <a:spcBef>
                <a:spcPts val="0"/>
              </a:spcBef>
              <a:spcAft>
                <a:spcPts val="0"/>
              </a:spcAft>
              <a:buClr>
                <a:srgbClr val="000000"/>
              </a:buClr>
              <a:buSzPts val="2400"/>
              <a:buFont typeface="Helvetica Neue Light"/>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711025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A37B4-E76B-F04B-A752-02AF6620FB90}"/>
              </a:ext>
            </a:extLst>
          </p:cNvPr>
          <p:cNvSpPr>
            <a:spLocks noGrp="1"/>
          </p:cNvSpPr>
          <p:nvPr>
            <p:ph type="ctrTitle"/>
          </p:nvPr>
        </p:nvSpPr>
        <p:spPr>
          <a:xfrm>
            <a:off x="1524000" y="1122364"/>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C22A302-C7FB-D842-B49F-CD5E3B465F7A}"/>
              </a:ext>
            </a:extLst>
          </p:cNvPr>
          <p:cNvSpPr>
            <a:spLocks noGrp="1"/>
          </p:cNvSpPr>
          <p:nvPr>
            <p:ph type="subTitle" idx="1"/>
          </p:nvPr>
        </p:nvSpPr>
        <p:spPr>
          <a:xfrm>
            <a:off x="1524000" y="3602038"/>
            <a:ext cx="9144000" cy="1655762"/>
          </a:xfrm>
        </p:spPr>
        <p:txBody>
          <a:bodyPr/>
          <a:lstStyle>
            <a:lvl1pPr marL="0" indent="0" algn="ctr">
              <a:buNone/>
              <a:defRPr sz="2400"/>
            </a:lvl1pPr>
            <a:lvl2pPr marL="457178"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4"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27A55C6-F078-D94A-BB69-694A860449EE}"/>
              </a:ext>
            </a:extLst>
          </p:cNvPr>
          <p:cNvSpPr>
            <a:spLocks noGrp="1"/>
          </p:cNvSpPr>
          <p:nvPr>
            <p:ph type="dt" sz="half" idx="10"/>
          </p:nvPr>
        </p:nvSpPr>
        <p:spPr/>
        <p:txBody>
          <a:bodyPr/>
          <a:lstStyle/>
          <a:p>
            <a:fld id="{D95E2B73-DBFB-204E-9A4B-BAD578BB3076}" type="datetimeFigureOut">
              <a:rPr lang="en-US" smtClean="0"/>
              <a:t>9/30/2024</a:t>
            </a:fld>
            <a:endParaRPr lang="en-US"/>
          </a:p>
        </p:txBody>
      </p:sp>
      <p:sp>
        <p:nvSpPr>
          <p:cNvPr id="5" name="Footer Placeholder 4">
            <a:extLst>
              <a:ext uri="{FF2B5EF4-FFF2-40B4-BE49-F238E27FC236}">
                <a16:creationId xmlns:a16="http://schemas.microsoft.com/office/drawing/2014/main" id="{B5E0F4EB-9274-8A47-9EFE-2F26C8CEC1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405E7-4B55-8841-985E-91D52968E442}"/>
              </a:ext>
            </a:extLst>
          </p:cNvPr>
          <p:cNvSpPr>
            <a:spLocks noGrp="1"/>
          </p:cNvSpPr>
          <p:nvPr>
            <p:ph type="sldNum" sz="quarter" idx="12"/>
          </p:nvPr>
        </p:nvSpPr>
        <p:spPr/>
        <p:txBody>
          <a:bodyPr/>
          <a:lstStyle/>
          <a:p>
            <a:fld id="{E61C6B2A-C676-7845-99A3-EFBF70E10A3F}" type="slidenum">
              <a:rPr lang="en-US" smtClean="0"/>
              <a:t>‹#›</a:t>
            </a:fld>
            <a:endParaRPr lang="en-US"/>
          </a:p>
        </p:txBody>
      </p:sp>
    </p:spTree>
    <p:extLst>
      <p:ext uri="{BB962C8B-B14F-4D97-AF65-F5344CB8AC3E}">
        <p14:creationId xmlns:p14="http://schemas.microsoft.com/office/powerpoint/2010/main" val="1682313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1" y="-3373"/>
            <a:ext cx="12193587" cy="1355923"/>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solidFill>
                <a:srgbClr val="207592"/>
              </a:solidFill>
            </a:endParaRPr>
          </a:p>
        </p:txBody>
      </p:sp>
      <p:pic>
        <p:nvPicPr>
          <p:cNvPr id="4" name="Picture 3"/>
          <p:cNvPicPr>
            <a:picLocks noChangeAspect="1"/>
          </p:cNvPicPr>
          <p:nvPr userDrawn="1"/>
        </p:nvPicPr>
        <p:blipFill rotWithShape="1">
          <a:blip r:embed="rId2">
            <a:duotone>
              <a:prstClr val="black"/>
              <a:schemeClr val="accent5">
                <a:tint val="45000"/>
                <a:satMod val="400000"/>
              </a:schemeClr>
            </a:duotone>
            <a:alphaModFix amt="30000"/>
            <a:extLst>
              <a:ext uri="{28A0092B-C50C-407E-A947-70E740481C1C}">
                <a14:useLocalDpi xmlns:a14="http://schemas.microsoft.com/office/drawing/2010/main" val="0"/>
              </a:ext>
            </a:extLst>
          </a:blip>
          <a:srcRect t="54862" b="27433"/>
          <a:stretch/>
        </p:blipFill>
        <p:spPr>
          <a:xfrm>
            <a:off x="1" y="8657"/>
            <a:ext cx="12193586" cy="1343895"/>
          </a:xfrm>
          <a:prstGeom prst="rect">
            <a:avLst/>
          </a:prstGeom>
        </p:spPr>
      </p:pic>
      <p:sp>
        <p:nvSpPr>
          <p:cNvPr id="5" name="Retângulo 1"/>
          <p:cNvSpPr/>
          <p:nvPr userDrawn="1"/>
        </p:nvSpPr>
        <p:spPr>
          <a:xfrm>
            <a:off x="838310" y="1512823"/>
            <a:ext cx="10111475" cy="400110"/>
          </a:xfrm>
          <a:prstGeom prst="rect">
            <a:avLst/>
          </a:prstGeom>
        </p:spPr>
        <p:txBody>
          <a:bodyPr wrap="square">
            <a:spAutoFit/>
          </a:bodyPr>
          <a:lstStyle/>
          <a:p>
            <a:pPr>
              <a:spcAft>
                <a:spcPts val="0"/>
              </a:spcAft>
            </a:pPr>
            <a:r>
              <a:rPr lang="pt-BR" sz="2000" dirty="0">
                <a:latin typeface="Calibri" panose="020F0502020204030204" pitchFamily="34" charset="0"/>
                <a:ea typeface="Calibri" panose="020F0502020204030204" pitchFamily="34" charset="0"/>
                <a:cs typeface="Times New Roman" panose="02020603050405020304" pitchFamily="18" charset="0"/>
              </a:rPr>
              <a:t> </a:t>
            </a:r>
          </a:p>
        </p:txBody>
      </p:sp>
      <p:grpSp>
        <p:nvGrpSpPr>
          <p:cNvPr id="6" name="Group 5"/>
          <p:cNvGrpSpPr/>
          <p:nvPr userDrawn="1"/>
        </p:nvGrpSpPr>
        <p:grpSpPr>
          <a:xfrm>
            <a:off x="6543837" y="237255"/>
            <a:ext cx="5451964" cy="6552738"/>
            <a:chOff x="6542984" y="237255"/>
            <a:chExt cx="5451254" cy="6552738"/>
          </a:xfrm>
        </p:grpSpPr>
        <p:grpSp>
          <p:nvGrpSpPr>
            <p:cNvPr id="7" name="Group 6"/>
            <p:cNvGrpSpPr/>
            <p:nvPr/>
          </p:nvGrpSpPr>
          <p:grpSpPr>
            <a:xfrm>
              <a:off x="11571410" y="237255"/>
              <a:ext cx="405420" cy="405472"/>
              <a:chOff x="9847755" y="226389"/>
              <a:chExt cx="516502" cy="516568"/>
            </a:xfrm>
          </p:grpSpPr>
          <p:sp>
            <p:nvSpPr>
              <p:cNvPr id="9" name="Rectangle 8"/>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p:sp>
            <p:nvSpPr>
              <p:cNvPr id="10" name="Rectangle 9"/>
              <p:cNvSpPr/>
              <p:nvPr/>
            </p:nvSpPr>
            <p:spPr>
              <a:xfrm>
                <a:off x="10104851" y="226389"/>
                <a:ext cx="259388" cy="259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p:sp>
            <p:nvSpPr>
              <p:cNvPr id="11" name="Rectangle 10"/>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p:grpSp>
        <p:sp>
          <p:nvSpPr>
            <p:cNvPr id="8" name="Title 3"/>
            <p:cNvSpPr txBox="1">
              <a:spLocks/>
            </p:cNvSpPr>
            <p:nvPr/>
          </p:nvSpPr>
          <p:spPr>
            <a:xfrm>
              <a:off x="6542984" y="6308831"/>
              <a:ext cx="5451254" cy="4811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pt-BR" sz="1100">
                  <a:solidFill>
                    <a:schemeClr val="bg1">
                      <a:lumMod val="65000"/>
                    </a:schemeClr>
                  </a:solidFill>
                  <a:latin typeface="Century Gothic" panose="020B0502020202020204" pitchFamily="34" charset="0"/>
                  <a:ea typeface="Raleway" charset="0"/>
                  <a:cs typeface="Raleway" charset="0"/>
                </a:rPr>
                <a:t>www.</a:t>
              </a:r>
              <a:r>
                <a:rPr lang="pt-BR" sz="1100" b="1">
                  <a:solidFill>
                    <a:srgbClr val="207592"/>
                  </a:solidFill>
                  <a:latin typeface="Century Gothic" panose="020B0502020202020204" pitchFamily="34" charset="0"/>
                  <a:ea typeface="Raleway" charset="0"/>
                  <a:cs typeface="Raleway" charset="0"/>
                </a:rPr>
                <a:t>fit</a:t>
              </a:r>
              <a:r>
                <a:rPr lang="pt-BR" sz="1100">
                  <a:solidFill>
                    <a:schemeClr val="bg1">
                      <a:lumMod val="65000"/>
                    </a:schemeClr>
                  </a:solidFill>
                  <a:latin typeface="Century Gothic" panose="020B0502020202020204" pitchFamily="34" charset="0"/>
                  <a:ea typeface="Raleway" charset="0"/>
                  <a:cs typeface="Raleway" charset="0"/>
                </a:rPr>
                <a:t>-tecnologia.org.br</a:t>
              </a:r>
              <a:endParaRPr lang="pt-BR" sz="1100" dirty="0">
                <a:solidFill>
                  <a:schemeClr val="bg1">
                    <a:lumMod val="65000"/>
                  </a:schemeClr>
                </a:solidFill>
                <a:latin typeface="Century Gothic" panose="020B0502020202020204" pitchFamily="34" charset="0"/>
                <a:ea typeface="Raleway" charset="0"/>
                <a:cs typeface="Raleway" charset="0"/>
              </a:endParaRPr>
            </a:p>
          </p:txBody>
        </p:sp>
      </p:grpSp>
      <p:sp>
        <p:nvSpPr>
          <p:cNvPr id="12" name="Text Placeholder 16"/>
          <p:cNvSpPr>
            <a:spLocks noGrp="1"/>
          </p:cNvSpPr>
          <p:nvPr>
            <p:ph type="body" sz="quarter" idx="10" hasCustomPrompt="1"/>
          </p:nvPr>
        </p:nvSpPr>
        <p:spPr>
          <a:xfrm>
            <a:off x="3138898" y="323752"/>
            <a:ext cx="5925321" cy="739775"/>
          </a:xfrm>
          <a:prstGeom prst="rect">
            <a:avLst/>
          </a:prstGeom>
        </p:spPr>
        <p:txBody>
          <a:bodyPr anchor="ctr">
            <a:normAutofit/>
          </a:bodyPr>
          <a:lstStyle>
            <a:lvl1pPr marL="0" indent="0" algn="ctr">
              <a:buNone/>
              <a:defRPr sz="3600" b="1" cap="all" baseline="0">
                <a:solidFill>
                  <a:schemeClr val="bg1"/>
                </a:solidFill>
                <a:latin typeface="Montserrat" panose="00000500000000000000" pitchFamily="2" charset="0"/>
                <a:cs typeface="Arial" panose="020B0604020202020204" pitchFamily="34" charset="0"/>
              </a:defRPr>
            </a:lvl1pPr>
            <a:lvl2pPr marL="457178" indent="0">
              <a:buNone/>
              <a:defRPr/>
            </a:lvl2pPr>
          </a:lstStyle>
          <a:p>
            <a:pPr lvl="0"/>
            <a:r>
              <a:rPr lang="en-US" dirty="0" err="1"/>
              <a:t>texto</a:t>
            </a:r>
            <a:endParaRPr lang="en-US" dirty="0"/>
          </a:p>
        </p:txBody>
      </p:sp>
      <p:sp>
        <p:nvSpPr>
          <p:cNvPr id="13" name="Text Placeholder 16"/>
          <p:cNvSpPr>
            <a:spLocks noGrp="1"/>
          </p:cNvSpPr>
          <p:nvPr>
            <p:ph type="body" sz="quarter" idx="11" hasCustomPrompt="1"/>
          </p:nvPr>
        </p:nvSpPr>
        <p:spPr>
          <a:xfrm>
            <a:off x="800206" y="1604568"/>
            <a:ext cx="10593179" cy="4415232"/>
          </a:xfrm>
          <a:prstGeom prst="rect">
            <a:avLst/>
          </a:prstGeom>
        </p:spPr>
        <p:txBody>
          <a:bodyPr anchor="t">
            <a:normAutofit/>
          </a:bodyPr>
          <a:lstStyle>
            <a:lvl1pPr marL="0" indent="0" algn="l">
              <a:lnSpc>
                <a:spcPct val="150000"/>
              </a:lnSpc>
              <a:spcBef>
                <a:spcPts val="600"/>
              </a:spcBef>
              <a:buNone/>
              <a:defRPr sz="2000" b="0" cap="none" baseline="0">
                <a:solidFill>
                  <a:schemeClr val="tx1">
                    <a:lumMod val="85000"/>
                    <a:lumOff val="15000"/>
                  </a:schemeClr>
                </a:solidFill>
                <a:latin typeface="Century Gothic" panose="020B0502020202020204" pitchFamily="34" charset="0"/>
                <a:cs typeface="Arial" panose="020B0604020202020204" pitchFamily="34" charset="0"/>
              </a:defRPr>
            </a:lvl1pPr>
            <a:lvl2pPr marL="457178" indent="0">
              <a:buNone/>
              <a:defRPr/>
            </a:lvl2pPr>
          </a:lstStyle>
          <a:p>
            <a:pPr lvl="0"/>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r>
              <a:rPr lang="en-US" dirty="0" err="1"/>
              <a:t>Texto</a:t>
            </a:r>
            <a:r>
              <a:rPr lang="en-US" dirty="0"/>
              <a:t> </a:t>
            </a:r>
          </a:p>
        </p:txBody>
      </p:sp>
    </p:spTree>
    <p:extLst>
      <p:ext uri="{BB962C8B-B14F-4D97-AF65-F5344CB8AC3E}">
        <p14:creationId xmlns:p14="http://schemas.microsoft.com/office/powerpoint/2010/main" val="1105987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ítulo conteúdo livre ">
    <p:spTree>
      <p:nvGrpSpPr>
        <p:cNvPr id="1" name=""/>
        <p:cNvGrpSpPr/>
        <p:nvPr/>
      </p:nvGrpSpPr>
      <p:grpSpPr>
        <a:xfrm>
          <a:off x="0" y="0"/>
          <a:ext cx="0" cy="0"/>
          <a:chOff x="0" y="0"/>
          <a:chExt cx="0" cy="0"/>
        </a:xfrm>
      </p:grpSpPr>
      <p:grpSp>
        <p:nvGrpSpPr>
          <p:cNvPr id="7" name="Group 24">
            <a:extLst>
              <a:ext uri="{FF2B5EF4-FFF2-40B4-BE49-F238E27FC236}">
                <a16:creationId xmlns:a16="http://schemas.microsoft.com/office/drawing/2014/main" id="{ED610386-F1FC-4DC7-9A22-5AA3300DD8BC}"/>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25BD5945-DAF9-4622-8FA9-05B16C1F8F45}"/>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26">
              <a:extLst>
                <a:ext uri="{FF2B5EF4-FFF2-40B4-BE49-F238E27FC236}">
                  <a16:creationId xmlns:a16="http://schemas.microsoft.com/office/drawing/2014/main" id="{7A9402D1-0AA9-466E-8923-CC7D1BE769C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7">
              <a:extLst>
                <a:ext uri="{FF2B5EF4-FFF2-40B4-BE49-F238E27FC236}">
                  <a16:creationId xmlns:a16="http://schemas.microsoft.com/office/drawing/2014/main" id="{9011A8CF-727D-4792-86C6-A5C3D9482771}"/>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8">
            <a:extLst>
              <a:ext uri="{FF2B5EF4-FFF2-40B4-BE49-F238E27FC236}">
                <a16:creationId xmlns:a16="http://schemas.microsoft.com/office/drawing/2014/main" id="{8B25D5DC-DA73-416A-AE35-E8934B535BD3}"/>
              </a:ext>
            </a:extLst>
          </p:cNvPr>
          <p:cNvSpPr/>
          <p:nvPr userDrawn="1"/>
        </p:nvSpPr>
        <p:spPr>
          <a:xfrm rot="5400000">
            <a:off x="-582931" y="582932"/>
            <a:ext cx="1280162" cy="114299"/>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5" name="Espaço Reservado para Texto 14">
            <a:extLst>
              <a:ext uri="{FF2B5EF4-FFF2-40B4-BE49-F238E27FC236}">
                <a16:creationId xmlns:a16="http://schemas.microsoft.com/office/drawing/2014/main" id="{4A48B941-AA90-4563-99CC-008C9A299C0E}"/>
              </a:ext>
            </a:extLst>
          </p:cNvPr>
          <p:cNvSpPr>
            <a:spLocks noGrp="1"/>
          </p:cNvSpPr>
          <p:nvPr>
            <p:ph type="body" sz="quarter" idx="11"/>
          </p:nvPr>
        </p:nvSpPr>
        <p:spPr>
          <a:xfrm>
            <a:off x="1057275" y="552450"/>
            <a:ext cx="10096500" cy="727075"/>
          </a:xfrm>
        </p:spPr>
        <p:txBody>
          <a:bodyPr vert="horz" lIns="91440" tIns="45720" rIns="91440" bIns="45720" rtlCol="0" anchor="b">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280421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ver Slide">
    <p:bg>
      <p:bgPr>
        <a:blipFill dpi="0" rotWithShape="1">
          <a:blip r:embed="rId2" cstate="screen">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A2D1E81-4849-4219-BCD1-A1B098608D5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flipH="1">
            <a:off x="-3" y="0"/>
            <a:ext cx="12191999" cy="6858000"/>
          </a:xfrm>
          <a:prstGeom prst="rect">
            <a:avLst/>
          </a:prstGeom>
        </p:spPr>
      </p:pic>
      <p:sp>
        <p:nvSpPr>
          <p:cNvPr id="15" name="Rectangle 14">
            <a:extLst>
              <a:ext uri="{FF2B5EF4-FFF2-40B4-BE49-F238E27FC236}">
                <a16:creationId xmlns:a16="http://schemas.microsoft.com/office/drawing/2014/main" id="{7978E036-7457-4A7B-89CD-963175985932}"/>
              </a:ext>
            </a:extLst>
          </p:cNvPr>
          <p:cNvSpPr/>
          <p:nvPr userDrawn="1"/>
        </p:nvSpPr>
        <p:spPr bwMode="white">
          <a:xfrm>
            <a:off x="-14288"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endParaRPr>
          </a:p>
        </p:txBody>
      </p:sp>
      <p:pic>
        <p:nvPicPr>
          <p:cNvPr id="16" name="Graphic 15">
            <a:extLst>
              <a:ext uri="{FF2B5EF4-FFF2-40B4-BE49-F238E27FC236}">
                <a16:creationId xmlns:a16="http://schemas.microsoft.com/office/drawing/2014/main" id="{3C96A073-81C5-4025-9628-DD16FE08959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623419" y="1133612"/>
            <a:ext cx="982969" cy="397803"/>
          </a:xfrm>
          <a:prstGeom prst="rect">
            <a:avLst/>
          </a:prstGeom>
        </p:spPr>
      </p:pic>
      <p:pic>
        <p:nvPicPr>
          <p:cNvPr id="19" name="Graphic 18">
            <a:extLst>
              <a:ext uri="{FF2B5EF4-FFF2-40B4-BE49-F238E27FC236}">
                <a16:creationId xmlns:a16="http://schemas.microsoft.com/office/drawing/2014/main" id="{8A6F53A7-FFDA-45A9-8AE5-C285EA531ED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623419" y="1133612"/>
            <a:ext cx="982969" cy="397803"/>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E5166E54-B45A-4E11-8371-FF2DBB4EEA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63880" y="2485311"/>
            <a:ext cx="4022408" cy="1491643"/>
          </a:xfrm>
          <a:prstGeom prst="rect">
            <a:avLst/>
          </a:prstGeom>
        </p:spPr>
      </p:pic>
    </p:spTree>
    <p:extLst>
      <p:ext uri="{BB962C8B-B14F-4D97-AF65-F5344CB8AC3E}">
        <p14:creationId xmlns:p14="http://schemas.microsoft.com/office/powerpoint/2010/main" val="3113022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39555" y="1573833"/>
            <a:ext cx="10903849"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65ECA51A-1D08-0240-87B1-1121C8272679}"/>
              </a:ext>
            </a:extLst>
          </p:cNvPr>
          <p:cNvSpPr/>
          <p:nvPr userDrawn="1"/>
        </p:nvSpPr>
        <p:spPr>
          <a:xfrm>
            <a:off x="10820400" y="6096000"/>
            <a:ext cx="857250" cy="533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Tree>
    <p:extLst>
      <p:ext uri="{BB962C8B-B14F-4D97-AF65-F5344CB8AC3E}">
        <p14:creationId xmlns:p14="http://schemas.microsoft.com/office/powerpoint/2010/main" val="6084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36">
          <p15:clr>
            <a:srgbClr val="FBAE40"/>
          </p15:clr>
        </p15:guide>
        <p15:guide id="2" pos="9704">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Cover Slide">
    <p:bg>
      <p:bgPr>
        <a:blipFill dpi="0" rotWithShape="1">
          <a:blip r:embed="rId2" cstate="screen">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A50EB78-D5FC-452E-9938-83EFC939921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7978E036-7457-4A7B-89CD-963175985932}"/>
              </a:ext>
            </a:extLst>
          </p:cNvPr>
          <p:cNvSpPr/>
          <p:nvPr userDrawn="1"/>
        </p:nvSpPr>
        <p:spPr bwMode="white">
          <a:xfrm>
            <a:off x="-14288"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endParaRPr>
          </a:p>
        </p:txBody>
      </p:sp>
      <p:pic>
        <p:nvPicPr>
          <p:cNvPr id="16" name="Graphic 15">
            <a:extLst>
              <a:ext uri="{FF2B5EF4-FFF2-40B4-BE49-F238E27FC236}">
                <a16:creationId xmlns:a16="http://schemas.microsoft.com/office/drawing/2014/main" id="{3C96A073-81C5-4025-9628-DD16FE08959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623419" y="1133612"/>
            <a:ext cx="982969" cy="397803"/>
          </a:xfrm>
          <a:prstGeom prst="rect">
            <a:avLst/>
          </a:prstGeom>
        </p:spPr>
      </p:pic>
      <p:pic>
        <p:nvPicPr>
          <p:cNvPr id="19" name="Graphic 18">
            <a:extLst>
              <a:ext uri="{FF2B5EF4-FFF2-40B4-BE49-F238E27FC236}">
                <a16:creationId xmlns:a16="http://schemas.microsoft.com/office/drawing/2014/main" id="{8A6F53A7-FFDA-45A9-8AE5-C285EA531ED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623419" y="1133612"/>
            <a:ext cx="982969" cy="397803"/>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DAEB2F99-7FE0-407E-8C78-2150B49504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63880" y="2485311"/>
            <a:ext cx="4022408" cy="1491643"/>
          </a:xfrm>
          <a:prstGeom prst="rect">
            <a:avLst/>
          </a:prstGeom>
        </p:spPr>
      </p:pic>
    </p:spTree>
    <p:extLst>
      <p:ext uri="{BB962C8B-B14F-4D97-AF65-F5344CB8AC3E}">
        <p14:creationId xmlns:p14="http://schemas.microsoft.com/office/powerpoint/2010/main" val="3228776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Cover Slide">
    <p:bg>
      <p:bgPr>
        <a:blipFill dpi="0" rotWithShape="1">
          <a:blip r:embed="rId2" cstate="screen">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78E036-7457-4A7B-89CD-963175985932}"/>
              </a:ext>
            </a:extLst>
          </p:cNvPr>
          <p:cNvSpPr/>
          <p:nvPr userDrawn="1"/>
        </p:nvSpPr>
        <p:spPr bwMode="white">
          <a:xfrm>
            <a:off x="1" y="672087"/>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endParaRPr>
          </a:p>
        </p:txBody>
      </p:sp>
      <p:pic>
        <p:nvPicPr>
          <p:cNvPr id="16" name="Graphic 15">
            <a:extLst>
              <a:ext uri="{FF2B5EF4-FFF2-40B4-BE49-F238E27FC236}">
                <a16:creationId xmlns:a16="http://schemas.microsoft.com/office/drawing/2014/main" id="{3C96A073-81C5-4025-9628-DD16FE08959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623419" y="1133612"/>
            <a:ext cx="982969" cy="397803"/>
          </a:xfrm>
          <a:prstGeom prst="rect">
            <a:avLst/>
          </a:prstGeom>
        </p:spPr>
      </p:pic>
      <p:pic>
        <p:nvPicPr>
          <p:cNvPr id="19" name="Graphic 18">
            <a:extLst>
              <a:ext uri="{FF2B5EF4-FFF2-40B4-BE49-F238E27FC236}">
                <a16:creationId xmlns:a16="http://schemas.microsoft.com/office/drawing/2014/main" id="{8A6F53A7-FFDA-45A9-8AE5-C285EA531ED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623419" y="1133612"/>
            <a:ext cx="982969" cy="397803"/>
          </a:xfrm>
          <a:prstGeom prst="rect">
            <a:avLst/>
          </a:prstGeom>
        </p:spPr>
      </p:pic>
      <p:sp>
        <p:nvSpPr>
          <p:cNvPr id="6" name="Text Placeholder 3">
            <a:extLst>
              <a:ext uri="{FF2B5EF4-FFF2-40B4-BE49-F238E27FC236}">
                <a16:creationId xmlns:a16="http://schemas.microsoft.com/office/drawing/2014/main" id="{864B79DD-4AB9-4340-B76B-22F062024588}"/>
              </a:ext>
            </a:extLst>
          </p:cNvPr>
          <p:cNvSpPr>
            <a:spLocks noGrp="1"/>
          </p:cNvSpPr>
          <p:nvPr>
            <p:ph type="body" sz="quarter" idx="10"/>
          </p:nvPr>
        </p:nvSpPr>
        <p:spPr>
          <a:xfrm>
            <a:off x="663333" y="1992663"/>
            <a:ext cx="4056257" cy="2182384"/>
          </a:xfrm>
        </p:spPr>
        <p:txBody>
          <a:bodyPr anchor="b" anchorCtr="0"/>
          <a:lstStyle>
            <a:lvl1pPr>
              <a:defRPr sz="4500" b="1">
                <a:solidFill>
                  <a:schemeClr val="bg1"/>
                </a:solidFill>
              </a:defRPr>
            </a:lvl1pPr>
          </a:lstStyle>
          <a:p>
            <a:pPr lvl="0"/>
            <a:endParaRPr lang="en-IE" dirty="0"/>
          </a:p>
        </p:txBody>
      </p:sp>
      <p:sp>
        <p:nvSpPr>
          <p:cNvPr id="7" name="Text Placeholder 3">
            <a:extLst>
              <a:ext uri="{FF2B5EF4-FFF2-40B4-BE49-F238E27FC236}">
                <a16:creationId xmlns:a16="http://schemas.microsoft.com/office/drawing/2014/main" id="{F4583FAF-75BA-4BE1-8E1A-9E5ED8FF3F85}"/>
              </a:ext>
            </a:extLst>
          </p:cNvPr>
          <p:cNvSpPr>
            <a:spLocks noGrp="1"/>
          </p:cNvSpPr>
          <p:nvPr>
            <p:ph type="body" sz="quarter" idx="11" hasCustomPrompt="1"/>
          </p:nvPr>
        </p:nvSpPr>
        <p:spPr>
          <a:xfrm>
            <a:off x="644852" y="4667266"/>
            <a:ext cx="4056257" cy="828356"/>
          </a:xfrm>
        </p:spPr>
        <p:txBody>
          <a:bodyPr anchor="t" anchorCtr="0"/>
          <a:lstStyle>
            <a:lvl1pPr>
              <a:defRPr sz="1500" b="0">
                <a:solidFill>
                  <a:schemeClr val="bg1"/>
                </a:solidFill>
              </a:defRPr>
            </a:lvl1pPr>
          </a:lstStyle>
          <a:p>
            <a:pPr lvl="0"/>
            <a:r>
              <a:rPr lang="en-IE" dirty="0"/>
              <a:t>Presenter Name</a:t>
            </a:r>
          </a:p>
        </p:txBody>
      </p:sp>
    </p:spTree>
    <p:extLst>
      <p:ext uri="{BB962C8B-B14F-4D97-AF65-F5344CB8AC3E}">
        <p14:creationId xmlns:p14="http://schemas.microsoft.com/office/powerpoint/2010/main" val="4665710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ternal Slide">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FF261523-9AAD-4E0C-96DD-A8B82D45CB38}"/>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10" name="Graphic 9">
            <a:extLst>
              <a:ext uri="{FF2B5EF4-FFF2-40B4-BE49-F238E27FC236}">
                <a16:creationId xmlns:a16="http://schemas.microsoft.com/office/drawing/2014/main" id="{20E1895C-F269-446F-8F5E-D0F6F1A1591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2" name="Slide Number Placeholder 2">
            <a:extLst>
              <a:ext uri="{FF2B5EF4-FFF2-40B4-BE49-F238E27FC236}">
                <a16:creationId xmlns:a16="http://schemas.microsoft.com/office/drawing/2014/main" id="{981D64F6-5933-47FD-879D-F6B0D725A4AD}"/>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
        <p:nvSpPr>
          <p:cNvPr id="2" name="TextBox 1">
            <a:extLst>
              <a:ext uri="{FF2B5EF4-FFF2-40B4-BE49-F238E27FC236}">
                <a16:creationId xmlns:a16="http://schemas.microsoft.com/office/drawing/2014/main" id="{08A4C278-7C8B-48FD-B923-5D4A2513262C}"/>
              </a:ext>
            </a:extLst>
          </p:cNvPr>
          <p:cNvSpPr txBox="1"/>
          <p:nvPr userDrawn="1"/>
        </p:nvSpPr>
        <p:spPr>
          <a:xfrm>
            <a:off x="926276" y="6371341"/>
            <a:ext cx="5958444" cy="369332"/>
          </a:xfrm>
          <a:prstGeom prst="rect">
            <a:avLst/>
          </a:prstGeom>
          <a:noFill/>
        </p:spPr>
        <p:txBody>
          <a:bodyPr wrap="square" rtlCol="0">
            <a:spAutoFit/>
          </a:bodyPr>
          <a:lstStyle/>
          <a:p>
            <a:pPr algn="l"/>
            <a:r>
              <a:rPr lang="en-IE" sz="1800" b="1" dirty="0">
                <a:solidFill>
                  <a:srgbClr val="FF0000"/>
                </a:solidFill>
              </a:rPr>
              <a:t>INTERNAL USE ONLY – DELETE FOR CUSTOMER</a:t>
            </a:r>
          </a:p>
        </p:txBody>
      </p:sp>
    </p:spTree>
    <p:extLst>
      <p:ext uri="{BB962C8B-B14F-4D97-AF65-F5344CB8AC3E}">
        <p14:creationId xmlns:p14="http://schemas.microsoft.com/office/powerpoint/2010/main" val="40813921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tro Break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099ED2A-F8F6-413A-A285-244E1F99E7D6}"/>
              </a:ext>
            </a:extLst>
          </p:cNvPr>
          <p:cNvSpPr/>
          <p:nvPr userDrawn="1"/>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10" name="Graphic 9">
            <a:extLst>
              <a:ext uri="{FF2B5EF4-FFF2-40B4-BE49-F238E27FC236}">
                <a16:creationId xmlns:a16="http://schemas.microsoft.com/office/drawing/2014/main" id="{211AC5FB-4110-4F04-B2F1-2D34082664D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19061" r="7086" b="1322"/>
          <a:stretch/>
        </p:blipFill>
        <p:spPr>
          <a:xfrm>
            <a:off x="3830254" y="0"/>
            <a:ext cx="8361746" cy="6858000"/>
          </a:xfrm>
          <a:prstGeom prst="rect">
            <a:avLst/>
          </a:prstGeom>
        </p:spPr>
      </p:pic>
      <p:sp>
        <p:nvSpPr>
          <p:cNvPr id="7" name="Title 3">
            <a:extLst>
              <a:ext uri="{FF2B5EF4-FFF2-40B4-BE49-F238E27FC236}">
                <a16:creationId xmlns:a16="http://schemas.microsoft.com/office/drawing/2014/main" id="{601B045C-802E-4344-9DC3-37C93BE37A59}"/>
              </a:ext>
            </a:extLst>
          </p:cNvPr>
          <p:cNvSpPr>
            <a:spLocks noGrp="1"/>
          </p:cNvSpPr>
          <p:nvPr>
            <p:ph type="title"/>
          </p:nvPr>
        </p:nvSpPr>
        <p:spPr>
          <a:xfrm>
            <a:off x="639555" y="2665026"/>
            <a:ext cx="5693153" cy="3381265"/>
          </a:xfrm>
        </p:spPr>
        <p:txBody>
          <a:bodyPr anchor="t">
            <a:normAutofit/>
          </a:bodyPr>
          <a:lstStyle>
            <a:lvl1pPr>
              <a:defRPr sz="6000">
                <a:solidFill>
                  <a:schemeClr val="tx1"/>
                </a:solidFill>
              </a:defRPr>
            </a:lvl1pPr>
          </a:lstStyle>
          <a:p>
            <a:endParaRPr lang="en-US" dirty="0"/>
          </a:p>
        </p:txBody>
      </p:sp>
    </p:spTree>
    <p:extLst>
      <p:ext uri="{BB962C8B-B14F-4D97-AF65-F5344CB8AC3E}">
        <p14:creationId xmlns:p14="http://schemas.microsoft.com/office/powerpoint/2010/main" val="3759820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tro Sidebar">
    <p:spTree>
      <p:nvGrpSpPr>
        <p:cNvPr id="1" name=""/>
        <p:cNvGrpSpPr/>
        <p:nvPr/>
      </p:nvGrpSpPr>
      <p:grpSpPr>
        <a:xfrm>
          <a:off x="0" y="0"/>
          <a:ext cx="0" cy="0"/>
          <a:chOff x="0" y="0"/>
          <a:chExt cx="0" cy="0"/>
        </a:xfrm>
      </p:grpSpPr>
      <p:sp>
        <p:nvSpPr>
          <p:cNvPr id="24" name="Title 3">
            <a:extLst>
              <a:ext uri="{FF2B5EF4-FFF2-40B4-BE49-F238E27FC236}">
                <a16:creationId xmlns:a16="http://schemas.microsoft.com/office/drawing/2014/main" id="{3699A206-ED55-4834-88E0-E62945722774}"/>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14" name="Graphic 13">
            <a:extLst>
              <a:ext uri="{FF2B5EF4-FFF2-40B4-BE49-F238E27FC236}">
                <a16:creationId xmlns:a16="http://schemas.microsoft.com/office/drawing/2014/main" id="{56165FF9-63D8-468C-B082-5722274A530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5" name="Slide Number Placeholder 2">
            <a:extLst>
              <a:ext uri="{FF2B5EF4-FFF2-40B4-BE49-F238E27FC236}">
                <a16:creationId xmlns:a16="http://schemas.microsoft.com/office/drawing/2014/main" id="{28238D3C-220D-4ADC-A334-3CD3DF2F653F}"/>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8" name="Slide Number Placeholder 2">
            <a:extLst>
              <a:ext uri="{FF2B5EF4-FFF2-40B4-BE49-F238E27FC236}">
                <a16:creationId xmlns:a16="http://schemas.microsoft.com/office/drawing/2014/main" id="{E7FD70D0-5370-4F31-B286-E64036E6759A}"/>
              </a:ext>
            </a:extLst>
          </p:cNvPr>
          <p:cNvSpPr txBox="1">
            <a:spLocks/>
          </p:cNvSpPr>
          <p:nvPr userDrawn="1"/>
        </p:nvSpPr>
        <p:spPr>
          <a:xfrm>
            <a:off x="627190" y="64589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751734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Intro Sideba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FA24AD8-54F8-4C4F-8327-7EB7E5D2728A}"/>
              </a:ext>
            </a:extLst>
          </p:cNvPr>
          <p:cNvSpPr/>
          <p:nvPr userDrawn="1"/>
        </p:nvSpPr>
        <p:spPr>
          <a:xfrm>
            <a:off x="1" y="1260346"/>
            <a:ext cx="6050756" cy="5597654"/>
          </a:xfrm>
          <a:prstGeom prst="rect">
            <a:avLst/>
          </a:prstGeom>
          <a:gradFill>
            <a:gsLst>
              <a:gs pos="71000">
                <a:schemeClr val="accent2"/>
              </a:gs>
              <a:gs pos="100000">
                <a:schemeClr val="accent2"/>
              </a:gs>
              <a:gs pos="100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1350" dirty="0">
              <a:solidFill>
                <a:schemeClr val="lt1"/>
              </a:solidFill>
            </a:endParaRPr>
          </a:p>
        </p:txBody>
      </p:sp>
      <p:pic>
        <p:nvPicPr>
          <p:cNvPr id="23" name="Graphic 22">
            <a:extLst>
              <a:ext uri="{FF2B5EF4-FFF2-40B4-BE49-F238E27FC236}">
                <a16:creationId xmlns:a16="http://schemas.microsoft.com/office/drawing/2014/main" id="{B6EEBB1A-9EAB-4D61-B414-F663F780743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7513" r="19198" b="133"/>
          <a:stretch/>
        </p:blipFill>
        <p:spPr>
          <a:xfrm>
            <a:off x="773270" y="1265002"/>
            <a:ext cx="5277486" cy="4975364"/>
          </a:xfrm>
          <a:prstGeom prst="rect">
            <a:avLst/>
          </a:prstGeom>
        </p:spPr>
      </p:pic>
      <p:sp>
        <p:nvSpPr>
          <p:cNvPr id="24" name="Title 3">
            <a:extLst>
              <a:ext uri="{FF2B5EF4-FFF2-40B4-BE49-F238E27FC236}">
                <a16:creationId xmlns:a16="http://schemas.microsoft.com/office/drawing/2014/main" id="{3699A206-ED55-4834-88E0-E62945722774}"/>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14" name="Graphic 13">
            <a:extLst>
              <a:ext uri="{FF2B5EF4-FFF2-40B4-BE49-F238E27FC236}">
                <a16:creationId xmlns:a16="http://schemas.microsoft.com/office/drawing/2014/main" id="{56165FF9-63D8-468C-B082-5722274A530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
        <p:nvSpPr>
          <p:cNvPr id="15" name="Slide Number Placeholder 2">
            <a:extLst>
              <a:ext uri="{FF2B5EF4-FFF2-40B4-BE49-F238E27FC236}">
                <a16:creationId xmlns:a16="http://schemas.microsoft.com/office/drawing/2014/main" id="{28238D3C-220D-4ADC-A334-3CD3DF2F653F}"/>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6" name="Content Placeholder 2">
            <a:extLst>
              <a:ext uri="{FF2B5EF4-FFF2-40B4-BE49-F238E27FC236}">
                <a16:creationId xmlns:a16="http://schemas.microsoft.com/office/drawing/2014/main" id="{D1C3D6C1-F702-4B99-BA7D-E4A53E97C520}"/>
              </a:ext>
            </a:extLst>
          </p:cNvPr>
          <p:cNvSpPr>
            <a:spLocks noGrp="1"/>
          </p:cNvSpPr>
          <p:nvPr>
            <p:ph sz="quarter" idx="10"/>
          </p:nvPr>
        </p:nvSpPr>
        <p:spPr>
          <a:xfrm>
            <a:off x="610362" y="1471540"/>
            <a:ext cx="5143500" cy="4588002"/>
          </a:xfrm>
        </p:spPr>
        <p:txBody>
          <a:bodyPr/>
          <a:lstStyle>
            <a:lvl1pPr>
              <a:defRPr sz="2100" b="1">
                <a:solidFill>
                  <a:schemeClr val="bg1"/>
                </a:solidFill>
              </a:defRPr>
            </a:lvl1pPr>
            <a:lvl2pPr>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468568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New Blank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84377A62-CDEF-4B5B-A987-F435EE746B1E}"/>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9" name="Graphic 8">
            <a:extLst>
              <a:ext uri="{FF2B5EF4-FFF2-40B4-BE49-F238E27FC236}">
                <a16:creationId xmlns:a16="http://schemas.microsoft.com/office/drawing/2014/main" id="{78BD4C85-56EA-4050-9AC8-6D64EC2F722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0" name="Slide Number Placeholder 2">
            <a:extLst>
              <a:ext uri="{FF2B5EF4-FFF2-40B4-BE49-F238E27FC236}">
                <a16:creationId xmlns:a16="http://schemas.microsoft.com/office/drawing/2014/main" id="{F4A9A58C-EB24-41FE-9802-C1241B9E6822}"/>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3732413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88">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84377A62-CDEF-4B5B-A987-F435EE746B1E}"/>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9" name="Graphic 8">
            <a:extLst>
              <a:ext uri="{FF2B5EF4-FFF2-40B4-BE49-F238E27FC236}">
                <a16:creationId xmlns:a16="http://schemas.microsoft.com/office/drawing/2014/main" id="{78BD4C85-56EA-4050-9AC8-6D64EC2F722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581025" y="6227201"/>
            <a:ext cx="644785" cy="260942"/>
          </a:xfrm>
          <a:prstGeom prst="rect">
            <a:avLst/>
          </a:prstGeom>
        </p:spPr>
      </p:pic>
    </p:spTree>
    <p:extLst>
      <p:ext uri="{BB962C8B-B14F-4D97-AF65-F5344CB8AC3E}">
        <p14:creationId xmlns:p14="http://schemas.microsoft.com/office/powerpoint/2010/main" val="4194775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88">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2" name="Title 1">
            <a:extLst>
              <a:ext uri="{FF2B5EF4-FFF2-40B4-BE49-F238E27FC236}">
                <a16:creationId xmlns:a16="http://schemas.microsoft.com/office/drawing/2014/main" id="{372217C9-7F1B-462A-BB8B-56381B2980D2}"/>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11" name="Graphic 10">
            <a:extLst>
              <a:ext uri="{FF2B5EF4-FFF2-40B4-BE49-F238E27FC236}">
                <a16:creationId xmlns:a16="http://schemas.microsoft.com/office/drawing/2014/main" id="{5411D4AB-08FE-4776-BA87-96FB8CCFA1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3" name="Slide Number Placeholder 2">
            <a:extLst>
              <a:ext uri="{FF2B5EF4-FFF2-40B4-BE49-F238E27FC236}">
                <a16:creationId xmlns:a16="http://schemas.microsoft.com/office/drawing/2014/main" id="{9CCC72C5-479D-4FA8-ABF3-D7EEA038225C}"/>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3188076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0"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5"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
            <a:extLst>
              <a:ext uri="{FF2B5EF4-FFF2-40B4-BE49-F238E27FC236}">
                <a16:creationId xmlns:a16="http://schemas.microsoft.com/office/drawing/2014/main" id="{04B02E46-5BB4-4EBC-9439-B5626CA0B9D1}"/>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17" name="Graphic 16">
            <a:extLst>
              <a:ext uri="{FF2B5EF4-FFF2-40B4-BE49-F238E27FC236}">
                <a16:creationId xmlns:a16="http://schemas.microsoft.com/office/drawing/2014/main" id="{EC7B90FD-3D81-4A24-AE19-D7CF48EFC6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8" name="Slide Number Placeholder 2">
            <a:extLst>
              <a:ext uri="{FF2B5EF4-FFF2-40B4-BE49-F238E27FC236}">
                <a16:creationId xmlns:a16="http://schemas.microsoft.com/office/drawing/2014/main" id="{14B7043B-5FC5-40CA-B84B-97DDE5A2164B}"/>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183336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39555" y="1573833"/>
            <a:ext cx="4987799"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569956" y="1573833"/>
            <a:ext cx="4977193" cy="427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a:t>Click to edit your title</a:t>
            </a:r>
          </a:p>
        </p:txBody>
      </p:sp>
    </p:spTree>
    <p:extLst>
      <p:ext uri="{BB962C8B-B14F-4D97-AF65-F5344CB8AC3E}">
        <p14:creationId xmlns:p14="http://schemas.microsoft.com/office/powerpoint/2010/main" val="2137153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sp>
        <p:nvSpPr>
          <p:cNvPr id="13" name="Title 1">
            <a:extLst>
              <a:ext uri="{FF2B5EF4-FFF2-40B4-BE49-F238E27FC236}">
                <a16:creationId xmlns:a16="http://schemas.microsoft.com/office/drawing/2014/main" id="{51E4D2D1-22BF-43FC-AC87-C37FE8B44464}"/>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20" name="Graphic 19">
            <a:extLst>
              <a:ext uri="{FF2B5EF4-FFF2-40B4-BE49-F238E27FC236}">
                <a16:creationId xmlns:a16="http://schemas.microsoft.com/office/drawing/2014/main" id="{FC914F7B-21A3-457A-9CB3-1723C383AD6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21" name="Slide Number Placeholder 2">
            <a:extLst>
              <a:ext uri="{FF2B5EF4-FFF2-40B4-BE49-F238E27FC236}">
                <a16:creationId xmlns:a16="http://schemas.microsoft.com/office/drawing/2014/main" id="{BE9EC010-F36F-4460-8268-9C149F65A8B3}"/>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4290094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apabilities Breaker">
    <p:bg>
      <p:bgPr>
        <a:gradFill>
          <a:gsLst>
            <a:gs pos="50000">
              <a:schemeClr val="accent1"/>
            </a:gs>
            <a:gs pos="100000">
              <a:schemeClr val="accent1"/>
            </a:gs>
            <a:gs pos="0">
              <a:schemeClr val="accent1">
                <a:lumMod val="50000"/>
              </a:schemeClr>
            </a:gs>
          </a:gsLst>
          <a:lin ang="2700000" scaled="1"/>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099ED2A-F8F6-413A-A285-244E1F99E7D6}"/>
              </a:ext>
            </a:extLst>
          </p:cNvPr>
          <p:cNvSpPr/>
          <p:nvPr userDrawn="1"/>
        </p:nvSpPr>
        <p:spPr bwMode="hidden">
          <a:xfrm>
            <a:off x="0" y="0"/>
            <a:ext cx="12192000" cy="6858000"/>
          </a:xfrm>
          <a:prstGeom prst="rect">
            <a:avLst/>
          </a:prstGeom>
          <a:gradFill>
            <a:gsLst>
              <a:gs pos="50000">
                <a:schemeClr val="accent1"/>
              </a:gs>
              <a:gs pos="100000">
                <a:schemeClr val="accent1"/>
              </a:gs>
              <a:gs pos="0">
                <a:schemeClr val="accent1">
                  <a:lumMod val="5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2" name="Graphic 1">
            <a:extLst>
              <a:ext uri="{FF2B5EF4-FFF2-40B4-BE49-F238E27FC236}">
                <a16:creationId xmlns:a16="http://schemas.microsoft.com/office/drawing/2014/main" id="{64ABDCB9-42EA-41BA-8ECB-6D81C606D0D4}"/>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19061" r="7086" b="1322"/>
          <a:stretch/>
        </p:blipFill>
        <p:spPr>
          <a:xfrm>
            <a:off x="3830254" y="0"/>
            <a:ext cx="8361746" cy="6858000"/>
          </a:xfrm>
          <a:prstGeom prst="rect">
            <a:avLst/>
          </a:prstGeom>
        </p:spPr>
      </p:pic>
      <p:sp>
        <p:nvSpPr>
          <p:cNvPr id="7" name="Title 3">
            <a:extLst>
              <a:ext uri="{FF2B5EF4-FFF2-40B4-BE49-F238E27FC236}">
                <a16:creationId xmlns:a16="http://schemas.microsoft.com/office/drawing/2014/main" id="{F6D1AFB6-071F-4179-9D63-A77F66DB86FC}"/>
              </a:ext>
            </a:extLst>
          </p:cNvPr>
          <p:cNvSpPr>
            <a:spLocks noGrp="1"/>
          </p:cNvSpPr>
          <p:nvPr>
            <p:ph type="title"/>
          </p:nvPr>
        </p:nvSpPr>
        <p:spPr>
          <a:xfrm>
            <a:off x="639555" y="2665026"/>
            <a:ext cx="5693153" cy="3381265"/>
          </a:xfrm>
        </p:spPr>
        <p:txBody>
          <a:bodyPr anchor="t">
            <a:normAutofit/>
          </a:bodyPr>
          <a:lstStyle>
            <a:lvl1pPr>
              <a:defRPr sz="6000">
                <a:solidFill>
                  <a:schemeClr val="tx1"/>
                </a:solidFill>
              </a:defRPr>
            </a:lvl1pPr>
          </a:lstStyle>
          <a:p>
            <a:endParaRPr lang="en-US" dirty="0"/>
          </a:p>
        </p:txBody>
      </p:sp>
    </p:spTree>
    <p:extLst>
      <p:ext uri="{BB962C8B-B14F-4D97-AF65-F5344CB8AC3E}">
        <p14:creationId xmlns:p14="http://schemas.microsoft.com/office/powerpoint/2010/main" val="1529784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apabilities Sidebar">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E226CAEB-A87C-4077-9BE8-CD1F8FB34430}"/>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15" name="Rectangle 14">
            <a:extLst>
              <a:ext uri="{FF2B5EF4-FFF2-40B4-BE49-F238E27FC236}">
                <a16:creationId xmlns:a16="http://schemas.microsoft.com/office/drawing/2014/main" id="{904EA661-4DCD-4105-9E90-341412AB6D9B}"/>
              </a:ext>
            </a:extLst>
          </p:cNvPr>
          <p:cNvSpPr/>
          <p:nvPr userDrawn="1"/>
        </p:nvSpPr>
        <p:spPr>
          <a:xfrm>
            <a:off x="1" y="1260346"/>
            <a:ext cx="6050756" cy="5597654"/>
          </a:xfrm>
          <a:prstGeom prst="rect">
            <a:avLst/>
          </a:prstGeom>
          <a:gradFill>
            <a:gsLst>
              <a:gs pos="50000">
                <a:schemeClr val="accent1"/>
              </a:gs>
              <a:gs pos="100000">
                <a:schemeClr val="accent1"/>
              </a:gs>
              <a:gs pos="1000">
                <a:schemeClr val="accent1">
                  <a:lumMod val="5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1350" dirty="0">
              <a:solidFill>
                <a:schemeClr val="lt1"/>
              </a:solidFill>
            </a:endParaRPr>
          </a:p>
        </p:txBody>
      </p:sp>
      <p:pic>
        <p:nvPicPr>
          <p:cNvPr id="16" name="Graphic 15">
            <a:extLst>
              <a:ext uri="{FF2B5EF4-FFF2-40B4-BE49-F238E27FC236}">
                <a16:creationId xmlns:a16="http://schemas.microsoft.com/office/drawing/2014/main" id="{B966469C-775E-476C-B198-7307F0D7051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7513" r="19198" b="133"/>
          <a:stretch/>
        </p:blipFill>
        <p:spPr>
          <a:xfrm>
            <a:off x="773270" y="1268127"/>
            <a:ext cx="5277486" cy="4975364"/>
          </a:xfrm>
          <a:prstGeom prst="rect">
            <a:avLst/>
          </a:prstGeom>
        </p:spPr>
      </p:pic>
      <p:pic>
        <p:nvPicPr>
          <p:cNvPr id="10" name="Graphic 9">
            <a:extLst>
              <a:ext uri="{FF2B5EF4-FFF2-40B4-BE49-F238E27FC236}">
                <a16:creationId xmlns:a16="http://schemas.microsoft.com/office/drawing/2014/main" id="{39284C15-6C14-4D67-8F8A-DB48EC210B9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
        <p:nvSpPr>
          <p:cNvPr id="11" name="Slide Number Placeholder 2">
            <a:extLst>
              <a:ext uri="{FF2B5EF4-FFF2-40B4-BE49-F238E27FC236}">
                <a16:creationId xmlns:a16="http://schemas.microsoft.com/office/drawing/2014/main" id="{97AC4AAB-675A-49DB-867B-8C07722BDE69}"/>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2" name="Content Placeholder 2">
            <a:extLst>
              <a:ext uri="{FF2B5EF4-FFF2-40B4-BE49-F238E27FC236}">
                <a16:creationId xmlns:a16="http://schemas.microsoft.com/office/drawing/2014/main" id="{58D1077B-5DCD-411B-A827-CF44FE98C99C}"/>
              </a:ext>
            </a:extLst>
          </p:cNvPr>
          <p:cNvSpPr>
            <a:spLocks noGrp="1"/>
          </p:cNvSpPr>
          <p:nvPr>
            <p:ph sz="quarter" idx="10"/>
          </p:nvPr>
        </p:nvSpPr>
        <p:spPr>
          <a:xfrm>
            <a:off x="610362" y="1471540"/>
            <a:ext cx="5143500" cy="4588002"/>
          </a:xfrm>
        </p:spPr>
        <p:txBody>
          <a:bodyPr/>
          <a:lstStyle>
            <a:lvl1pPr>
              <a:defRPr sz="2100" b="1">
                <a:solidFill>
                  <a:schemeClr val="bg1"/>
                </a:solidFill>
              </a:defRPr>
            </a:lvl1pPr>
            <a:lvl2pPr>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10942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PrePackaged Systems Break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099ED2A-F8F6-413A-A285-244E1F99E7D6}"/>
              </a:ext>
            </a:extLst>
          </p:cNvPr>
          <p:cNvSpPr/>
          <p:nvPr userDrawn="1"/>
        </p:nvSpPr>
        <p:spPr bwMode="hidden">
          <a:xfrm>
            <a:off x="0" y="0"/>
            <a:ext cx="12192000" cy="6858000"/>
          </a:xfrm>
          <a:prstGeom prst="rect">
            <a:avLst/>
          </a:prstGeom>
          <a:gradFill>
            <a:gsLst>
              <a:gs pos="55000">
                <a:schemeClr val="accent3"/>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4" name="Title 3">
            <a:extLst>
              <a:ext uri="{FF2B5EF4-FFF2-40B4-BE49-F238E27FC236}">
                <a16:creationId xmlns:a16="http://schemas.microsoft.com/office/drawing/2014/main" id="{732A62C7-DE6E-41CE-BE44-090856989E47}"/>
              </a:ext>
            </a:extLst>
          </p:cNvPr>
          <p:cNvSpPr>
            <a:spLocks noGrp="1"/>
          </p:cNvSpPr>
          <p:nvPr>
            <p:ph type="title"/>
          </p:nvPr>
        </p:nvSpPr>
        <p:spPr>
          <a:xfrm>
            <a:off x="639555" y="2665026"/>
            <a:ext cx="5693153" cy="3381265"/>
          </a:xfrm>
        </p:spPr>
        <p:txBody>
          <a:bodyPr anchor="t">
            <a:normAutofit/>
          </a:bodyPr>
          <a:lstStyle>
            <a:lvl1pPr>
              <a:defRPr sz="6000">
                <a:solidFill>
                  <a:schemeClr val="tx1"/>
                </a:solidFill>
              </a:defRPr>
            </a:lvl1pPr>
          </a:lstStyle>
          <a:p>
            <a:endParaRPr lang="en-US" dirty="0"/>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11" name="Graphic 10">
            <a:extLst>
              <a:ext uri="{FF2B5EF4-FFF2-40B4-BE49-F238E27FC236}">
                <a16:creationId xmlns:a16="http://schemas.microsoft.com/office/drawing/2014/main" id="{97A607F4-FDF8-4B04-9AA0-F5ECBC06507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19061" r="7086" b="1322"/>
          <a:stretch/>
        </p:blipFill>
        <p:spPr>
          <a:xfrm>
            <a:off x="3830254" y="0"/>
            <a:ext cx="8361746" cy="6858000"/>
          </a:xfrm>
          <a:prstGeom prst="rect">
            <a:avLst/>
          </a:prstGeom>
        </p:spPr>
      </p:pic>
    </p:spTree>
    <p:extLst>
      <p:ext uri="{BB962C8B-B14F-4D97-AF65-F5344CB8AC3E}">
        <p14:creationId xmlns:p14="http://schemas.microsoft.com/office/powerpoint/2010/main" val="316240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repackaged Systems Sideba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B16928D-0000-48F3-B3CB-3DDA88B0D221}"/>
              </a:ext>
            </a:extLst>
          </p:cNvPr>
          <p:cNvSpPr/>
          <p:nvPr userDrawn="1"/>
        </p:nvSpPr>
        <p:spPr>
          <a:xfrm>
            <a:off x="1" y="1260346"/>
            <a:ext cx="6050756" cy="5597654"/>
          </a:xfrm>
          <a:prstGeom prst="rect">
            <a:avLst/>
          </a:prstGeom>
          <a:gradFill>
            <a:gsLst>
              <a:gs pos="61000">
                <a:schemeClr val="accent3"/>
              </a:gs>
              <a:gs pos="100000">
                <a:schemeClr val="accent3"/>
              </a:gs>
              <a:gs pos="100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1350" dirty="0">
              <a:solidFill>
                <a:schemeClr val="lt1"/>
              </a:solidFill>
            </a:endParaRPr>
          </a:p>
        </p:txBody>
      </p:sp>
      <p:pic>
        <p:nvPicPr>
          <p:cNvPr id="15" name="Graphic 14">
            <a:extLst>
              <a:ext uri="{FF2B5EF4-FFF2-40B4-BE49-F238E27FC236}">
                <a16:creationId xmlns:a16="http://schemas.microsoft.com/office/drawing/2014/main" id="{3B0F91CC-F1F2-4795-9B45-89109E56CB1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5935" r="19198" b="133"/>
          <a:stretch/>
        </p:blipFill>
        <p:spPr>
          <a:xfrm>
            <a:off x="773270" y="1293147"/>
            <a:ext cx="5277486" cy="5070659"/>
          </a:xfrm>
          <a:prstGeom prst="rect">
            <a:avLst/>
          </a:prstGeom>
        </p:spPr>
      </p:pic>
      <p:sp>
        <p:nvSpPr>
          <p:cNvPr id="16" name="Title 3">
            <a:extLst>
              <a:ext uri="{FF2B5EF4-FFF2-40B4-BE49-F238E27FC236}">
                <a16:creationId xmlns:a16="http://schemas.microsoft.com/office/drawing/2014/main" id="{578594F6-4EBA-4AAD-A7FB-AD032C7CF56A}"/>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10" name="Graphic 9">
            <a:extLst>
              <a:ext uri="{FF2B5EF4-FFF2-40B4-BE49-F238E27FC236}">
                <a16:creationId xmlns:a16="http://schemas.microsoft.com/office/drawing/2014/main" id="{7F00C839-9820-4E96-A03F-9A47F9889F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
        <p:nvSpPr>
          <p:cNvPr id="11" name="Slide Number Placeholder 2">
            <a:extLst>
              <a:ext uri="{FF2B5EF4-FFF2-40B4-BE49-F238E27FC236}">
                <a16:creationId xmlns:a16="http://schemas.microsoft.com/office/drawing/2014/main" id="{15078CDC-8FE5-4D1C-9C00-AE4358F99100}"/>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2" name="Content Placeholder 2">
            <a:extLst>
              <a:ext uri="{FF2B5EF4-FFF2-40B4-BE49-F238E27FC236}">
                <a16:creationId xmlns:a16="http://schemas.microsoft.com/office/drawing/2014/main" id="{9825F0A0-88AC-4CA8-A72F-7FC68227D06D}"/>
              </a:ext>
            </a:extLst>
          </p:cNvPr>
          <p:cNvSpPr>
            <a:spLocks noGrp="1"/>
          </p:cNvSpPr>
          <p:nvPr>
            <p:ph sz="quarter" idx="10"/>
          </p:nvPr>
        </p:nvSpPr>
        <p:spPr>
          <a:xfrm>
            <a:off x="610362" y="1471540"/>
            <a:ext cx="5143500" cy="4588002"/>
          </a:xfrm>
        </p:spPr>
        <p:txBody>
          <a:bodyPr/>
          <a:lstStyle>
            <a:lvl1pPr>
              <a:defRPr sz="2100" b="1">
                <a:solidFill>
                  <a:schemeClr val="bg1"/>
                </a:solidFill>
              </a:defRPr>
            </a:lvl1pPr>
            <a:lvl2pPr>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0867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spirations Breaker">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099ED2A-F8F6-413A-A285-244E1F99E7D6}"/>
              </a:ext>
            </a:extLst>
          </p:cNvPr>
          <p:cNvSpPr/>
          <p:nvPr userDrawn="1"/>
        </p:nvSpPr>
        <p:spPr bwMode="hidden">
          <a:xfrm>
            <a:off x="0" y="0"/>
            <a:ext cx="12192000" cy="6858000"/>
          </a:xfrm>
          <a:prstGeom prst="rect">
            <a:avLst/>
          </a:prstGeom>
          <a:gradFill>
            <a:gsLst>
              <a:gs pos="50000">
                <a:srgbClr val="F1B52C"/>
              </a:gs>
              <a:gs pos="100000">
                <a:srgbClr val="F1B52C"/>
              </a:gs>
              <a:gs pos="0">
                <a:srgbClr val="CE6D28"/>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10" name="Graphic 9">
            <a:extLst>
              <a:ext uri="{FF2B5EF4-FFF2-40B4-BE49-F238E27FC236}">
                <a16:creationId xmlns:a16="http://schemas.microsoft.com/office/drawing/2014/main" id="{2F7AA557-1621-4030-8BCE-E22D6249B8DA}"/>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19061" r="7086" b="1322"/>
          <a:stretch/>
        </p:blipFill>
        <p:spPr>
          <a:xfrm>
            <a:off x="3830254" y="0"/>
            <a:ext cx="8361746" cy="6858000"/>
          </a:xfrm>
          <a:prstGeom prst="rect">
            <a:avLst/>
          </a:prstGeom>
        </p:spPr>
      </p:pic>
      <p:sp>
        <p:nvSpPr>
          <p:cNvPr id="7" name="Title 3">
            <a:extLst>
              <a:ext uri="{FF2B5EF4-FFF2-40B4-BE49-F238E27FC236}">
                <a16:creationId xmlns:a16="http://schemas.microsoft.com/office/drawing/2014/main" id="{ED9413F2-2E02-4219-8923-759C59E5E650}"/>
              </a:ext>
            </a:extLst>
          </p:cNvPr>
          <p:cNvSpPr>
            <a:spLocks noGrp="1"/>
          </p:cNvSpPr>
          <p:nvPr>
            <p:ph type="title"/>
          </p:nvPr>
        </p:nvSpPr>
        <p:spPr>
          <a:xfrm>
            <a:off x="639555" y="2665026"/>
            <a:ext cx="5693153" cy="3381265"/>
          </a:xfrm>
        </p:spPr>
        <p:txBody>
          <a:bodyPr anchor="t">
            <a:normAutofit/>
          </a:bodyPr>
          <a:lstStyle>
            <a:lvl1pPr>
              <a:defRPr sz="6000">
                <a:solidFill>
                  <a:schemeClr val="tx1"/>
                </a:solidFill>
              </a:defRPr>
            </a:lvl1pPr>
          </a:lstStyle>
          <a:p>
            <a:endParaRPr lang="en-US" dirty="0"/>
          </a:p>
        </p:txBody>
      </p:sp>
    </p:spTree>
    <p:extLst>
      <p:ext uri="{BB962C8B-B14F-4D97-AF65-F5344CB8AC3E}">
        <p14:creationId xmlns:p14="http://schemas.microsoft.com/office/powerpoint/2010/main" val="2998273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spirations Sidebar">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F0DDD8A3-5C77-4158-B451-518F74BB0C09}"/>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19" name="Rectangle 18">
            <a:extLst>
              <a:ext uri="{FF2B5EF4-FFF2-40B4-BE49-F238E27FC236}">
                <a16:creationId xmlns:a16="http://schemas.microsoft.com/office/drawing/2014/main" id="{D8E239EB-FEA4-42D2-9E81-C54854A15828}"/>
              </a:ext>
            </a:extLst>
          </p:cNvPr>
          <p:cNvSpPr/>
          <p:nvPr userDrawn="1"/>
        </p:nvSpPr>
        <p:spPr>
          <a:xfrm>
            <a:off x="1" y="1260346"/>
            <a:ext cx="6050756" cy="5597654"/>
          </a:xfrm>
          <a:prstGeom prst="rect">
            <a:avLst/>
          </a:prstGeom>
          <a:gradFill>
            <a:gsLst>
              <a:gs pos="84000">
                <a:srgbClr val="F1B52C"/>
              </a:gs>
              <a:gs pos="1000">
                <a:srgbClr val="CE6D28"/>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1350" dirty="0">
              <a:solidFill>
                <a:schemeClr val="lt1"/>
              </a:solidFill>
            </a:endParaRPr>
          </a:p>
        </p:txBody>
      </p:sp>
      <p:pic>
        <p:nvPicPr>
          <p:cNvPr id="20" name="Graphic 19">
            <a:extLst>
              <a:ext uri="{FF2B5EF4-FFF2-40B4-BE49-F238E27FC236}">
                <a16:creationId xmlns:a16="http://schemas.microsoft.com/office/drawing/2014/main" id="{BE6D1D49-3437-451F-BCE2-04370783D1D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7513" r="19198" b="133"/>
          <a:stretch/>
        </p:blipFill>
        <p:spPr>
          <a:xfrm>
            <a:off x="773270" y="1268127"/>
            <a:ext cx="5277486" cy="4975364"/>
          </a:xfrm>
          <a:prstGeom prst="rect">
            <a:avLst/>
          </a:prstGeom>
        </p:spPr>
      </p:pic>
      <p:pic>
        <p:nvPicPr>
          <p:cNvPr id="12" name="Graphic 11">
            <a:extLst>
              <a:ext uri="{FF2B5EF4-FFF2-40B4-BE49-F238E27FC236}">
                <a16:creationId xmlns:a16="http://schemas.microsoft.com/office/drawing/2014/main" id="{046CFC58-A81D-4651-9F37-C1DB1852A96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
        <p:nvSpPr>
          <p:cNvPr id="13" name="Slide Number Placeholder 2">
            <a:extLst>
              <a:ext uri="{FF2B5EF4-FFF2-40B4-BE49-F238E27FC236}">
                <a16:creationId xmlns:a16="http://schemas.microsoft.com/office/drawing/2014/main" id="{DDCFE7FF-0739-4C54-8C41-108581363514}"/>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4" name="Content Placeholder 2">
            <a:extLst>
              <a:ext uri="{FF2B5EF4-FFF2-40B4-BE49-F238E27FC236}">
                <a16:creationId xmlns:a16="http://schemas.microsoft.com/office/drawing/2014/main" id="{6ED9D10D-A203-4399-86AA-43E89581F24A}"/>
              </a:ext>
            </a:extLst>
          </p:cNvPr>
          <p:cNvSpPr>
            <a:spLocks noGrp="1"/>
          </p:cNvSpPr>
          <p:nvPr>
            <p:ph sz="quarter" idx="10"/>
          </p:nvPr>
        </p:nvSpPr>
        <p:spPr>
          <a:xfrm>
            <a:off x="610362" y="1471540"/>
            <a:ext cx="5143500" cy="4588002"/>
          </a:xfrm>
        </p:spPr>
        <p:txBody>
          <a:bodyPr/>
          <a:lstStyle>
            <a:lvl1pPr>
              <a:defRPr sz="2100" b="1">
                <a:solidFill>
                  <a:schemeClr val="bg1"/>
                </a:solidFill>
              </a:defRPr>
            </a:lvl1pPr>
            <a:lvl2pPr>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764705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ase Study Sectio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099ED2A-F8F6-413A-A285-244E1F99E7D6}"/>
              </a:ext>
            </a:extLst>
          </p:cNvPr>
          <p:cNvSpPr/>
          <p:nvPr userDrawn="1"/>
        </p:nvSpPr>
        <p:spPr bwMode="hidden">
          <a:xfrm>
            <a:off x="0" y="0"/>
            <a:ext cx="12192000" cy="6858000"/>
          </a:xfrm>
          <a:prstGeom prst="rect">
            <a:avLst/>
          </a:prstGeom>
          <a:gradFill>
            <a:gsLst>
              <a:gs pos="55000">
                <a:schemeClr val="accent6"/>
              </a:gs>
              <a:gs pos="100000">
                <a:schemeClr val="accent6"/>
              </a:gs>
              <a:gs pos="0">
                <a:schemeClr val="accent6">
                  <a:lumMod val="5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11" name="Graphic 10">
            <a:extLst>
              <a:ext uri="{FF2B5EF4-FFF2-40B4-BE49-F238E27FC236}">
                <a16:creationId xmlns:a16="http://schemas.microsoft.com/office/drawing/2014/main" id="{97A607F4-FDF8-4B04-9AA0-F5ECBC06507D}"/>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19061" r="7086" b="1322"/>
          <a:stretch/>
        </p:blipFill>
        <p:spPr>
          <a:xfrm>
            <a:off x="3830254" y="0"/>
            <a:ext cx="8361746" cy="6858000"/>
          </a:xfrm>
          <a:prstGeom prst="rect">
            <a:avLst/>
          </a:prstGeom>
        </p:spPr>
      </p:pic>
      <p:sp>
        <p:nvSpPr>
          <p:cNvPr id="7" name="Title 3">
            <a:extLst>
              <a:ext uri="{FF2B5EF4-FFF2-40B4-BE49-F238E27FC236}">
                <a16:creationId xmlns:a16="http://schemas.microsoft.com/office/drawing/2014/main" id="{7B35AB36-67B4-4B37-BB79-D23BE9604B96}"/>
              </a:ext>
            </a:extLst>
          </p:cNvPr>
          <p:cNvSpPr>
            <a:spLocks noGrp="1"/>
          </p:cNvSpPr>
          <p:nvPr>
            <p:ph type="title"/>
          </p:nvPr>
        </p:nvSpPr>
        <p:spPr>
          <a:xfrm>
            <a:off x="639555" y="2665026"/>
            <a:ext cx="5693153" cy="3381265"/>
          </a:xfrm>
        </p:spPr>
        <p:txBody>
          <a:bodyPr anchor="t">
            <a:normAutofit/>
          </a:bodyPr>
          <a:lstStyle>
            <a:lvl1pPr>
              <a:defRPr sz="6000">
                <a:solidFill>
                  <a:schemeClr val="tx1"/>
                </a:solidFill>
              </a:defRPr>
            </a:lvl1pPr>
          </a:lstStyle>
          <a:p>
            <a:endParaRPr lang="en-US" dirty="0"/>
          </a:p>
        </p:txBody>
      </p:sp>
    </p:spTree>
    <p:extLst>
      <p:ext uri="{BB962C8B-B14F-4D97-AF65-F5344CB8AC3E}">
        <p14:creationId xmlns:p14="http://schemas.microsoft.com/office/powerpoint/2010/main" val="2029927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ase Study Sidebar">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44C5C2F-42E6-4725-B86F-A09E22654A33}"/>
              </a:ext>
            </a:extLst>
          </p:cNvPr>
          <p:cNvSpPr/>
          <p:nvPr userDrawn="1"/>
        </p:nvSpPr>
        <p:spPr>
          <a:xfrm>
            <a:off x="1" y="1260346"/>
            <a:ext cx="6050756" cy="5597654"/>
          </a:xfrm>
          <a:prstGeom prst="rect">
            <a:avLst/>
          </a:prstGeom>
          <a:gradFill>
            <a:gsLst>
              <a:gs pos="50000">
                <a:schemeClr val="accent6"/>
              </a:gs>
              <a:gs pos="100000">
                <a:schemeClr val="accent6"/>
              </a:gs>
              <a:gs pos="1000">
                <a:schemeClr val="accent6">
                  <a:lumMod val="5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1350" dirty="0">
              <a:solidFill>
                <a:schemeClr val="lt1"/>
              </a:solidFill>
            </a:endParaRPr>
          </a:p>
        </p:txBody>
      </p:sp>
      <p:pic>
        <p:nvPicPr>
          <p:cNvPr id="17" name="Graphic 16">
            <a:extLst>
              <a:ext uri="{FF2B5EF4-FFF2-40B4-BE49-F238E27FC236}">
                <a16:creationId xmlns:a16="http://schemas.microsoft.com/office/drawing/2014/main" id="{CB6184AF-155A-43D8-80AA-877A621B4F0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7513" r="19198" b="133"/>
          <a:stretch/>
        </p:blipFill>
        <p:spPr>
          <a:xfrm>
            <a:off x="773270" y="1268127"/>
            <a:ext cx="5277486" cy="4975364"/>
          </a:xfrm>
          <a:prstGeom prst="rect">
            <a:avLst/>
          </a:prstGeom>
        </p:spPr>
      </p:pic>
      <p:sp>
        <p:nvSpPr>
          <p:cNvPr id="18" name="Title 3">
            <a:extLst>
              <a:ext uri="{FF2B5EF4-FFF2-40B4-BE49-F238E27FC236}">
                <a16:creationId xmlns:a16="http://schemas.microsoft.com/office/drawing/2014/main" id="{DE783D9F-4F63-4FDE-A233-98D72879AE41}"/>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12" name="Content Placeholder 2">
            <a:extLst>
              <a:ext uri="{FF2B5EF4-FFF2-40B4-BE49-F238E27FC236}">
                <a16:creationId xmlns:a16="http://schemas.microsoft.com/office/drawing/2014/main" id="{F5E091F3-F438-46F3-99C1-A946EA21B3A7}"/>
              </a:ext>
            </a:extLst>
          </p:cNvPr>
          <p:cNvSpPr>
            <a:spLocks noGrp="1"/>
          </p:cNvSpPr>
          <p:nvPr>
            <p:ph sz="quarter" idx="10"/>
          </p:nvPr>
        </p:nvSpPr>
        <p:spPr>
          <a:xfrm>
            <a:off x="610362" y="1471540"/>
            <a:ext cx="5143500" cy="4588002"/>
          </a:xfrm>
        </p:spPr>
        <p:txBody>
          <a:bodyPr/>
          <a:lstStyle>
            <a:lvl1pPr>
              <a:defRPr sz="2100" b="1">
                <a:solidFill>
                  <a:schemeClr val="bg1"/>
                </a:solidFill>
              </a:defRPr>
            </a:lvl1pPr>
            <a:lvl2pPr>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pic>
        <p:nvPicPr>
          <p:cNvPr id="13" name="Graphic 12">
            <a:extLst>
              <a:ext uri="{FF2B5EF4-FFF2-40B4-BE49-F238E27FC236}">
                <a16:creationId xmlns:a16="http://schemas.microsoft.com/office/drawing/2014/main" id="{4D16AE22-A306-4445-8B8F-D014F0B1AEB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
        <p:nvSpPr>
          <p:cNvPr id="14" name="Slide Number Placeholder 2">
            <a:extLst>
              <a:ext uri="{FF2B5EF4-FFF2-40B4-BE49-F238E27FC236}">
                <a16:creationId xmlns:a16="http://schemas.microsoft.com/office/drawing/2014/main" id="{FC6B0594-E220-406E-BF5E-32F92ED64797}"/>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Tree>
    <p:extLst>
      <p:ext uri="{BB962C8B-B14F-4D97-AF65-F5344CB8AC3E}">
        <p14:creationId xmlns:p14="http://schemas.microsoft.com/office/powerpoint/2010/main" val="9602019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dirty="0"/>
              <a:t>Click to add quote</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2"/>
            <a:ext cx="3497624" cy="1757635"/>
          </a:xfrm>
        </p:spPr>
        <p:txBody>
          <a:bodyPr anchor="t"/>
          <a:lstStyle>
            <a:lvl1pP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dirty="0"/>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dirty="0"/>
              <a:t>Click to insert case study proof points</a:t>
            </a:r>
          </a:p>
          <a:p>
            <a:pPr lvl="1"/>
            <a:r>
              <a:rPr lang="en-US" dirty="0"/>
              <a:t>Second level</a:t>
            </a:r>
          </a:p>
          <a:p>
            <a:pPr lvl="2"/>
            <a:r>
              <a:rPr lang="en-US" dirty="0"/>
              <a:t>Third level</a:t>
            </a:r>
          </a:p>
        </p:txBody>
      </p:sp>
      <p:pic>
        <p:nvPicPr>
          <p:cNvPr id="10" name="Graphic 9">
            <a:extLst>
              <a:ext uri="{FF2B5EF4-FFF2-40B4-BE49-F238E27FC236}">
                <a16:creationId xmlns:a16="http://schemas.microsoft.com/office/drawing/2014/main" id="{DD518AB7-5124-4DD0-B299-BB0F9F3DDC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2" name="Slide Number Placeholder 2">
            <a:extLst>
              <a:ext uri="{FF2B5EF4-FFF2-40B4-BE49-F238E27FC236}">
                <a16:creationId xmlns:a16="http://schemas.microsoft.com/office/drawing/2014/main" id="{834B185F-9C28-4E7A-A7ED-FCC623FAD21D}"/>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Tree>
    <p:extLst>
      <p:ext uri="{BB962C8B-B14F-4D97-AF65-F5344CB8AC3E}">
        <p14:creationId xmlns:p14="http://schemas.microsoft.com/office/powerpoint/2010/main" val="1161135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39554"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44536"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49522"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9112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ase study - Green gradien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4B881DA-285C-4DAB-A82F-A34FE5AECA71}"/>
              </a:ext>
            </a:extLst>
          </p:cNvPr>
          <p:cNvSpPr/>
          <p:nvPr userDrawn="1"/>
        </p:nvSpPr>
        <p:spPr bwMode="ltGray">
          <a:xfrm>
            <a:off x="0" y="0"/>
            <a:ext cx="4717463"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dirty="0"/>
              <a:t>Click to add quote</a:t>
            </a: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2"/>
            <a:ext cx="3497624" cy="1757635"/>
          </a:xfrm>
        </p:spPr>
        <p:txBody>
          <a:bodyPr anchor="t"/>
          <a:lstStyle>
            <a:lvl1pP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dirty="0"/>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dirty="0"/>
              <a:t>Click to insert case study proof points</a:t>
            </a:r>
          </a:p>
          <a:p>
            <a:pPr lvl="1"/>
            <a:r>
              <a:rPr lang="en-US" dirty="0"/>
              <a:t>Second level</a:t>
            </a:r>
          </a:p>
          <a:p>
            <a:pPr lvl="2"/>
            <a:r>
              <a:rPr lang="en-US" dirty="0"/>
              <a:t>Third level</a:t>
            </a:r>
          </a:p>
        </p:txBody>
      </p:sp>
      <p:pic>
        <p:nvPicPr>
          <p:cNvPr id="10" name="Graphic 9">
            <a:extLst>
              <a:ext uri="{FF2B5EF4-FFF2-40B4-BE49-F238E27FC236}">
                <a16:creationId xmlns:a16="http://schemas.microsoft.com/office/drawing/2014/main" id="{77600884-F3B3-4FDE-8F0B-60255B4152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1" name="Slide Number Placeholder 2">
            <a:extLst>
              <a:ext uri="{FF2B5EF4-FFF2-40B4-BE49-F238E27FC236}">
                <a16:creationId xmlns:a16="http://schemas.microsoft.com/office/drawing/2014/main" id="{8AF6834B-773F-4F2F-B2B0-879FB202082F}"/>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Tree>
    <p:extLst>
      <p:ext uri="{BB962C8B-B14F-4D97-AF65-F5344CB8AC3E}">
        <p14:creationId xmlns:p14="http://schemas.microsoft.com/office/powerpoint/2010/main" val="3869741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371600"/>
            <a:ext cx="4123424"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2" y="1371600"/>
            <a:ext cx="3512323"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1" y="1371600"/>
            <a:ext cx="3512323"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3"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6"/>
            <a:ext cx="10972800" cy="902187"/>
          </a:xfrm>
        </p:spPr>
        <p:txBody>
          <a:bodyPr/>
          <a:lstStyle/>
          <a:p>
            <a:r>
              <a:rPr lang="en-US" dirty="0"/>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3"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3"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1" y="1929689"/>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1"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1"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8" name="Slide Number Placeholder 2">
            <a:extLst>
              <a:ext uri="{FF2B5EF4-FFF2-40B4-BE49-F238E27FC236}">
                <a16:creationId xmlns:a16="http://schemas.microsoft.com/office/drawing/2014/main" id="{947025CF-1FA2-4E2D-813F-CF3662B81931}"/>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3532754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0"/>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dirty="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dirty="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dirty="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dirty="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6"/>
            <a:ext cx="10972800" cy="902187"/>
          </a:xfrm>
        </p:spPr>
        <p:txBody>
          <a:bodyPr/>
          <a:lstStyle/>
          <a:p>
            <a:r>
              <a:rPr lang="en-US" dirty="0"/>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3"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3"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3"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23" name="Slide Number Placeholder 2">
            <a:extLst>
              <a:ext uri="{FF2B5EF4-FFF2-40B4-BE49-F238E27FC236}">
                <a16:creationId xmlns:a16="http://schemas.microsoft.com/office/drawing/2014/main" id="{8D189985-662A-4027-8282-76F49BC568F5}"/>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664846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Cover - Blue gradient">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679419-716A-A146-B5EE-31FAD5748080}"/>
              </a:ext>
            </a:extLst>
          </p:cNvPr>
          <p:cNvPicPr>
            <a:picLocks noChangeAspect="1"/>
          </p:cNvPicPr>
          <p:nvPr userDrawn="1"/>
        </p:nvPicPr>
        <p:blipFill>
          <a:blip r:embed="rId2"/>
          <a:stretch>
            <a:fillRect/>
          </a:stretch>
        </p:blipFill>
        <p:spPr>
          <a:xfrm>
            <a:off x="1" y="0"/>
            <a:ext cx="12195448"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1"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4046" fontAlgn="auto">
              <a:lnSpc>
                <a:spcPct val="100000"/>
              </a:lnSpc>
              <a:spcBef>
                <a:spcPts val="0"/>
              </a:spcBef>
              <a:spcAft>
                <a:spcPts val="0"/>
              </a:spcAft>
              <a:buClrTx/>
              <a:buSzTx/>
              <a:buFontTx/>
              <a:buNone/>
              <a:tabLst/>
            </a:pPr>
            <a:endParaRPr kumimoji="0" lang="en-US" sz="1347"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1"/>
            <a:ext cx="4045796" cy="2294186"/>
          </a:xfrm>
        </p:spPr>
        <p:txBody>
          <a:bodyPr>
            <a:normAutofit/>
          </a:bodyPr>
          <a:lstStyle>
            <a:lvl1pPr>
              <a:defRPr sz="4489"/>
            </a:lvl1pPr>
          </a:lstStyle>
          <a:p>
            <a:r>
              <a:rPr lang="en-US" dirty="0"/>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5"/>
            <a:ext cx="4056257" cy="744265"/>
          </a:xfrm>
        </p:spPr>
        <p:txBody>
          <a:bodyPr>
            <a:normAutofit/>
          </a:bodyPr>
          <a:lstStyle>
            <a:lvl1pPr marL="0" indent="0" algn="l">
              <a:buNone/>
              <a:defRPr sz="1496"/>
            </a:lvl1pPr>
            <a:lvl2pPr marL="342023" indent="0" algn="ctr">
              <a:buNone/>
              <a:defRPr sz="1496"/>
            </a:lvl2pPr>
            <a:lvl3pPr marL="684046" indent="0" algn="ctr">
              <a:buNone/>
              <a:defRPr sz="1347"/>
            </a:lvl3pPr>
            <a:lvl4pPr marL="1026068" indent="0" algn="ctr">
              <a:buNone/>
              <a:defRPr sz="1197"/>
            </a:lvl4pPr>
            <a:lvl5pPr marL="1368091" indent="0" algn="ctr">
              <a:buNone/>
              <a:defRPr sz="1197"/>
            </a:lvl5pPr>
            <a:lvl6pPr marL="1710114" indent="0" algn="ctr">
              <a:buNone/>
              <a:defRPr sz="1197"/>
            </a:lvl6pPr>
            <a:lvl7pPr marL="2052137" indent="0" algn="ctr">
              <a:buNone/>
              <a:defRPr sz="1197"/>
            </a:lvl7pPr>
            <a:lvl8pPr marL="2394159" indent="0" algn="ctr">
              <a:buNone/>
              <a:defRPr sz="1197"/>
            </a:lvl8pPr>
            <a:lvl9pPr marL="2736182" indent="0" algn="ctr">
              <a:buNone/>
              <a:defRPr sz="1197"/>
            </a:lvl9pPr>
          </a:lstStyle>
          <a:p>
            <a:r>
              <a:rPr lang="en-US" dirty="0"/>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699446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39554" y="1573834"/>
            <a:ext cx="10903850"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6324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7"/>
            <a:ext cx="6473797" cy="3381265"/>
          </a:xfrm>
        </p:spPr>
        <p:txBody>
          <a:bodyPr anchor="t">
            <a:normAutofit/>
          </a:bodyPr>
          <a:lstStyle>
            <a:lvl1pPr>
              <a:defRPr sz="5985"/>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Picture 2">
            <a:extLst>
              <a:ext uri="{FF2B5EF4-FFF2-40B4-BE49-F238E27FC236}">
                <a16:creationId xmlns:a16="http://schemas.microsoft.com/office/drawing/2014/main" id="{BBFEFF42-CE18-3845-B2DD-0E7C755ED2F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13352" y="1531414"/>
            <a:ext cx="8038640" cy="8038640"/>
          </a:xfrm>
          <a:prstGeom prst="rect">
            <a:avLst/>
          </a:prstGeom>
        </p:spPr>
      </p:pic>
    </p:spTree>
    <p:extLst>
      <p:ext uri="{BB962C8B-B14F-4D97-AF65-F5344CB8AC3E}">
        <p14:creationId xmlns:p14="http://schemas.microsoft.com/office/powerpoint/2010/main" val="397226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ítulo conteúdo livre ">
    <p:spTree>
      <p:nvGrpSpPr>
        <p:cNvPr id="1" name=""/>
        <p:cNvGrpSpPr/>
        <p:nvPr/>
      </p:nvGrpSpPr>
      <p:grpSpPr>
        <a:xfrm>
          <a:off x="0" y="0"/>
          <a:ext cx="0" cy="0"/>
          <a:chOff x="0" y="0"/>
          <a:chExt cx="0" cy="0"/>
        </a:xfrm>
      </p:grpSpPr>
      <p:grpSp>
        <p:nvGrpSpPr>
          <p:cNvPr id="7" name="Group 24">
            <a:extLst>
              <a:ext uri="{FF2B5EF4-FFF2-40B4-BE49-F238E27FC236}">
                <a16:creationId xmlns:a16="http://schemas.microsoft.com/office/drawing/2014/main" id="{ED610386-F1FC-4DC7-9A22-5AA3300DD8BC}"/>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25BD5945-DAF9-4622-8FA9-05B16C1F8F45}"/>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72"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9" name="Rectangle 26">
              <a:extLst>
                <a:ext uri="{FF2B5EF4-FFF2-40B4-BE49-F238E27FC236}">
                  <a16:creationId xmlns:a16="http://schemas.microsoft.com/office/drawing/2014/main" id="{7A9402D1-0AA9-466E-8923-CC7D1BE769C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72"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0" name="Rectangle 27">
              <a:extLst>
                <a:ext uri="{FF2B5EF4-FFF2-40B4-BE49-F238E27FC236}">
                  <a16:creationId xmlns:a16="http://schemas.microsoft.com/office/drawing/2014/main" id="{9011A8CF-727D-4792-86C6-A5C3D9482771}"/>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72"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sp>
        <p:nvSpPr>
          <p:cNvPr id="11" name="Rectangle 18">
            <a:extLst>
              <a:ext uri="{FF2B5EF4-FFF2-40B4-BE49-F238E27FC236}">
                <a16:creationId xmlns:a16="http://schemas.microsoft.com/office/drawing/2014/main" id="{8B25D5DC-DA73-416A-AE35-E8934B535BD3}"/>
              </a:ext>
            </a:extLst>
          </p:cNvPr>
          <p:cNvSpPr/>
          <p:nvPr userDrawn="1"/>
        </p:nvSpPr>
        <p:spPr>
          <a:xfrm rot="5400000">
            <a:off x="-582930" y="582933"/>
            <a:ext cx="1280162" cy="114299"/>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72" rtl="0" eaLnBrk="1" fontAlgn="auto" latinLnBrk="0" hangingPunct="1">
              <a:lnSpc>
                <a:spcPct val="100000"/>
              </a:lnSpc>
              <a:spcBef>
                <a:spcPts val="0"/>
              </a:spcBef>
              <a:spcAft>
                <a:spcPts val="0"/>
              </a:spcAft>
              <a:buClrTx/>
              <a:buSzTx/>
              <a:buFontTx/>
              <a:buNone/>
              <a:tabLst/>
              <a:defRPr/>
            </a:pPr>
            <a:endParaRPr kumimoji="0" lang="pt-BR" sz="2095"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5" name="Espaço Reservado para Texto 14">
            <a:extLst>
              <a:ext uri="{FF2B5EF4-FFF2-40B4-BE49-F238E27FC236}">
                <a16:creationId xmlns:a16="http://schemas.microsoft.com/office/drawing/2014/main" id="{4A48B941-AA90-4563-99CC-008C9A299C0E}"/>
              </a:ext>
            </a:extLst>
          </p:cNvPr>
          <p:cNvSpPr>
            <a:spLocks noGrp="1"/>
          </p:cNvSpPr>
          <p:nvPr>
            <p:ph type="body" sz="quarter" idx="11"/>
          </p:nvPr>
        </p:nvSpPr>
        <p:spPr>
          <a:xfrm>
            <a:off x="1057274" y="552452"/>
            <a:ext cx="10096500" cy="727075"/>
          </a:xfrm>
        </p:spPr>
        <p:txBody>
          <a:bodyPr vert="horz" lIns="91440" tIns="45720" rIns="91440" bIns="45720" rtlCol="0" anchor="b">
            <a:noAutofit/>
          </a:bodyPr>
          <a:lstStyle>
            <a:lvl1pPr>
              <a:defRPr lang="pt-BR" sz="2793" dirty="0">
                <a:latin typeface="Montserrat Medium" panose="00000600000000000000" pitchFamily="2" charset="0"/>
                <a:ea typeface="+mj-ea"/>
                <a:cs typeface="+mj-cs"/>
              </a:defRPr>
            </a:lvl1pPr>
          </a:lstStyle>
          <a:p>
            <a:pPr lvl="0">
              <a:spcBef>
                <a:spcPct val="0"/>
              </a:spcBef>
            </a:pPr>
            <a:r>
              <a:rPr lang="pt-BR"/>
              <a:t>Clique para editar os estilos de texto Mestres</a:t>
            </a:r>
          </a:p>
        </p:txBody>
      </p:sp>
    </p:spTree>
    <p:extLst>
      <p:ext uri="{BB962C8B-B14F-4D97-AF65-F5344CB8AC3E}">
        <p14:creationId xmlns:p14="http://schemas.microsoft.com/office/powerpoint/2010/main" val="3491362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solidFill>
                  <a:schemeClr val="tx1"/>
                </a:solidFill>
              </a:defRPr>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1692882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6"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0" y="1535136"/>
            <a:ext cx="5344163" cy="2037940"/>
          </a:xfrm>
        </p:spPr>
        <p:txBody>
          <a:bodyPr/>
          <a:lstStyle>
            <a:lvl1pPr>
              <a:defRPr sz="4500">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47537" b="47537"/>
          <a:stretch/>
        </p:blipFill>
        <p:spPr>
          <a:xfrm>
            <a:off x="0" y="1011117"/>
            <a:ext cx="5846885" cy="5846884"/>
          </a:xfrm>
          <a:prstGeom prst="rect">
            <a:avLst/>
          </a:prstGeom>
        </p:spPr>
      </p:pic>
    </p:spTree>
    <p:extLst>
      <p:ext uri="{BB962C8B-B14F-4D97-AF65-F5344CB8AC3E}">
        <p14:creationId xmlns:p14="http://schemas.microsoft.com/office/powerpoint/2010/main" val="444346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6"/>
            <a:ext cx="10972800" cy="902187"/>
          </a:xfrm>
        </p:spPr>
        <p:txBody>
          <a:bodyPr/>
          <a:lstStyle/>
          <a:p>
            <a:r>
              <a:rPr lang="en-US"/>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29429725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39555" y="1573833"/>
            <a:ext cx="4987799" cy="1874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569956" y="1573835"/>
            <a:ext cx="4977193" cy="18748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39120" y="3931908"/>
            <a:ext cx="4988234"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564648" y="3931908"/>
            <a:ext cx="4977193"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47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0"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6"/>
            <a:ext cx="10972800" cy="902187"/>
          </a:xfrm>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5"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5403069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6"/>
            <a:ext cx="10972800" cy="902187"/>
          </a:xfrm>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36703350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379229"/>
            <a:ext cx="4123424"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2"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1"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3"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6"/>
            <a:ext cx="10972800" cy="902187"/>
          </a:xfrm>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3"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3"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1" y="1929689"/>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1"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1"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18" name="Slide Number Placeholder 2">
            <a:extLst>
              <a:ext uri="{FF2B5EF4-FFF2-40B4-BE49-F238E27FC236}">
                <a16:creationId xmlns:a16="http://schemas.microsoft.com/office/drawing/2014/main" id="{8E8970CE-1356-3E49-8ECE-879265F33BC0}"/>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1434916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0"/>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6"/>
            <a:ext cx="10972800" cy="902187"/>
          </a:xfrm>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3"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3"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3"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23" name="Slide Number Placeholder 2">
            <a:extLst>
              <a:ext uri="{FF2B5EF4-FFF2-40B4-BE49-F238E27FC236}">
                <a16:creationId xmlns:a16="http://schemas.microsoft.com/office/drawing/2014/main" id="{2AE05A0F-7106-A54D-86C6-8DB1EDCD2020}"/>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3005023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18" name="Graphic 17">
            <a:extLst>
              <a:ext uri="{FF2B5EF4-FFF2-40B4-BE49-F238E27FC236}">
                <a16:creationId xmlns:a16="http://schemas.microsoft.com/office/drawing/2014/main" id="{04B8CEB6-B346-458A-9FC4-405E1474F1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1627" t="7660" r="-9878" b="7660"/>
          <a:stretch/>
        </p:blipFill>
        <p:spPr>
          <a:xfrm>
            <a:off x="-4887" y="0"/>
            <a:ext cx="4717463" cy="6858000"/>
          </a:xfrm>
          <a:prstGeom prst="rect">
            <a:avLst/>
          </a:prstGeom>
        </p:spPr>
      </p:pic>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2"/>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952019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solidFill>
                  <a:schemeClr val="tx1"/>
                </a:solidFill>
              </a:defRPr>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3142098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16321138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a:solidFill>
                  <a:schemeClr val="tx1"/>
                </a:solidFill>
              </a:rPr>
              <a:t>END OF TEMPLATE</a:t>
            </a:r>
          </a:p>
          <a:p>
            <a:pPr algn="l"/>
            <a:endParaRPr lang="en-US" sz="3000" b="0">
              <a:solidFill>
                <a:schemeClr val="tx1"/>
              </a:solidFill>
            </a:endParaRPr>
          </a:p>
          <a:p>
            <a:pPr algn="l"/>
            <a:r>
              <a:rPr lang="en-US" sz="6600" b="1">
                <a:solidFill>
                  <a:schemeClr val="tx1"/>
                </a:solidFill>
              </a:rPr>
              <a:t>Do not use any master slide that exists after this one</a:t>
            </a:r>
          </a:p>
        </p:txBody>
      </p:sp>
    </p:spTree>
    <p:extLst>
      <p:ext uri="{BB962C8B-B14F-4D97-AF65-F5344CB8AC3E}">
        <p14:creationId xmlns:p14="http://schemas.microsoft.com/office/powerpoint/2010/main" val="1773728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1"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783"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8"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1"/>
            <a:ext cx="4045796" cy="2294186"/>
          </a:xfrm>
        </p:spPr>
        <p:txBody>
          <a:bodyPr>
            <a:normAutofit/>
          </a:bodyPr>
          <a:lstStyle>
            <a:lvl1pPr>
              <a:defRPr sz="4500">
                <a:solidFill>
                  <a:schemeClr val="tx1"/>
                </a:solidFill>
              </a:defRPr>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2" y="4636295"/>
            <a:ext cx="4056257" cy="744265"/>
          </a:xfrm>
        </p:spPr>
        <p:txBody>
          <a:bodyPr>
            <a:normAutofit/>
          </a:bodyPr>
          <a:lstStyle>
            <a:lvl1pPr marL="0" indent="0" algn="l">
              <a:buNone/>
              <a:defRPr sz="150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8" y="1133612"/>
            <a:ext cx="982969" cy="397803"/>
          </a:xfrm>
          <a:prstGeom prst="rect">
            <a:avLst/>
          </a:prstGeom>
        </p:spPr>
      </p:pic>
    </p:spTree>
    <p:extLst>
      <p:ext uri="{BB962C8B-B14F-4D97-AF65-F5344CB8AC3E}">
        <p14:creationId xmlns:p14="http://schemas.microsoft.com/office/powerpoint/2010/main" val="814130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7"/>
            <a:ext cx="10972800" cy="902187"/>
          </a:xfrm>
        </p:spPr>
        <p:txBody>
          <a:bodyPr/>
          <a:lstStyle/>
          <a:p>
            <a:r>
              <a:rPr lang="en-US"/>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4219154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8AA3504-A3CC-4CD3-A78A-2E2FE2301C4F}"/>
              </a:ext>
            </a:extLst>
          </p:cNvPr>
          <p:cNvSpPr/>
          <p:nvPr userDrawn="1"/>
        </p:nvSpPr>
        <p:spPr bwMode="hidden">
          <a:xfrm>
            <a:off x="644850" y="1532676"/>
            <a:ext cx="3490457" cy="432246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8" name="Rectangle 27">
            <a:extLst>
              <a:ext uri="{FF2B5EF4-FFF2-40B4-BE49-F238E27FC236}">
                <a16:creationId xmlns:a16="http://schemas.microsoft.com/office/drawing/2014/main" id="{4D1BE738-C7FE-4063-9CE3-50B70EACE4FF}"/>
              </a:ext>
            </a:extLst>
          </p:cNvPr>
          <p:cNvSpPr/>
          <p:nvPr userDrawn="1"/>
        </p:nvSpPr>
        <p:spPr bwMode="hidden">
          <a:xfrm>
            <a:off x="4353194" y="1532676"/>
            <a:ext cx="3490457" cy="432246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Rectangle 28">
            <a:extLst>
              <a:ext uri="{FF2B5EF4-FFF2-40B4-BE49-F238E27FC236}">
                <a16:creationId xmlns:a16="http://schemas.microsoft.com/office/drawing/2014/main" id="{998B9464-C1B3-49B1-BEC9-EF06DCDDDC88}"/>
              </a:ext>
            </a:extLst>
          </p:cNvPr>
          <p:cNvSpPr/>
          <p:nvPr userDrawn="1"/>
        </p:nvSpPr>
        <p:spPr bwMode="hidden">
          <a:xfrm>
            <a:off x="8056309" y="1532676"/>
            <a:ext cx="3490457" cy="432246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p:ph type="pic" sz="quarter" idx="21" hasCustomPrompt="1"/>
          </p:nvPr>
        </p:nvSpPr>
        <p:spPr>
          <a:xfrm>
            <a:off x="1464029" y="2152296"/>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p:ph type="title" hasCustomPrompt="1"/>
          </p:nvPr>
        </p:nvSpPr>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p:ph type="body" sz="quarter" idx="12" hasCustomPrompt="1"/>
          </p:nvPr>
        </p:nvSpPr>
        <p:spPr>
          <a:xfrm>
            <a:off x="896498"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p:ph type="body" sz="quarter" idx="15" hasCustomPrompt="1"/>
          </p:nvPr>
        </p:nvSpPr>
        <p:spPr>
          <a:xfrm>
            <a:off x="896498" y="4670164"/>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p:ph type="pic" sz="quarter" idx="22" hasCustomPrompt="1"/>
          </p:nvPr>
        </p:nvSpPr>
        <p:spPr>
          <a:xfrm>
            <a:off x="5167143" y="2152296"/>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p:ph type="body" sz="quarter" idx="23" hasCustomPrompt="1"/>
          </p:nvPr>
        </p:nvSpPr>
        <p:spPr>
          <a:xfrm>
            <a:off x="4599613"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p:ph type="body" sz="quarter" idx="24" hasCustomPrompt="1"/>
          </p:nvPr>
        </p:nvSpPr>
        <p:spPr>
          <a:xfrm>
            <a:off x="4599613" y="4670163"/>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p:ph type="pic" sz="quarter" idx="25" hasCustomPrompt="1"/>
          </p:nvPr>
        </p:nvSpPr>
        <p:spPr>
          <a:xfrm>
            <a:off x="8870259" y="2075161"/>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p:ph type="body" sz="quarter" idx="26" hasCustomPrompt="1"/>
          </p:nvPr>
        </p:nvSpPr>
        <p:spPr>
          <a:xfrm>
            <a:off x="8302729"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p:ph type="body" sz="quarter" idx="27" hasCustomPrompt="1"/>
          </p:nvPr>
        </p:nvSpPr>
        <p:spPr>
          <a:xfrm>
            <a:off x="8302729" y="4670163"/>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362485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1" y="1011117"/>
            <a:ext cx="5846885" cy="5846884"/>
          </a:xfrm>
          <a:prstGeom prst="rect">
            <a:avLst/>
          </a:prstGeom>
        </p:spPr>
      </p:pic>
    </p:spTree>
    <p:extLst>
      <p:ext uri="{BB962C8B-B14F-4D97-AF65-F5344CB8AC3E}">
        <p14:creationId xmlns:p14="http://schemas.microsoft.com/office/powerpoint/2010/main" val="2489302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1"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4"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7"/>
            <a:ext cx="10972800" cy="902187"/>
          </a:xfrm>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6"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597229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7"/>
            <a:ext cx="10972800" cy="902187"/>
          </a:xfrm>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23273282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0" y="1381126"/>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9447932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5409248"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3" y="3289701"/>
            <a:ext cx="3584857" cy="1645754"/>
          </a:xfrm>
          <a:prstGeom prst="rect">
            <a:avLst/>
          </a:prstGeom>
        </p:spPr>
        <p:txBody>
          <a:bodyPr anchor="b">
            <a:normAutofit/>
          </a:bodyPr>
          <a:lstStyle>
            <a:lvl1pPr marL="85723" indent="-85723">
              <a:spcBef>
                <a:spcPts val="450"/>
              </a:spcBef>
              <a:buFont typeface="Arial" panose="020B0604020202020204" pitchFamily="34" charset="0"/>
              <a:buChar char="“"/>
              <a:defRPr sz="135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3"/>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3" y="5294157"/>
            <a:ext cx="3584858" cy="529372"/>
          </a:xfrm>
        </p:spPr>
        <p:txBody>
          <a:bodyPr>
            <a:noAutofit/>
          </a:bodyPr>
          <a:lstStyle>
            <a:lvl1pPr marL="85723" indent="0">
              <a:spcBef>
                <a:spcPts val="450"/>
              </a:spcBef>
              <a:buFont typeface="Arial" panose="020B0604020202020204" pitchFamily="34" charset="0"/>
              <a:buChar char="​"/>
              <a:defRPr sz="1350" b="1">
                <a:solidFill>
                  <a:schemeClr val="bg1"/>
                </a:solidFill>
              </a:defRPr>
            </a:lvl1pPr>
            <a:lvl2pPr marL="85723" indent="0">
              <a:spcBef>
                <a:spcPts val="450"/>
              </a:spcBef>
              <a:buFont typeface="Arial" panose="020B0604020202020204" pitchFamily="34" charset="0"/>
              <a:buChar char="​"/>
              <a:defRPr sz="1350" b="1">
                <a:solidFill>
                  <a:schemeClr val="bg1"/>
                </a:solidFill>
              </a:defRPr>
            </a:lvl2pPr>
            <a:lvl3pPr marL="85723" indent="0">
              <a:spcBef>
                <a:spcPts val="450"/>
              </a:spcBef>
              <a:buFont typeface="Arial" panose="020B0604020202020204" pitchFamily="34" charset="0"/>
              <a:buChar char="​"/>
              <a:defRPr sz="1350" b="1">
                <a:solidFill>
                  <a:schemeClr val="bg1"/>
                </a:solidFill>
              </a:defRPr>
            </a:lvl3pPr>
            <a:lvl4pPr marL="85723" indent="0">
              <a:spcBef>
                <a:spcPts val="450"/>
              </a:spcBef>
              <a:buFont typeface="Arial" panose="020B0604020202020204" pitchFamily="34" charset="0"/>
              <a:buChar char="​"/>
              <a:defRPr sz="1350" b="1">
                <a:solidFill>
                  <a:schemeClr val="bg1"/>
                </a:solidFill>
              </a:defRPr>
            </a:lvl4pPr>
            <a:lvl5pPr marL="85723" indent="0">
              <a:spcBef>
                <a:spcPts val="450"/>
              </a:spcBef>
              <a:buFont typeface="Arial" panose="020B0604020202020204" pitchFamily="34" charset="0"/>
              <a:buChar char="​"/>
              <a:defRPr sz="1350" b="1">
                <a:solidFill>
                  <a:schemeClr val="bg1"/>
                </a:solidFill>
              </a:defRPr>
            </a:lvl5pPr>
            <a:lvl6pPr marL="85723" indent="0">
              <a:spcBef>
                <a:spcPts val="450"/>
              </a:spcBef>
              <a:buFont typeface="Arial" panose="020B0604020202020204" pitchFamily="34" charset="0"/>
              <a:buChar char="​"/>
              <a:defRPr sz="1350" b="1">
                <a:solidFill>
                  <a:schemeClr val="bg1"/>
                </a:solidFill>
              </a:defRPr>
            </a:lvl6pPr>
            <a:lvl7pPr marL="85723" indent="0">
              <a:spcBef>
                <a:spcPts val="450"/>
              </a:spcBef>
              <a:buFont typeface="Arial" panose="020B0604020202020204" pitchFamily="34" charset="0"/>
              <a:buChar char="​"/>
              <a:defRPr sz="1350" b="1">
                <a:solidFill>
                  <a:schemeClr val="bg1"/>
                </a:solidFill>
              </a:defRPr>
            </a:lvl7pPr>
            <a:lvl8pPr marL="85723" indent="0">
              <a:spcBef>
                <a:spcPts val="450"/>
              </a:spcBef>
              <a:buFont typeface="Arial" panose="020B0604020202020204" pitchFamily="34" charset="0"/>
              <a:buChar char="​"/>
              <a:defRPr sz="1350" b="1">
                <a:solidFill>
                  <a:schemeClr val="bg1"/>
                </a:solidFill>
              </a:defRPr>
            </a:lvl8pPr>
            <a:lvl9pPr marL="85723"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2"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5941954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1"/>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7"/>
            <a:ext cx="10972800" cy="902187"/>
          </a:xfrm>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6"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5"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5"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4"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4"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4"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3742363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6" y="2665027"/>
            <a:ext cx="6473797" cy="3381265"/>
          </a:xfrm>
        </p:spPr>
        <p:txBody>
          <a:bodyPr anchor="t">
            <a:normAutofit/>
          </a:bodyPr>
          <a:lstStyle>
            <a:lvl1pPr>
              <a:defRPr sz="6000">
                <a:solidFill>
                  <a:schemeClr val="tx1"/>
                </a:solidFill>
              </a:defRPr>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8"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8"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3643739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171455"/>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171455"/>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802" y="171455"/>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1"/>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2698608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714501"/>
            <a:ext cx="4123424"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3" y="1714501"/>
            <a:ext cx="35123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2" y="1714501"/>
            <a:ext cx="35123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4"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7"/>
            <a:ext cx="10972800" cy="902187"/>
          </a:xfrm>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4"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4"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2" y="1929690"/>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2"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2"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Tree>
    <p:extLst>
      <p:ext uri="{BB962C8B-B14F-4D97-AF65-F5344CB8AC3E}">
        <p14:creationId xmlns:p14="http://schemas.microsoft.com/office/powerpoint/2010/main" val="2993406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1" y="1011117"/>
            <a:ext cx="5846885" cy="5846884"/>
          </a:xfrm>
          <a:prstGeom prst="rect">
            <a:avLst/>
          </a:prstGeom>
        </p:spPr>
      </p:pic>
    </p:spTree>
    <p:extLst>
      <p:ext uri="{BB962C8B-B14F-4D97-AF65-F5344CB8AC3E}">
        <p14:creationId xmlns:p14="http://schemas.microsoft.com/office/powerpoint/2010/main" val="24817921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8F1EED4-9C02-4A24-A994-AD388A2977C2}"/>
              </a:ext>
            </a:extLst>
          </p:cNvPr>
          <p:cNvSpPr/>
          <p:nvPr userDrawn="1"/>
        </p:nvSpPr>
        <p:spPr bwMode="white">
          <a:xfrm>
            <a:off x="644850" y="1532677"/>
            <a:ext cx="2566081" cy="432246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0" name="Rectangle 29">
            <a:extLst>
              <a:ext uri="{FF2B5EF4-FFF2-40B4-BE49-F238E27FC236}">
                <a16:creationId xmlns:a16="http://schemas.microsoft.com/office/drawing/2014/main" id="{2913C06C-907C-4773-A5E4-AD20E35B9F5F}"/>
              </a:ext>
            </a:extLst>
          </p:cNvPr>
          <p:cNvSpPr/>
          <p:nvPr userDrawn="1"/>
        </p:nvSpPr>
        <p:spPr bwMode="white">
          <a:xfrm>
            <a:off x="3421824" y="1532677"/>
            <a:ext cx="2566081" cy="432246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1" name="Rectangle 30">
            <a:extLst>
              <a:ext uri="{FF2B5EF4-FFF2-40B4-BE49-F238E27FC236}">
                <a16:creationId xmlns:a16="http://schemas.microsoft.com/office/drawing/2014/main" id="{53C086EF-2C30-43A0-9153-3878AD90FBAF}"/>
              </a:ext>
            </a:extLst>
          </p:cNvPr>
          <p:cNvSpPr/>
          <p:nvPr userDrawn="1"/>
        </p:nvSpPr>
        <p:spPr bwMode="white">
          <a:xfrm>
            <a:off x="6198798" y="1532677"/>
            <a:ext cx="2566081" cy="432246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2" name="Rectangle 31">
            <a:extLst>
              <a:ext uri="{FF2B5EF4-FFF2-40B4-BE49-F238E27FC236}">
                <a16:creationId xmlns:a16="http://schemas.microsoft.com/office/drawing/2014/main" id="{87F60045-5CBA-4C5E-817F-3C6796211521}"/>
              </a:ext>
            </a:extLst>
          </p:cNvPr>
          <p:cNvSpPr/>
          <p:nvPr userDrawn="1"/>
        </p:nvSpPr>
        <p:spPr bwMode="white">
          <a:xfrm>
            <a:off x="8975773" y="1532677"/>
            <a:ext cx="2566081" cy="432246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noProof="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76E45A0-DE19-41AA-9EA2-68795CBC79E7}"/>
              </a:ext>
            </a:extLst>
          </p:cNvPr>
          <p:cNvSpPr>
            <a:spLocks noGrp="1"/>
          </p:cNvSpPr>
          <p:nvPr>
            <p:ph type="title" hasCustomPrompt="1"/>
          </p:nvPr>
        </p:nvSpPr>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p:ph type="pic" sz="quarter" idx="21" hasCustomPrompt="1"/>
          </p:nvPr>
        </p:nvSpPr>
        <p:spPr>
          <a:xfrm>
            <a:off x="1254190"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p:ph type="body" sz="quarter" idx="12" hasCustomPrompt="1"/>
          </p:nvPr>
        </p:nvSpPr>
        <p:spPr>
          <a:xfrm>
            <a:off x="842889"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p:ph type="body" sz="quarter" idx="15" hasCustomPrompt="1"/>
          </p:nvPr>
        </p:nvSpPr>
        <p:spPr>
          <a:xfrm>
            <a:off x="842889"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p:ph type="pic" sz="quarter" idx="22" hasCustomPrompt="1"/>
          </p:nvPr>
        </p:nvSpPr>
        <p:spPr>
          <a:xfrm>
            <a:off x="403116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p:ph type="body" sz="quarter" idx="23" hasCustomPrompt="1"/>
          </p:nvPr>
        </p:nvSpPr>
        <p:spPr>
          <a:xfrm>
            <a:off x="361986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p:ph type="body" sz="quarter" idx="24" hasCustomPrompt="1"/>
          </p:nvPr>
        </p:nvSpPr>
        <p:spPr>
          <a:xfrm>
            <a:off x="3619864"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p:ph type="pic" sz="quarter" idx="25" hasCustomPrompt="1"/>
          </p:nvPr>
        </p:nvSpPr>
        <p:spPr>
          <a:xfrm>
            <a:off x="6808138"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p:ph type="body" sz="quarter" idx="26" hasCustomPrompt="1"/>
          </p:nvPr>
        </p:nvSpPr>
        <p:spPr>
          <a:xfrm>
            <a:off x="6396838"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p:ph type="body" sz="quarter" idx="27" hasCustomPrompt="1"/>
          </p:nvPr>
        </p:nvSpPr>
        <p:spPr>
          <a:xfrm>
            <a:off x="6396838"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p:ph type="pic" sz="quarter" idx="28" hasCustomPrompt="1"/>
          </p:nvPr>
        </p:nvSpPr>
        <p:spPr>
          <a:xfrm>
            <a:off x="958511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p:ph type="body" sz="quarter" idx="29" hasCustomPrompt="1"/>
          </p:nvPr>
        </p:nvSpPr>
        <p:spPr>
          <a:xfrm>
            <a:off x="917381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p:ph type="body" sz="quarter" idx="30" hasCustomPrompt="1"/>
          </p:nvPr>
        </p:nvSpPr>
        <p:spPr>
          <a:xfrm>
            <a:off x="9173812"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3929464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7"/>
            <a:ext cx="10972800" cy="902187"/>
          </a:xfrm>
        </p:spPr>
        <p:txBody>
          <a:bodyPr/>
          <a:lstStyle/>
          <a:p>
            <a:r>
              <a:rPr lang="en-US"/>
              <a:t>Click to edit your title</a:t>
            </a:r>
          </a:p>
        </p:txBody>
      </p:sp>
      <p:pic>
        <p:nvPicPr>
          <p:cNvPr id="7" name="Graphic 6">
            <a:extLst>
              <a:ext uri="{FF2B5EF4-FFF2-40B4-BE49-F238E27FC236}">
                <a16:creationId xmlns:a16="http://schemas.microsoft.com/office/drawing/2014/main" id="{14A893BF-A27F-43C9-90A4-BCDDB23C68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1655749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1"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4"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7"/>
            <a:ext cx="10972800" cy="902187"/>
          </a:xfrm>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6"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8" name="Graphic 7">
            <a:extLst>
              <a:ext uri="{FF2B5EF4-FFF2-40B4-BE49-F238E27FC236}">
                <a16:creationId xmlns:a16="http://schemas.microsoft.com/office/drawing/2014/main" id="{DCA4A863-8BCA-4821-902B-1DD6CD0C4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4166534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7"/>
            <a:ext cx="10972800" cy="902187"/>
          </a:xfrm>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9" name="Graphic 8">
            <a:extLst>
              <a:ext uri="{FF2B5EF4-FFF2-40B4-BE49-F238E27FC236}">
                <a16:creationId xmlns:a16="http://schemas.microsoft.com/office/drawing/2014/main" id="{88BB31D0-9CA6-4D6F-B96A-1DED08F1D26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38266481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379229"/>
            <a:ext cx="4123424"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3"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2"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4"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7"/>
            <a:ext cx="10972800" cy="902187"/>
          </a:xfrm>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4"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4"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2" y="1929690"/>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2" y="3837478"/>
            <a:ext cx="2994260"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2" y="4524691"/>
            <a:ext cx="2994260"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pic>
        <p:nvPicPr>
          <p:cNvPr id="19" name="Graphic 18">
            <a:extLst>
              <a:ext uri="{FF2B5EF4-FFF2-40B4-BE49-F238E27FC236}">
                <a16:creationId xmlns:a16="http://schemas.microsoft.com/office/drawing/2014/main" id="{28450806-CB30-4B38-9E5B-5598B2422D8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36283060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1"/>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1"/>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7"/>
            <a:ext cx="10972800" cy="902187"/>
          </a:xfrm>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6"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5"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5"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5"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5"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4" y="1986043"/>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4" y="3816696"/>
            <a:ext cx="2170003" cy="528674"/>
          </a:xfrm>
          <a:prstGeom prst="rect">
            <a:avLst/>
          </a:prstGeom>
        </p:spPr>
        <p:txBody>
          <a:bodyPr>
            <a:noAutofit/>
          </a:bodyPr>
          <a:lstStyle>
            <a:lvl1pPr marL="0" indent="0" algn="ctr">
              <a:buNone/>
              <a:defRPr sz="2100" b="1">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4" y="4503910"/>
            <a:ext cx="2170003" cy="1025786"/>
          </a:xfrm>
          <a:prstGeom prst="rect">
            <a:avLst/>
          </a:prstGeom>
        </p:spPr>
        <p:txBody>
          <a:bodyPr>
            <a:noAutofit/>
          </a:bodyPr>
          <a:lstStyle>
            <a:lvl1pPr marL="0" indent="0" algn="ctr">
              <a:buNone/>
              <a:defRPr sz="1500" b="0">
                <a:solidFill>
                  <a:schemeClr val="bg1"/>
                </a:solidFill>
              </a:defRPr>
            </a:lvl1pPr>
            <a:lvl2pPr marL="609474" indent="0" algn="ctr">
              <a:buNone/>
              <a:defRPr sz="2100" b="1">
                <a:solidFill>
                  <a:schemeClr val="bg2"/>
                </a:solidFill>
              </a:defRPr>
            </a:lvl2pPr>
            <a:lvl3pPr marL="1218946" indent="0" algn="ctr">
              <a:buNone/>
              <a:defRPr sz="2100" b="1">
                <a:solidFill>
                  <a:schemeClr val="bg2"/>
                </a:solidFill>
              </a:defRPr>
            </a:lvl3pPr>
            <a:lvl4pPr marL="1828418" indent="0" algn="ctr">
              <a:buNone/>
              <a:defRPr sz="2100" b="1">
                <a:solidFill>
                  <a:schemeClr val="bg2"/>
                </a:solidFill>
              </a:defRPr>
            </a:lvl4pPr>
            <a:lvl5pPr marL="2437890" indent="0" algn="ctr">
              <a:buNone/>
              <a:defRPr sz="2100" b="1">
                <a:solidFill>
                  <a:schemeClr val="bg2"/>
                </a:solidFill>
              </a:defRPr>
            </a:lvl5pPr>
          </a:lstStyle>
          <a:p>
            <a:pPr lvl="0"/>
            <a:r>
              <a:rPr lang="en-US"/>
              <a:t>Click to add body</a:t>
            </a:r>
          </a:p>
          <a:p>
            <a:pPr lvl="0"/>
            <a:endParaRPr lang="en-US"/>
          </a:p>
        </p:txBody>
      </p:sp>
      <p:pic>
        <p:nvPicPr>
          <p:cNvPr id="24" name="Graphic 23">
            <a:extLst>
              <a:ext uri="{FF2B5EF4-FFF2-40B4-BE49-F238E27FC236}">
                <a16:creationId xmlns:a16="http://schemas.microsoft.com/office/drawing/2014/main" id="{57F0488F-BD3E-431D-AA82-0A788C603D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1622482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18" name="Graphic 17">
            <a:extLst>
              <a:ext uri="{FF2B5EF4-FFF2-40B4-BE49-F238E27FC236}">
                <a16:creationId xmlns:a16="http://schemas.microsoft.com/office/drawing/2014/main" id="{04B8CEB6-B346-458A-9FC4-405E1474F1F9}"/>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l="51627" t="7660" r="-9878" b="7660"/>
          <a:stretch/>
        </p:blipFill>
        <p:spPr>
          <a:xfrm>
            <a:off x="-4887" y="0"/>
            <a:ext cx="4717463" cy="6858000"/>
          </a:xfrm>
          <a:prstGeom prst="rect">
            <a:avLst/>
          </a:prstGeom>
        </p:spPr>
      </p:pic>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3" y="3289701"/>
            <a:ext cx="3584857" cy="1645754"/>
          </a:xfrm>
          <a:prstGeom prst="rect">
            <a:avLst/>
          </a:prstGeom>
        </p:spPr>
        <p:txBody>
          <a:bodyPr anchor="b">
            <a:normAutofit/>
          </a:bodyPr>
          <a:lstStyle>
            <a:lvl1pPr marL="85723" indent="-85723">
              <a:spcBef>
                <a:spcPts val="450"/>
              </a:spcBef>
              <a:buFont typeface="Arial" panose="020B0604020202020204" pitchFamily="34" charset="0"/>
              <a:buChar char="“"/>
              <a:defRPr sz="135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3"/>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3" y="5294157"/>
            <a:ext cx="3584858" cy="529372"/>
          </a:xfrm>
        </p:spPr>
        <p:txBody>
          <a:bodyPr>
            <a:noAutofit/>
          </a:bodyPr>
          <a:lstStyle>
            <a:lvl1pPr marL="85723" indent="0">
              <a:spcBef>
                <a:spcPts val="450"/>
              </a:spcBef>
              <a:buFont typeface="Arial" panose="020B0604020202020204" pitchFamily="34" charset="0"/>
              <a:buChar char="​"/>
              <a:defRPr sz="1350" b="1">
                <a:solidFill>
                  <a:schemeClr val="bg1"/>
                </a:solidFill>
              </a:defRPr>
            </a:lvl1pPr>
            <a:lvl2pPr marL="85723" indent="0">
              <a:spcBef>
                <a:spcPts val="450"/>
              </a:spcBef>
              <a:buFont typeface="Arial" panose="020B0604020202020204" pitchFamily="34" charset="0"/>
              <a:buChar char="​"/>
              <a:defRPr sz="1350" b="1">
                <a:solidFill>
                  <a:schemeClr val="bg1"/>
                </a:solidFill>
              </a:defRPr>
            </a:lvl2pPr>
            <a:lvl3pPr marL="85723" indent="0">
              <a:spcBef>
                <a:spcPts val="450"/>
              </a:spcBef>
              <a:buFont typeface="Arial" panose="020B0604020202020204" pitchFamily="34" charset="0"/>
              <a:buChar char="​"/>
              <a:defRPr sz="1350" b="1">
                <a:solidFill>
                  <a:schemeClr val="bg1"/>
                </a:solidFill>
              </a:defRPr>
            </a:lvl3pPr>
            <a:lvl4pPr marL="85723" indent="0">
              <a:spcBef>
                <a:spcPts val="450"/>
              </a:spcBef>
              <a:buFont typeface="Arial" panose="020B0604020202020204" pitchFamily="34" charset="0"/>
              <a:buChar char="​"/>
              <a:defRPr sz="1350" b="1">
                <a:solidFill>
                  <a:schemeClr val="bg1"/>
                </a:solidFill>
              </a:defRPr>
            </a:lvl4pPr>
            <a:lvl5pPr marL="85723" indent="0">
              <a:spcBef>
                <a:spcPts val="450"/>
              </a:spcBef>
              <a:buFont typeface="Arial" panose="020B0604020202020204" pitchFamily="34" charset="0"/>
              <a:buChar char="​"/>
              <a:defRPr sz="1350" b="1">
                <a:solidFill>
                  <a:schemeClr val="bg1"/>
                </a:solidFill>
              </a:defRPr>
            </a:lvl5pPr>
            <a:lvl6pPr marL="85723" indent="0">
              <a:spcBef>
                <a:spcPts val="450"/>
              </a:spcBef>
              <a:buFont typeface="Arial" panose="020B0604020202020204" pitchFamily="34" charset="0"/>
              <a:buChar char="​"/>
              <a:defRPr sz="1350" b="1">
                <a:solidFill>
                  <a:schemeClr val="bg1"/>
                </a:solidFill>
              </a:defRPr>
            </a:lvl6pPr>
            <a:lvl7pPr marL="85723" indent="0">
              <a:spcBef>
                <a:spcPts val="450"/>
              </a:spcBef>
              <a:buFont typeface="Arial" panose="020B0604020202020204" pitchFamily="34" charset="0"/>
              <a:buChar char="​"/>
              <a:defRPr sz="1350" b="1">
                <a:solidFill>
                  <a:schemeClr val="bg1"/>
                </a:solidFill>
              </a:defRPr>
            </a:lvl7pPr>
            <a:lvl8pPr marL="85723" indent="0">
              <a:spcBef>
                <a:spcPts val="450"/>
              </a:spcBef>
              <a:buFont typeface="Arial" panose="020B0604020202020204" pitchFamily="34" charset="0"/>
              <a:buChar char="​"/>
              <a:defRPr sz="1350" b="1">
                <a:solidFill>
                  <a:schemeClr val="bg1"/>
                </a:solidFill>
              </a:defRPr>
            </a:lvl8pPr>
            <a:lvl9pPr marL="85723"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2"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9" name="Graphic 18">
            <a:extLst>
              <a:ext uri="{FF2B5EF4-FFF2-40B4-BE49-F238E27FC236}">
                <a16:creationId xmlns:a16="http://schemas.microsoft.com/office/drawing/2014/main" id="{DF81B2BA-B265-4FBE-AE2A-A628090F2EE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38410463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2_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1"/>
            <a:ext cx="5344259" cy="2167211"/>
          </a:xfrm>
          <a:prstGeom prst="rect">
            <a:avLst/>
          </a:prstGeom>
        </p:spPr>
        <p:txBody>
          <a:bodyPr/>
          <a:lstStyle>
            <a:lvl1pPr marL="0" indent="0">
              <a:buNone/>
              <a:defRPr sz="2400">
                <a:solidFill>
                  <a:schemeClr val="tx1"/>
                </a:solidFill>
              </a:defRPr>
            </a:lvl1pPr>
            <a:lvl2pPr marL="609474" indent="0">
              <a:buNone/>
              <a:defRPr sz="1350">
                <a:solidFill>
                  <a:schemeClr val="bg1"/>
                </a:solidFill>
              </a:defRPr>
            </a:lvl2pPr>
            <a:lvl3pPr marL="1218946" indent="0">
              <a:buNone/>
              <a:defRPr sz="1350">
                <a:solidFill>
                  <a:schemeClr val="bg1"/>
                </a:solidFill>
              </a:defRPr>
            </a:lvl3pPr>
            <a:lvl4pPr marL="1828418" indent="0">
              <a:buNone/>
              <a:defRPr sz="1350">
                <a:solidFill>
                  <a:schemeClr val="bg1"/>
                </a:solidFill>
              </a:defRPr>
            </a:lvl4pPr>
            <a:lvl5pPr marL="2437890"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1" y="1535136"/>
            <a:ext cx="5344163" cy="2037940"/>
          </a:xfrm>
        </p:spPr>
        <p:txBody>
          <a:bodyPr/>
          <a:lstStyle>
            <a:lvl1pPr>
              <a:defRPr sz="4500">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227202"/>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47537" b="47537"/>
          <a:stretch/>
        </p:blipFill>
        <p:spPr>
          <a:xfrm>
            <a:off x="1" y="1011117"/>
            <a:ext cx="5846885" cy="5846884"/>
          </a:xfrm>
          <a:prstGeom prst="rect">
            <a:avLst/>
          </a:prstGeom>
        </p:spPr>
      </p:pic>
    </p:spTree>
    <p:extLst>
      <p:ext uri="{BB962C8B-B14F-4D97-AF65-F5344CB8AC3E}">
        <p14:creationId xmlns:p14="http://schemas.microsoft.com/office/powerpoint/2010/main" val="19445986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18" name="Graphic 17">
            <a:extLst>
              <a:ext uri="{FF2B5EF4-FFF2-40B4-BE49-F238E27FC236}">
                <a16:creationId xmlns:a16="http://schemas.microsoft.com/office/drawing/2014/main" id="{04B8CEB6-B346-458A-9FC4-405E1474F1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1627" t="7660" r="-9878" b="7660"/>
          <a:stretch/>
        </p:blipFill>
        <p:spPr>
          <a:xfrm>
            <a:off x="-4887" y="0"/>
            <a:ext cx="4717463" cy="6858000"/>
          </a:xfrm>
          <a:prstGeom prst="rect">
            <a:avLst/>
          </a:prstGeom>
        </p:spPr>
      </p:pic>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3" y="3289701"/>
            <a:ext cx="3584857" cy="1645754"/>
          </a:xfrm>
          <a:prstGeom prst="rect">
            <a:avLst/>
          </a:prstGeom>
        </p:spPr>
        <p:txBody>
          <a:bodyPr anchor="b">
            <a:normAutofit/>
          </a:bodyPr>
          <a:lstStyle>
            <a:lvl1pPr marL="85723" indent="-85723">
              <a:spcBef>
                <a:spcPts val="450"/>
              </a:spcBef>
              <a:buFont typeface="Arial" panose="020B0604020202020204" pitchFamily="34" charset="0"/>
              <a:buChar char="“"/>
              <a:defRPr sz="1350" b="0">
                <a:solidFill>
                  <a:schemeClr val="bg1"/>
                </a:solidFill>
              </a:defRPr>
            </a:lvl1pPr>
            <a:lvl2pPr marL="85723" indent="0">
              <a:spcBef>
                <a:spcPts val="450"/>
              </a:spcBef>
              <a:buClr>
                <a:schemeClr val="bg1"/>
              </a:buClr>
              <a:buFont typeface="Arial" panose="020B0604020202020204" pitchFamily="34" charset="0"/>
              <a:buChar char="​"/>
              <a:tabLst/>
              <a:defRPr sz="1350" b="0">
                <a:solidFill>
                  <a:schemeClr val="bg1"/>
                </a:solidFill>
              </a:defRPr>
            </a:lvl2pPr>
            <a:lvl3pPr marL="85723" indent="0">
              <a:spcBef>
                <a:spcPts val="450"/>
              </a:spcBef>
              <a:buClr>
                <a:schemeClr val="bg1"/>
              </a:buClr>
              <a:buFont typeface="Arial" panose="020B0604020202020204" pitchFamily="34" charset="0"/>
              <a:buChar char="​"/>
              <a:tabLst/>
              <a:defRPr sz="1350" b="0">
                <a:solidFill>
                  <a:schemeClr val="bg1"/>
                </a:solidFill>
              </a:defRPr>
            </a:lvl3pPr>
            <a:lvl4pPr marL="85723" indent="0">
              <a:spcBef>
                <a:spcPts val="450"/>
              </a:spcBef>
              <a:buFont typeface="Arial" panose="020B0604020202020204" pitchFamily="34" charset="0"/>
              <a:buChar char="​"/>
              <a:defRPr sz="1350" b="0">
                <a:solidFill>
                  <a:schemeClr val="bg1"/>
                </a:solidFill>
              </a:defRPr>
            </a:lvl4pPr>
            <a:lvl5pPr marL="85723" indent="0">
              <a:spcBef>
                <a:spcPts val="450"/>
              </a:spcBef>
              <a:buFont typeface="Arial" panose="020B0604020202020204" pitchFamily="34" charset="0"/>
              <a:buChar char="​"/>
              <a:defRPr sz="1350" b="0">
                <a:solidFill>
                  <a:schemeClr val="bg1"/>
                </a:solidFill>
              </a:defRPr>
            </a:lvl5pPr>
            <a:lvl6pPr marL="85723" indent="0">
              <a:spcBef>
                <a:spcPts val="450"/>
              </a:spcBef>
              <a:buFont typeface="Arial" panose="020B0604020202020204" pitchFamily="34" charset="0"/>
              <a:buChar char="​"/>
              <a:defRPr sz="1350" b="0">
                <a:solidFill>
                  <a:schemeClr val="bg1"/>
                </a:solidFill>
              </a:defRPr>
            </a:lvl6pPr>
            <a:lvl9pPr marL="85723"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3"/>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3" y="5294157"/>
            <a:ext cx="3584858" cy="529372"/>
          </a:xfrm>
        </p:spPr>
        <p:txBody>
          <a:bodyPr>
            <a:noAutofit/>
          </a:bodyPr>
          <a:lstStyle>
            <a:lvl1pPr marL="85723" indent="0">
              <a:spcBef>
                <a:spcPts val="450"/>
              </a:spcBef>
              <a:buFont typeface="Arial" panose="020B0604020202020204" pitchFamily="34" charset="0"/>
              <a:buChar char="​"/>
              <a:defRPr sz="1350" b="1">
                <a:solidFill>
                  <a:schemeClr val="bg1"/>
                </a:solidFill>
              </a:defRPr>
            </a:lvl1pPr>
            <a:lvl2pPr marL="85723" indent="0">
              <a:spcBef>
                <a:spcPts val="450"/>
              </a:spcBef>
              <a:buFont typeface="Arial" panose="020B0604020202020204" pitchFamily="34" charset="0"/>
              <a:buChar char="​"/>
              <a:defRPr sz="1350" b="1">
                <a:solidFill>
                  <a:schemeClr val="bg1"/>
                </a:solidFill>
              </a:defRPr>
            </a:lvl2pPr>
            <a:lvl3pPr marL="85723" indent="0">
              <a:spcBef>
                <a:spcPts val="450"/>
              </a:spcBef>
              <a:buFont typeface="Arial" panose="020B0604020202020204" pitchFamily="34" charset="0"/>
              <a:buChar char="​"/>
              <a:defRPr sz="1350" b="1">
                <a:solidFill>
                  <a:schemeClr val="bg1"/>
                </a:solidFill>
              </a:defRPr>
            </a:lvl3pPr>
            <a:lvl4pPr marL="85723" indent="0">
              <a:spcBef>
                <a:spcPts val="450"/>
              </a:spcBef>
              <a:buFont typeface="Arial" panose="020B0604020202020204" pitchFamily="34" charset="0"/>
              <a:buChar char="​"/>
              <a:defRPr sz="1350" b="1">
                <a:solidFill>
                  <a:schemeClr val="bg1"/>
                </a:solidFill>
              </a:defRPr>
            </a:lvl4pPr>
            <a:lvl5pPr marL="85723" indent="0">
              <a:spcBef>
                <a:spcPts val="450"/>
              </a:spcBef>
              <a:buFont typeface="Arial" panose="020B0604020202020204" pitchFamily="34" charset="0"/>
              <a:buChar char="​"/>
              <a:defRPr sz="1350" b="1">
                <a:solidFill>
                  <a:schemeClr val="bg1"/>
                </a:solidFill>
              </a:defRPr>
            </a:lvl5pPr>
            <a:lvl6pPr marL="85723" indent="0">
              <a:spcBef>
                <a:spcPts val="450"/>
              </a:spcBef>
              <a:buFont typeface="Arial" panose="020B0604020202020204" pitchFamily="34" charset="0"/>
              <a:buChar char="​"/>
              <a:defRPr sz="1350" b="1">
                <a:solidFill>
                  <a:schemeClr val="bg1"/>
                </a:solidFill>
              </a:defRPr>
            </a:lvl6pPr>
            <a:lvl7pPr marL="85723" indent="0">
              <a:spcBef>
                <a:spcPts val="450"/>
              </a:spcBef>
              <a:buFont typeface="Arial" panose="020B0604020202020204" pitchFamily="34" charset="0"/>
              <a:buChar char="​"/>
              <a:defRPr sz="1350" b="1">
                <a:solidFill>
                  <a:schemeClr val="bg1"/>
                </a:solidFill>
              </a:defRPr>
            </a:lvl7pPr>
            <a:lvl8pPr marL="85723" indent="0">
              <a:spcBef>
                <a:spcPts val="450"/>
              </a:spcBef>
              <a:buFont typeface="Arial" panose="020B0604020202020204" pitchFamily="34" charset="0"/>
              <a:buChar char="​"/>
              <a:defRPr sz="1350" b="1">
                <a:solidFill>
                  <a:schemeClr val="bg1"/>
                </a:solidFill>
              </a:defRPr>
            </a:lvl8pPr>
            <a:lvl9pPr marL="85723"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2"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9" name="Graphic 18">
            <a:extLst>
              <a:ext uri="{FF2B5EF4-FFF2-40B4-BE49-F238E27FC236}">
                <a16:creationId xmlns:a16="http://schemas.microsoft.com/office/drawing/2014/main" id="{DF81B2BA-B265-4FBE-AE2A-A628090F2EE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1265983" y="6227202"/>
            <a:ext cx="644785" cy="260942"/>
          </a:xfrm>
          <a:prstGeom prst="rect">
            <a:avLst/>
          </a:prstGeom>
        </p:spPr>
      </p:pic>
    </p:spTree>
    <p:extLst>
      <p:ext uri="{BB962C8B-B14F-4D97-AF65-F5344CB8AC3E}">
        <p14:creationId xmlns:p14="http://schemas.microsoft.com/office/powerpoint/2010/main" val="10770144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1_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6" y="2665027"/>
            <a:ext cx="6473797" cy="3381265"/>
          </a:xfrm>
        </p:spPr>
        <p:txBody>
          <a:bodyPr anchor="t">
            <a:normAutofit/>
          </a:bodyPr>
          <a:lstStyle>
            <a:lvl1pPr>
              <a:defRPr sz="6000">
                <a:solidFill>
                  <a:schemeClr val="tx1"/>
                </a:solidFill>
              </a:defRPr>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8"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8"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1079484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a:stretch>
            <a:fillRect/>
          </a:stretch>
        </p:blipFill>
        <p:spPr>
          <a:xfrm>
            <a:off x="372802" y="171455"/>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a:stretch>
            <a:fillRect/>
          </a:stretch>
        </p:blipFill>
        <p:spPr>
          <a:xfrm>
            <a:off x="372802" y="171455"/>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a:stretch>
            <a:fillRect/>
          </a:stretch>
        </p:blipFill>
        <p:spPr>
          <a:xfrm>
            <a:off x="372802" y="171455"/>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1"/>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115173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column icon">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8F1EED4-9C02-4A24-A994-AD388A2977C2}"/>
              </a:ext>
            </a:extLst>
          </p:cNvPr>
          <p:cNvSpPr/>
          <p:nvPr userDrawn="1"/>
        </p:nvSpPr>
        <p:spPr bwMode="white">
          <a:xfrm>
            <a:off x="644850" y="1532676"/>
            <a:ext cx="2566081" cy="4950277"/>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0" name="Rectangle 29">
            <a:extLst>
              <a:ext uri="{FF2B5EF4-FFF2-40B4-BE49-F238E27FC236}">
                <a16:creationId xmlns:a16="http://schemas.microsoft.com/office/drawing/2014/main" id="{2913C06C-907C-4773-A5E4-AD20E35B9F5F}"/>
              </a:ext>
            </a:extLst>
          </p:cNvPr>
          <p:cNvSpPr/>
          <p:nvPr userDrawn="1"/>
        </p:nvSpPr>
        <p:spPr bwMode="white">
          <a:xfrm>
            <a:off x="3421824" y="1532676"/>
            <a:ext cx="2566081" cy="4950277"/>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1" name="Rectangle 30">
            <a:extLst>
              <a:ext uri="{FF2B5EF4-FFF2-40B4-BE49-F238E27FC236}">
                <a16:creationId xmlns:a16="http://schemas.microsoft.com/office/drawing/2014/main" id="{53C086EF-2C30-43A0-9153-3878AD90FBAF}"/>
              </a:ext>
            </a:extLst>
          </p:cNvPr>
          <p:cNvSpPr/>
          <p:nvPr userDrawn="1"/>
        </p:nvSpPr>
        <p:spPr bwMode="white">
          <a:xfrm>
            <a:off x="6198798" y="1532676"/>
            <a:ext cx="2566081" cy="4950277"/>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2" name="Rectangle 31">
            <a:extLst>
              <a:ext uri="{FF2B5EF4-FFF2-40B4-BE49-F238E27FC236}">
                <a16:creationId xmlns:a16="http://schemas.microsoft.com/office/drawing/2014/main" id="{87F60045-5CBA-4C5E-817F-3C6796211521}"/>
              </a:ext>
            </a:extLst>
          </p:cNvPr>
          <p:cNvSpPr/>
          <p:nvPr userDrawn="1"/>
        </p:nvSpPr>
        <p:spPr bwMode="white">
          <a:xfrm>
            <a:off x="8975773" y="1532676"/>
            <a:ext cx="2566081" cy="4950277"/>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noProof="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76E45A0-DE19-41AA-9EA2-68795CBC79E7}"/>
              </a:ext>
            </a:extLst>
          </p:cNvPr>
          <p:cNvSpPr>
            <a:spLocks noGrp="1"/>
          </p:cNvSpPr>
          <p:nvPr>
            <p:ph type="title" hasCustomPrompt="1"/>
          </p:nvPr>
        </p:nvSpPr>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p:ph type="pic" sz="quarter" idx="21" hasCustomPrompt="1"/>
          </p:nvPr>
        </p:nvSpPr>
        <p:spPr>
          <a:xfrm>
            <a:off x="1254190"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p:ph type="body" sz="quarter" idx="12" hasCustomPrompt="1"/>
          </p:nvPr>
        </p:nvSpPr>
        <p:spPr>
          <a:xfrm>
            <a:off x="842889"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p:ph type="body" sz="quarter" idx="15" hasCustomPrompt="1"/>
          </p:nvPr>
        </p:nvSpPr>
        <p:spPr>
          <a:xfrm>
            <a:off x="842889"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p:ph type="pic" sz="quarter" idx="22" hasCustomPrompt="1"/>
          </p:nvPr>
        </p:nvSpPr>
        <p:spPr>
          <a:xfrm>
            <a:off x="403116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p:ph type="body" sz="quarter" idx="23" hasCustomPrompt="1"/>
          </p:nvPr>
        </p:nvSpPr>
        <p:spPr>
          <a:xfrm>
            <a:off x="361986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p:ph type="body" sz="quarter" idx="24" hasCustomPrompt="1"/>
          </p:nvPr>
        </p:nvSpPr>
        <p:spPr>
          <a:xfrm>
            <a:off x="3619864"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p:ph type="pic" sz="quarter" idx="25" hasCustomPrompt="1"/>
          </p:nvPr>
        </p:nvSpPr>
        <p:spPr>
          <a:xfrm>
            <a:off x="6808138"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p:ph type="body" sz="quarter" idx="26" hasCustomPrompt="1"/>
          </p:nvPr>
        </p:nvSpPr>
        <p:spPr>
          <a:xfrm>
            <a:off x="6396838"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p:ph type="body" sz="quarter" idx="27" hasCustomPrompt="1"/>
          </p:nvPr>
        </p:nvSpPr>
        <p:spPr>
          <a:xfrm>
            <a:off x="6396838"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p:ph type="pic" sz="quarter" idx="28" hasCustomPrompt="1"/>
          </p:nvPr>
        </p:nvSpPr>
        <p:spPr>
          <a:xfrm>
            <a:off x="958511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p:ph type="body" sz="quarter" idx="29" hasCustomPrompt="1"/>
          </p:nvPr>
        </p:nvSpPr>
        <p:spPr>
          <a:xfrm>
            <a:off x="917381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p:ph type="body" sz="quarter" idx="30" hasCustomPrompt="1"/>
          </p:nvPr>
        </p:nvSpPr>
        <p:spPr>
          <a:xfrm>
            <a:off x="9173812"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2877314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a:solidFill>
                  <a:schemeClr val="tx1"/>
                </a:solidFill>
              </a:rPr>
              <a:t>END OF TEMPLATE</a:t>
            </a:r>
          </a:p>
          <a:p>
            <a:pPr algn="l"/>
            <a:endParaRPr lang="en-US" sz="3000" b="0">
              <a:solidFill>
                <a:schemeClr val="tx1"/>
              </a:solidFill>
            </a:endParaRPr>
          </a:p>
          <a:p>
            <a:pPr algn="l"/>
            <a:r>
              <a:rPr lang="en-US" sz="6600" b="1">
                <a:solidFill>
                  <a:schemeClr val="tx1"/>
                </a:solidFill>
              </a:rPr>
              <a:t>Do not use any master slide that exists after this one</a:t>
            </a:r>
          </a:p>
        </p:txBody>
      </p:sp>
    </p:spTree>
    <p:extLst>
      <p:ext uri="{BB962C8B-B14F-4D97-AF65-F5344CB8AC3E}">
        <p14:creationId xmlns:p14="http://schemas.microsoft.com/office/powerpoint/2010/main" val="3862603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Aditio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A5BBA8-D118-4E87-84B7-58B4C8B8ADAD}"/>
              </a:ext>
            </a:extLst>
          </p:cNvPr>
          <p:cNvSpPr/>
          <p:nvPr userDrawn="1"/>
        </p:nvSpPr>
        <p:spPr>
          <a:xfrm>
            <a:off x="3" y="2"/>
            <a:ext cx="12191999" cy="126682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lIns="1028700" tIns="0" rIns="0" bIns="102870" rtlCol="0" anchor="b" anchorCtr="0"/>
          <a:lstStyle/>
          <a:p>
            <a:pPr algn="l"/>
            <a:endParaRPr lang="en-US" sz="3450" b="1">
              <a:solidFill>
                <a:schemeClr val="lt1"/>
              </a:solidFill>
            </a:endParaRPr>
          </a:p>
        </p:txBody>
      </p:sp>
      <p:pic>
        <p:nvPicPr>
          <p:cNvPr id="5" name="Graphic 4">
            <a:extLst>
              <a:ext uri="{FF2B5EF4-FFF2-40B4-BE49-F238E27FC236}">
                <a16:creationId xmlns:a16="http://schemas.microsoft.com/office/drawing/2014/main" id="{FE36E290-A0D1-4E88-AA93-FF1E500776C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39849" t="49417" r="6" b="33313"/>
          <a:stretch/>
        </p:blipFill>
        <p:spPr>
          <a:xfrm flipH="1" flipV="1">
            <a:off x="7124700" y="0"/>
            <a:ext cx="5067300" cy="1257300"/>
          </a:xfrm>
          <a:prstGeom prst="rect">
            <a:avLst/>
          </a:prstGeom>
        </p:spPr>
      </p:pic>
      <p:sp>
        <p:nvSpPr>
          <p:cNvPr id="4" name="Title 3">
            <a:extLst>
              <a:ext uri="{FF2B5EF4-FFF2-40B4-BE49-F238E27FC236}">
                <a16:creationId xmlns:a16="http://schemas.microsoft.com/office/drawing/2014/main" id="{EEF614AB-B435-414A-8B08-FF10CA2EF8E3}"/>
              </a:ext>
            </a:extLst>
          </p:cNvPr>
          <p:cNvSpPr>
            <a:spLocks noGrp="1"/>
          </p:cNvSpPr>
          <p:nvPr>
            <p:ph type="title"/>
          </p:nvPr>
        </p:nvSpPr>
        <p:spPr>
          <a:xfrm>
            <a:off x="639555" y="171455"/>
            <a:ext cx="10085596" cy="902187"/>
          </a:xfrm>
        </p:spPr>
        <p:txBody>
          <a:bodyPr anchor="b"/>
          <a:lstStyle>
            <a:lvl1pPr>
              <a:defRPr b="1">
                <a:solidFill>
                  <a:schemeClr val="bg1"/>
                </a:solidFill>
              </a:defRPr>
            </a:lvl1pPr>
          </a:lstStyle>
          <a:p>
            <a:r>
              <a:rPr lang="en-US"/>
              <a:t>Click to edit Master title style</a:t>
            </a:r>
            <a:endParaRPr lang="pt-BR"/>
          </a:p>
        </p:txBody>
      </p:sp>
      <p:sp>
        <p:nvSpPr>
          <p:cNvPr id="6" name="Oval 5">
            <a:extLst>
              <a:ext uri="{FF2B5EF4-FFF2-40B4-BE49-F238E27FC236}">
                <a16:creationId xmlns:a16="http://schemas.microsoft.com/office/drawing/2014/main" id="{870964BF-4451-446B-85A0-3E850178602C}"/>
              </a:ext>
            </a:extLst>
          </p:cNvPr>
          <p:cNvSpPr/>
          <p:nvPr userDrawn="1"/>
        </p:nvSpPr>
        <p:spPr>
          <a:xfrm>
            <a:off x="10810875" y="101600"/>
            <a:ext cx="1047750" cy="1047750"/>
          </a:xfrm>
          <a:prstGeom prst="ellipse">
            <a:avLst/>
          </a:prstGeom>
          <a:solidFill>
            <a:srgbClr val="0099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900"/>
          </a:p>
        </p:txBody>
      </p:sp>
    </p:spTree>
    <p:extLst>
      <p:ext uri="{BB962C8B-B14F-4D97-AF65-F5344CB8AC3E}">
        <p14:creationId xmlns:p14="http://schemas.microsoft.com/office/powerpoint/2010/main" val="24215741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_Bullet Slide">
    <p:bg>
      <p:bgPr>
        <a:blipFill dpi="0" rotWithShape="1">
          <a:blip r:embed="rId2">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75"/>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7" y="275170"/>
            <a:ext cx="11717219" cy="627944"/>
          </a:xfrm>
          <a:prstGeom prst="rect">
            <a:avLst/>
          </a:prstGeom>
        </p:spPr>
        <p:txBody>
          <a:bodyPr vert="horz">
            <a:noAutofit/>
          </a:bodyPr>
          <a:lstStyle>
            <a:lvl1pPr algn="l">
              <a:defRPr sz="3000" b="1">
                <a:solidFill>
                  <a:srgbClr val="009BDE"/>
                </a:solidFill>
                <a:latin typeface="+mj-lt"/>
              </a:defRPr>
            </a:lvl1pPr>
          </a:lstStyle>
          <a:p>
            <a:r>
              <a:rPr lang="en-US"/>
              <a:t>Subject Title</a:t>
            </a:r>
          </a:p>
        </p:txBody>
      </p:sp>
      <p:sp>
        <p:nvSpPr>
          <p:cNvPr id="8" name="Text Placeholder 8"/>
          <p:cNvSpPr>
            <a:spLocks noGrp="1"/>
          </p:cNvSpPr>
          <p:nvPr>
            <p:ph type="body" sz="quarter" idx="15" hasCustomPrompt="1"/>
          </p:nvPr>
        </p:nvSpPr>
        <p:spPr>
          <a:xfrm>
            <a:off x="237405" y="1222023"/>
            <a:ext cx="11717542" cy="621828"/>
          </a:xfrm>
          <a:prstGeom prst="rect">
            <a:avLst/>
          </a:prstGeom>
        </p:spPr>
        <p:txBody>
          <a:bodyPr vert="horz" lIns="162506" tIns="81252" rIns="162506" bIns="81252"/>
          <a:lstStyle>
            <a:lvl1pPr marL="0" marR="0" indent="0" algn="l" defTabSz="609290"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200"/>
            </a:lvl2pPr>
            <a:lvl3pPr>
              <a:defRPr sz="1900"/>
            </a:lvl3pPr>
            <a:lvl4pPr>
              <a:defRPr sz="1600"/>
            </a:lvl4pPr>
            <a:lvl5pPr>
              <a:defRPr sz="1600"/>
            </a:lvl5pPr>
          </a:lstStyle>
          <a:p>
            <a:pPr lvl="0"/>
            <a:r>
              <a:rPr lang="en-US"/>
              <a:t>Subhead Goes Here</a:t>
            </a:r>
          </a:p>
        </p:txBody>
      </p:sp>
      <p:sp>
        <p:nvSpPr>
          <p:cNvPr id="10" name="Text Placeholder 8"/>
          <p:cNvSpPr>
            <a:spLocks noGrp="1"/>
          </p:cNvSpPr>
          <p:nvPr>
            <p:ph type="body" sz="quarter" idx="16" hasCustomPrompt="1"/>
          </p:nvPr>
        </p:nvSpPr>
        <p:spPr>
          <a:xfrm>
            <a:off x="237405" y="1843884"/>
            <a:ext cx="11717542" cy="1066175"/>
          </a:xfrm>
          <a:prstGeom prst="rect">
            <a:avLst/>
          </a:prstGeom>
        </p:spPr>
        <p:txBody>
          <a:bodyPr vert="horz" lIns="162506" tIns="81252" rIns="162506" bIns="81252"/>
          <a:lstStyle>
            <a:lvl1pPr marL="0" marR="0" indent="0" algn="l" defTabSz="609290" rtl="0" eaLnBrk="1" fontAlgn="auto" latinLnBrk="0" hangingPunct="1">
              <a:lnSpc>
                <a:spcPct val="100000"/>
              </a:lnSpc>
              <a:spcBef>
                <a:spcPct val="20000"/>
              </a:spcBef>
              <a:spcAft>
                <a:spcPts val="0"/>
              </a:spcAft>
              <a:buClrTx/>
              <a:buSzTx/>
              <a:buFont typeface="Arial"/>
              <a:buNone/>
              <a:tabLst/>
              <a:defRPr sz="1900" b="1">
                <a:solidFill>
                  <a:srgbClr val="787878"/>
                </a:solidFill>
                <a:latin typeface="+mn-lt"/>
              </a:defRPr>
            </a:lvl1pPr>
            <a:lvl2pPr>
              <a:defRPr sz="2200"/>
            </a:lvl2pPr>
            <a:lvl3pPr>
              <a:defRPr sz="1900"/>
            </a:lvl3pPr>
            <a:lvl4pPr>
              <a:defRPr sz="1600"/>
            </a:lvl4pPr>
            <a:lvl5pPr>
              <a:defRPr sz="1600"/>
            </a:lvl5pPr>
          </a:lstStyle>
          <a:p>
            <a:pPr lvl="0"/>
            <a:r>
              <a:rPr lang="en-US"/>
              <a:t>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ecima</a:t>
            </a:r>
            <a:r>
              <a:rPr lang="en-US"/>
              <a:t> </a:t>
            </a:r>
            <a:r>
              <a:rPr lang="en-US" err="1"/>
              <a:t>eodem</a:t>
            </a:r>
            <a:r>
              <a:rPr lang="en-US"/>
              <a:t> </a:t>
            </a:r>
            <a:r>
              <a:rPr lang="en-US" err="1"/>
              <a:t>modo</a:t>
            </a:r>
            <a:r>
              <a:rPr lang="en-US"/>
              <a:t> </a:t>
            </a:r>
            <a:r>
              <a:rPr lang="en-US" err="1"/>
              <a:t>typi</a:t>
            </a:r>
            <a:r>
              <a:rPr lang="en-US"/>
              <a:t>, qui </a:t>
            </a:r>
            <a:r>
              <a:rPr lang="en-US" err="1"/>
              <a:t>nunc</a:t>
            </a:r>
            <a:r>
              <a:rPr lang="en-US"/>
              <a:t> </a:t>
            </a:r>
            <a:r>
              <a:rPr lang="en-US" err="1"/>
              <a:t>nobis</a:t>
            </a:r>
            <a:r>
              <a:rPr lang="en-US"/>
              <a:t> </a:t>
            </a:r>
            <a:r>
              <a:rPr lang="en-US" err="1"/>
              <a:t>videntu</a:t>
            </a:r>
            <a:r>
              <a:rPr lang="en-US"/>
              <a:t> </a:t>
            </a:r>
            <a:r>
              <a:rPr lang="en-US" err="1"/>
              <a:t>parum</a:t>
            </a:r>
            <a:r>
              <a:rPr lang="en-US"/>
              <a:t> </a:t>
            </a:r>
            <a:r>
              <a:rPr lang="en-US" err="1"/>
              <a:t>consequat</a:t>
            </a:r>
            <a:r>
              <a:rPr lang="en-US"/>
              <a:t> </a:t>
            </a:r>
            <a:r>
              <a:rPr lang="en-US" err="1"/>
              <a:t>vel</a:t>
            </a:r>
            <a:r>
              <a:rPr lang="en-US"/>
              <a:t> qui </a:t>
            </a:r>
            <a:r>
              <a:rPr lang="en-US" err="1"/>
              <a:t>nunc</a:t>
            </a:r>
            <a:r>
              <a:rPr lang="en-US"/>
              <a:t> </a:t>
            </a:r>
            <a:r>
              <a:rPr lang="en-US" err="1"/>
              <a:t>nobis</a:t>
            </a:r>
            <a:r>
              <a:rPr lang="en-US"/>
              <a:t> </a:t>
            </a:r>
            <a:r>
              <a:rPr lang="en-US" err="1"/>
              <a:t>videntur</a:t>
            </a:r>
            <a:r>
              <a:rPr lang="en-US"/>
              <a:t> </a:t>
            </a:r>
            <a:r>
              <a:rPr lang="en-US" err="1"/>
              <a:t>parum</a:t>
            </a:r>
            <a:r>
              <a:rPr lang="en-US"/>
              <a:t> </a:t>
            </a:r>
            <a:r>
              <a:rPr lang="en-US" err="1"/>
              <a:t>clari</a:t>
            </a:r>
            <a:r>
              <a:rPr lang="en-US"/>
              <a:t> </a:t>
            </a:r>
            <a:r>
              <a:rPr lang="en-US" err="1"/>
              <a:t>fiant</a:t>
            </a:r>
            <a:r>
              <a:rPr lang="en-US"/>
              <a:t>.</a:t>
            </a:r>
          </a:p>
        </p:txBody>
      </p:sp>
      <p:sp>
        <p:nvSpPr>
          <p:cNvPr id="12" name="Text Placeholder 11"/>
          <p:cNvSpPr>
            <a:spLocks noGrp="1"/>
          </p:cNvSpPr>
          <p:nvPr>
            <p:ph type="body" sz="quarter" idx="17" hasCustomPrompt="1"/>
          </p:nvPr>
        </p:nvSpPr>
        <p:spPr>
          <a:xfrm>
            <a:off x="237069" y="3104448"/>
            <a:ext cx="8173156" cy="3116440"/>
          </a:xfrm>
          <a:prstGeom prst="rect">
            <a:avLst/>
          </a:prstGeom>
        </p:spPr>
        <p:txBody>
          <a:bodyPr vert="horz" lIns="162506" tIns="81252" rIns="162506" bIns="81252"/>
          <a:lstStyle>
            <a:lvl1pPr marL="341201" indent="-341201">
              <a:spcAft>
                <a:spcPts val="800"/>
              </a:spcAft>
              <a:buSzPct val="90000"/>
              <a:buFontTx/>
              <a:buBlip>
                <a:blip r:embed="rId4"/>
              </a:buBlip>
              <a:defRPr sz="1900">
                <a:solidFill>
                  <a:srgbClr val="787878"/>
                </a:solidFill>
                <a:latin typeface="+mn-lt"/>
              </a:defRPr>
            </a:lvl1pPr>
            <a:lvl2pPr marL="792077" indent="-377761">
              <a:spcAft>
                <a:spcPts val="800"/>
              </a:spcAft>
              <a:defRPr sz="1600">
                <a:solidFill>
                  <a:srgbClr val="787878"/>
                </a:solidFill>
                <a:latin typeface="+mn-lt"/>
              </a:defRPr>
            </a:lvl2pPr>
            <a:lvl3pPr>
              <a:defRPr sz="1600">
                <a:solidFill>
                  <a:srgbClr val="787878"/>
                </a:solidFill>
              </a:defRPr>
            </a:lvl3pPr>
            <a:lvl4pPr>
              <a:defRPr sz="1600">
                <a:solidFill>
                  <a:srgbClr val="787878"/>
                </a:solidFill>
              </a:defRPr>
            </a:lvl4pPr>
            <a:lvl5pPr>
              <a:defRPr sz="1600">
                <a:solidFill>
                  <a:srgbClr val="787878"/>
                </a:solidFill>
              </a:defRPr>
            </a:lvl5pPr>
          </a:lstStyle>
          <a:p>
            <a:pPr lvl="0"/>
            <a:r>
              <a:rPr lang="en-US"/>
              <a:t>Lorem </a:t>
            </a:r>
            <a:r>
              <a:rPr lang="en-US" err="1"/>
              <a:t>ipsum</a:t>
            </a:r>
            <a:r>
              <a:rPr lang="en-US"/>
              <a:t> </a:t>
            </a:r>
            <a:r>
              <a:rPr lang="en-US" err="1"/>
              <a:t>delores</a:t>
            </a:r>
            <a:r>
              <a:rPr lang="en-US"/>
              <a:t> eta </a:t>
            </a:r>
            <a:r>
              <a:rPr lang="en-US" err="1"/>
              <a:t>commecturere</a:t>
            </a:r>
            <a:r>
              <a:rPr lang="en-US"/>
              <a:t> </a:t>
            </a:r>
            <a:r>
              <a:rPr lang="en-US" err="1"/>
              <a:t>nim</a:t>
            </a:r>
            <a:r>
              <a:rPr lang="en-US"/>
              <a:t> ad minim </a:t>
            </a:r>
            <a:r>
              <a:rPr lang="en-US" err="1"/>
              <a:t>veniam</a:t>
            </a:r>
            <a:r>
              <a:rPr lang="en-US"/>
              <a:t> </a:t>
            </a:r>
            <a:r>
              <a:rPr lang="en-US" err="1"/>
              <a:t>quis</a:t>
            </a:r>
            <a:r>
              <a:rPr lang="en-US"/>
              <a:t> </a:t>
            </a:r>
            <a:r>
              <a:rPr lang="en-US" err="1"/>
              <a:t>nostrud</a:t>
            </a:r>
            <a:r>
              <a:rPr lang="en-US"/>
              <a:t> </a:t>
            </a:r>
            <a:r>
              <a:rPr lang="en-US" err="1"/>
              <a:t>est</a:t>
            </a:r>
            <a:r>
              <a:rPr lang="en-US"/>
              <a:t> </a:t>
            </a:r>
            <a:r>
              <a:rPr lang="en-US" err="1"/>
              <a:t>suscipit</a:t>
            </a:r>
            <a:r>
              <a:rPr lang="en-US"/>
              <a:t> verdure aurora</a:t>
            </a:r>
          </a:p>
          <a:p>
            <a:pPr lvl="1"/>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consequat</a:t>
            </a:r>
            <a:r>
              <a:rPr lang="en-US"/>
              <a:t> </a:t>
            </a:r>
            <a:r>
              <a:rPr lang="en-US" err="1"/>
              <a:t>vel</a:t>
            </a:r>
            <a:r>
              <a:rPr lang="en-US"/>
              <a:t> qui </a:t>
            </a:r>
            <a:r>
              <a:rPr lang="en-US" err="1"/>
              <a:t>nunc</a:t>
            </a:r>
            <a:r>
              <a:rPr lang="en-US"/>
              <a:t> </a:t>
            </a:r>
            <a:r>
              <a:rPr lang="en-US" err="1"/>
              <a:t>nobis</a:t>
            </a:r>
            <a:r>
              <a:rPr lang="en-US"/>
              <a:t> </a:t>
            </a:r>
            <a:r>
              <a:rPr lang="en-US" err="1"/>
              <a:t>videntur</a:t>
            </a:r>
            <a:r>
              <a:rPr lang="en-US"/>
              <a:t> </a:t>
            </a:r>
            <a:r>
              <a:rPr lang="en-US" err="1"/>
              <a:t>parum</a:t>
            </a:r>
            <a:r>
              <a:rPr lang="en-US"/>
              <a:t> </a:t>
            </a:r>
            <a:r>
              <a:rPr lang="en-US" err="1"/>
              <a:t>clari</a:t>
            </a:r>
            <a:r>
              <a:rPr lang="en-US"/>
              <a:t> </a:t>
            </a:r>
            <a:r>
              <a:rPr lang="en-US" err="1"/>
              <a:t>fiant</a:t>
            </a:r>
            <a:r>
              <a:rPr lang="en-US"/>
              <a:t> </a:t>
            </a:r>
            <a:r>
              <a:rPr lang="en-US" err="1"/>
              <a:t>sollemnes</a:t>
            </a:r>
            <a:r>
              <a:rPr lang="en-US"/>
              <a:t> in</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10815" y="6371286"/>
            <a:ext cx="713675" cy="286690"/>
          </a:xfrm>
          <a:prstGeom prst="rect">
            <a:avLst/>
          </a:prstGeom>
        </p:spPr>
      </p:pic>
    </p:spTree>
    <p:extLst>
      <p:ext uri="{BB962C8B-B14F-4D97-AF65-F5344CB8AC3E}">
        <p14:creationId xmlns:p14="http://schemas.microsoft.com/office/powerpoint/2010/main" val="3284277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AB0AE-C7E9-453A-A43D-150D504D20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B159A1-3281-4F60-A78A-A44B66BC45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4233DD-5AFF-41A2-9F45-0E0EC288249A}"/>
              </a:ext>
            </a:extLst>
          </p:cNvPr>
          <p:cNvSpPr>
            <a:spLocks noGrp="1"/>
          </p:cNvSpPr>
          <p:nvPr>
            <p:ph type="dt" sz="half" idx="10"/>
          </p:nvPr>
        </p:nvSpPr>
        <p:spPr/>
        <p:txBody>
          <a:bodyPr/>
          <a:lstStyle/>
          <a:p>
            <a:fld id="{940B5C89-BDF1-4EEB-8CD1-D3155F804E66}" type="datetimeFigureOut">
              <a:rPr lang="en-US" smtClean="0"/>
              <a:t>9/30/2024</a:t>
            </a:fld>
            <a:endParaRPr lang="en-US"/>
          </a:p>
        </p:txBody>
      </p:sp>
      <p:sp>
        <p:nvSpPr>
          <p:cNvPr id="5" name="Footer Placeholder 4">
            <a:extLst>
              <a:ext uri="{FF2B5EF4-FFF2-40B4-BE49-F238E27FC236}">
                <a16:creationId xmlns:a16="http://schemas.microsoft.com/office/drawing/2014/main" id="{2E9613CB-CF69-4197-A542-831F4C1AF7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34074B-4C69-49E1-A60D-EB543405BE39}"/>
              </a:ext>
            </a:extLst>
          </p:cNvPr>
          <p:cNvSpPr>
            <a:spLocks noGrp="1"/>
          </p:cNvSpPr>
          <p:nvPr>
            <p:ph type="sldNum" sz="quarter" idx="12"/>
          </p:nvPr>
        </p:nvSpPr>
        <p:spPr/>
        <p:txBody>
          <a:bodyPr/>
          <a:lstStyle/>
          <a:p>
            <a:fld id="{E034665B-3401-42F6-B09C-E79DC0ECDE3D}" type="slidenum">
              <a:rPr lang="en-US" smtClean="0"/>
              <a:t>‹#›</a:t>
            </a:fld>
            <a:endParaRPr lang="en-US"/>
          </a:p>
        </p:txBody>
      </p:sp>
    </p:spTree>
    <p:extLst>
      <p:ext uri="{BB962C8B-B14F-4D97-AF65-F5344CB8AC3E}">
        <p14:creationId xmlns:p14="http://schemas.microsoft.com/office/powerpoint/2010/main" val="30027718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1_Single column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C5D1A7-EEC3-4993-94A7-7EF1D5C9EBA7}"/>
              </a:ext>
            </a:extLst>
          </p:cNvPr>
          <p:cNvGraphicFramePr>
            <a:graphicFrameLocks noChangeAspect="1"/>
          </p:cNvGraphicFramePr>
          <p:nvPr userDrawn="1">
            <p:custDataLst>
              <p:tags r:id="rId2"/>
            </p:custDataLst>
            <p:extLst>
              <p:ext uri="{D42A27DB-BD31-4B8C-83A1-F6EECF244321}">
                <p14:modId xmlns:p14="http://schemas.microsoft.com/office/powerpoint/2010/main" val="2111519557"/>
              </p:ext>
            </p:extLst>
          </p:nvPr>
        </p:nvGraphicFramePr>
        <p:xfrm>
          <a:off x="1193" y="1192"/>
          <a:ext cx="1191" cy="1191"/>
        </p:xfrm>
        <a:graphic>
          <a:graphicData uri="http://schemas.openxmlformats.org/presentationml/2006/ole">
            <mc:AlternateContent xmlns:mc="http://schemas.openxmlformats.org/markup-compatibility/2006">
              <mc:Choice xmlns:v="urn:schemas-microsoft-com:vml" Requires="v">
                <p:oleObj spid="_x0000_s5124" name="think-cell Slide" r:id="rId5" imgW="359" imgH="360" progId="TCLayout.ActiveDocument.1">
                  <p:embed/>
                </p:oleObj>
              </mc:Choice>
              <mc:Fallback>
                <p:oleObj name="think-cell Slide" r:id="rId5" imgW="359" imgH="360" progId="TCLayout.ActiveDocument.1">
                  <p:embed/>
                  <p:pic>
                    <p:nvPicPr>
                      <p:cNvPr id="7" name="Object 6" hidden="1">
                        <a:extLst>
                          <a:ext uri="{FF2B5EF4-FFF2-40B4-BE49-F238E27FC236}">
                            <a16:creationId xmlns:a16="http://schemas.microsoft.com/office/drawing/2014/main" id="{CBC5D1A7-EEC3-4993-94A7-7EF1D5C9EBA7}"/>
                          </a:ext>
                        </a:extLst>
                      </p:cNvPr>
                      <p:cNvPicPr/>
                      <p:nvPr/>
                    </p:nvPicPr>
                    <p:blipFill>
                      <a:blip r:embed="rId6"/>
                      <a:stretch>
                        <a:fillRect/>
                      </a:stretch>
                    </p:blipFill>
                    <p:spPr>
                      <a:xfrm>
                        <a:off x="1193" y="119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A29D8A-2AEF-4372-81D8-2F130C1949C2}"/>
              </a:ext>
            </a:extLst>
          </p:cNvPr>
          <p:cNvSpPr/>
          <p:nvPr userDrawn="1">
            <p:custDataLst>
              <p:tags r:id="rId3"/>
            </p:custDataLst>
          </p:nvPr>
        </p:nvSpPr>
        <p:spPr>
          <a:xfrm>
            <a:off x="2" y="2"/>
            <a:ext cx="119063" cy="119063"/>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solidFill>
                <a:schemeClr val="lt1"/>
              </a:solidFill>
              <a:latin typeface="Century Gothic" panose="020B0502020202020204" pitchFamily="34" charset="0"/>
              <a:ea typeface="+mj-ea"/>
              <a:cs typeface="+mj-cs"/>
              <a:sym typeface="Century Gothic" panose="020B0502020202020204" pitchFamily="34" charset="0"/>
            </a:endParaRPr>
          </a:p>
        </p:txBody>
      </p:sp>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0" y="1381127"/>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black">
          <a:xfrm>
            <a:off x="10902367" y="6227203"/>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40867376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2_Bullet Slide">
    <p:bg>
      <p:bgPr>
        <a:blipFill dpi="0" rotWithShape="1">
          <a:blip r:embed="rId2">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75"/>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8" y="275170"/>
            <a:ext cx="11717219" cy="627944"/>
          </a:xfrm>
          <a:prstGeom prst="rect">
            <a:avLst/>
          </a:prstGeom>
        </p:spPr>
        <p:txBody>
          <a:bodyPr vert="horz">
            <a:noAutofit/>
          </a:bodyPr>
          <a:lstStyle>
            <a:lvl1pPr algn="l">
              <a:defRPr sz="3000" b="1">
                <a:solidFill>
                  <a:srgbClr val="009BDE"/>
                </a:solidFill>
                <a:latin typeface="+mj-lt"/>
              </a:defRPr>
            </a:lvl1pPr>
          </a:lstStyle>
          <a:p>
            <a:r>
              <a:rPr lang="en-US"/>
              <a:t>Subject Title</a:t>
            </a:r>
          </a:p>
        </p:txBody>
      </p:sp>
      <p:sp>
        <p:nvSpPr>
          <p:cNvPr id="8" name="Text Placeholder 8"/>
          <p:cNvSpPr>
            <a:spLocks noGrp="1"/>
          </p:cNvSpPr>
          <p:nvPr>
            <p:ph type="body" sz="quarter" idx="15" hasCustomPrompt="1"/>
          </p:nvPr>
        </p:nvSpPr>
        <p:spPr>
          <a:xfrm>
            <a:off x="237405" y="1222023"/>
            <a:ext cx="11717542" cy="621828"/>
          </a:xfrm>
          <a:prstGeom prst="rect">
            <a:avLst/>
          </a:prstGeom>
        </p:spPr>
        <p:txBody>
          <a:bodyPr vert="horz" lIns="162506" tIns="81252" rIns="162506" bIns="81252"/>
          <a:lstStyle>
            <a:lvl1pPr marL="0" marR="0" indent="0" algn="l" defTabSz="609275"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200"/>
            </a:lvl2pPr>
            <a:lvl3pPr>
              <a:defRPr sz="1900"/>
            </a:lvl3pPr>
            <a:lvl4pPr>
              <a:defRPr sz="1600"/>
            </a:lvl4pPr>
            <a:lvl5pPr>
              <a:defRPr sz="1600"/>
            </a:lvl5pPr>
          </a:lstStyle>
          <a:p>
            <a:pPr lvl="0"/>
            <a:r>
              <a:rPr lang="en-US"/>
              <a:t>Subhead Goes Here</a:t>
            </a:r>
          </a:p>
        </p:txBody>
      </p:sp>
      <p:sp>
        <p:nvSpPr>
          <p:cNvPr id="10" name="Text Placeholder 8"/>
          <p:cNvSpPr>
            <a:spLocks noGrp="1"/>
          </p:cNvSpPr>
          <p:nvPr>
            <p:ph type="body" sz="quarter" idx="16" hasCustomPrompt="1"/>
          </p:nvPr>
        </p:nvSpPr>
        <p:spPr>
          <a:xfrm>
            <a:off x="237405" y="1843885"/>
            <a:ext cx="11717542" cy="1066175"/>
          </a:xfrm>
          <a:prstGeom prst="rect">
            <a:avLst/>
          </a:prstGeom>
        </p:spPr>
        <p:txBody>
          <a:bodyPr vert="horz" lIns="162506" tIns="81252" rIns="162506" bIns="81252"/>
          <a:lstStyle>
            <a:lvl1pPr marL="0" marR="0" indent="0" algn="l" defTabSz="609275" rtl="0" eaLnBrk="1" fontAlgn="auto" latinLnBrk="0" hangingPunct="1">
              <a:lnSpc>
                <a:spcPct val="100000"/>
              </a:lnSpc>
              <a:spcBef>
                <a:spcPct val="20000"/>
              </a:spcBef>
              <a:spcAft>
                <a:spcPts val="0"/>
              </a:spcAft>
              <a:buClrTx/>
              <a:buSzTx/>
              <a:buFont typeface="Arial"/>
              <a:buNone/>
              <a:tabLst/>
              <a:defRPr sz="1900" b="1">
                <a:solidFill>
                  <a:srgbClr val="787878"/>
                </a:solidFill>
                <a:latin typeface="+mn-lt"/>
              </a:defRPr>
            </a:lvl1pPr>
            <a:lvl2pPr>
              <a:defRPr sz="2200"/>
            </a:lvl2pPr>
            <a:lvl3pPr>
              <a:defRPr sz="1900"/>
            </a:lvl3pPr>
            <a:lvl4pPr>
              <a:defRPr sz="1600"/>
            </a:lvl4pPr>
            <a:lvl5pPr>
              <a:defRPr sz="1600"/>
            </a:lvl5pPr>
          </a:lstStyle>
          <a:p>
            <a:pPr lvl="0"/>
            <a:r>
              <a:rPr lang="en-US"/>
              <a:t>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ecima</a:t>
            </a:r>
            <a:r>
              <a:rPr lang="en-US"/>
              <a:t> </a:t>
            </a:r>
            <a:r>
              <a:rPr lang="en-US" err="1"/>
              <a:t>eodem</a:t>
            </a:r>
            <a:r>
              <a:rPr lang="en-US"/>
              <a:t> </a:t>
            </a:r>
            <a:r>
              <a:rPr lang="en-US" err="1"/>
              <a:t>modo</a:t>
            </a:r>
            <a:r>
              <a:rPr lang="en-US"/>
              <a:t> </a:t>
            </a:r>
            <a:r>
              <a:rPr lang="en-US" err="1"/>
              <a:t>typi</a:t>
            </a:r>
            <a:r>
              <a:rPr lang="en-US"/>
              <a:t>, qui </a:t>
            </a:r>
            <a:r>
              <a:rPr lang="en-US" err="1"/>
              <a:t>nunc</a:t>
            </a:r>
            <a:r>
              <a:rPr lang="en-US"/>
              <a:t> </a:t>
            </a:r>
            <a:r>
              <a:rPr lang="en-US" err="1"/>
              <a:t>nobis</a:t>
            </a:r>
            <a:r>
              <a:rPr lang="en-US"/>
              <a:t> </a:t>
            </a:r>
            <a:r>
              <a:rPr lang="en-US" err="1"/>
              <a:t>videntu</a:t>
            </a:r>
            <a:r>
              <a:rPr lang="en-US"/>
              <a:t> </a:t>
            </a:r>
            <a:r>
              <a:rPr lang="en-US" err="1"/>
              <a:t>parum</a:t>
            </a:r>
            <a:r>
              <a:rPr lang="en-US"/>
              <a:t> </a:t>
            </a:r>
            <a:r>
              <a:rPr lang="en-US" err="1"/>
              <a:t>consequat</a:t>
            </a:r>
            <a:r>
              <a:rPr lang="en-US"/>
              <a:t> </a:t>
            </a:r>
            <a:r>
              <a:rPr lang="en-US" err="1"/>
              <a:t>vel</a:t>
            </a:r>
            <a:r>
              <a:rPr lang="en-US"/>
              <a:t> qui </a:t>
            </a:r>
            <a:r>
              <a:rPr lang="en-US" err="1"/>
              <a:t>nunc</a:t>
            </a:r>
            <a:r>
              <a:rPr lang="en-US"/>
              <a:t> </a:t>
            </a:r>
            <a:r>
              <a:rPr lang="en-US" err="1"/>
              <a:t>nobis</a:t>
            </a:r>
            <a:r>
              <a:rPr lang="en-US"/>
              <a:t> </a:t>
            </a:r>
            <a:r>
              <a:rPr lang="en-US" err="1"/>
              <a:t>videntur</a:t>
            </a:r>
            <a:r>
              <a:rPr lang="en-US"/>
              <a:t> </a:t>
            </a:r>
            <a:r>
              <a:rPr lang="en-US" err="1"/>
              <a:t>parum</a:t>
            </a:r>
            <a:r>
              <a:rPr lang="en-US"/>
              <a:t> </a:t>
            </a:r>
            <a:r>
              <a:rPr lang="en-US" err="1"/>
              <a:t>clari</a:t>
            </a:r>
            <a:r>
              <a:rPr lang="en-US"/>
              <a:t> </a:t>
            </a:r>
            <a:r>
              <a:rPr lang="en-US" err="1"/>
              <a:t>fiant</a:t>
            </a:r>
            <a:r>
              <a:rPr lang="en-US"/>
              <a:t>.</a:t>
            </a:r>
          </a:p>
        </p:txBody>
      </p:sp>
      <p:sp>
        <p:nvSpPr>
          <p:cNvPr id="12" name="Text Placeholder 11"/>
          <p:cNvSpPr>
            <a:spLocks noGrp="1"/>
          </p:cNvSpPr>
          <p:nvPr>
            <p:ph type="body" sz="quarter" idx="17" hasCustomPrompt="1"/>
          </p:nvPr>
        </p:nvSpPr>
        <p:spPr>
          <a:xfrm>
            <a:off x="237069" y="3104448"/>
            <a:ext cx="8173156" cy="3116440"/>
          </a:xfrm>
          <a:prstGeom prst="rect">
            <a:avLst/>
          </a:prstGeom>
        </p:spPr>
        <p:txBody>
          <a:bodyPr vert="horz" lIns="162506" tIns="81252" rIns="162506" bIns="81252"/>
          <a:lstStyle>
            <a:lvl1pPr marL="341192" indent="-341192">
              <a:spcAft>
                <a:spcPts val="800"/>
              </a:spcAft>
              <a:buSzPct val="90000"/>
              <a:buFontTx/>
              <a:buBlip>
                <a:blip r:embed="rId4"/>
              </a:buBlip>
              <a:defRPr sz="1900">
                <a:solidFill>
                  <a:srgbClr val="787878"/>
                </a:solidFill>
                <a:latin typeface="+mn-lt"/>
              </a:defRPr>
            </a:lvl1pPr>
            <a:lvl2pPr marL="792057" indent="-377752">
              <a:spcAft>
                <a:spcPts val="800"/>
              </a:spcAft>
              <a:defRPr sz="1600">
                <a:solidFill>
                  <a:srgbClr val="787878"/>
                </a:solidFill>
                <a:latin typeface="+mn-lt"/>
              </a:defRPr>
            </a:lvl2pPr>
            <a:lvl3pPr>
              <a:defRPr sz="1600">
                <a:solidFill>
                  <a:srgbClr val="787878"/>
                </a:solidFill>
              </a:defRPr>
            </a:lvl3pPr>
            <a:lvl4pPr>
              <a:defRPr sz="1600">
                <a:solidFill>
                  <a:srgbClr val="787878"/>
                </a:solidFill>
              </a:defRPr>
            </a:lvl4pPr>
            <a:lvl5pPr>
              <a:defRPr sz="1600">
                <a:solidFill>
                  <a:srgbClr val="787878"/>
                </a:solidFill>
              </a:defRPr>
            </a:lvl5pPr>
          </a:lstStyle>
          <a:p>
            <a:pPr lvl="0"/>
            <a:r>
              <a:rPr lang="en-US"/>
              <a:t>Lorem </a:t>
            </a:r>
            <a:r>
              <a:rPr lang="en-US" err="1"/>
              <a:t>ipsum</a:t>
            </a:r>
            <a:r>
              <a:rPr lang="en-US"/>
              <a:t> </a:t>
            </a:r>
            <a:r>
              <a:rPr lang="en-US" err="1"/>
              <a:t>delores</a:t>
            </a:r>
            <a:r>
              <a:rPr lang="en-US"/>
              <a:t> eta </a:t>
            </a:r>
            <a:r>
              <a:rPr lang="en-US" err="1"/>
              <a:t>commecturere</a:t>
            </a:r>
            <a:r>
              <a:rPr lang="en-US"/>
              <a:t> </a:t>
            </a:r>
            <a:r>
              <a:rPr lang="en-US" err="1"/>
              <a:t>nim</a:t>
            </a:r>
            <a:r>
              <a:rPr lang="en-US"/>
              <a:t> ad minim </a:t>
            </a:r>
            <a:r>
              <a:rPr lang="en-US" err="1"/>
              <a:t>veniam</a:t>
            </a:r>
            <a:r>
              <a:rPr lang="en-US"/>
              <a:t> </a:t>
            </a:r>
            <a:r>
              <a:rPr lang="en-US" err="1"/>
              <a:t>quis</a:t>
            </a:r>
            <a:r>
              <a:rPr lang="en-US"/>
              <a:t> </a:t>
            </a:r>
            <a:r>
              <a:rPr lang="en-US" err="1"/>
              <a:t>nostrud</a:t>
            </a:r>
            <a:r>
              <a:rPr lang="en-US"/>
              <a:t> </a:t>
            </a:r>
            <a:r>
              <a:rPr lang="en-US" err="1"/>
              <a:t>est</a:t>
            </a:r>
            <a:r>
              <a:rPr lang="en-US"/>
              <a:t> </a:t>
            </a:r>
            <a:r>
              <a:rPr lang="en-US" err="1"/>
              <a:t>suscipit</a:t>
            </a:r>
            <a:r>
              <a:rPr lang="en-US"/>
              <a:t> verdure aurora</a:t>
            </a:r>
          </a:p>
          <a:p>
            <a:pPr lvl="1"/>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consequat</a:t>
            </a:r>
            <a:r>
              <a:rPr lang="en-US"/>
              <a:t> </a:t>
            </a:r>
            <a:r>
              <a:rPr lang="en-US" err="1"/>
              <a:t>vel</a:t>
            </a:r>
            <a:r>
              <a:rPr lang="en-US"/>
              <a:t> qui </a:t>
            </a:r>
            <a:r>
              <a:rPr lang="en-US" err="1"/>
              <a:t>nunc</a:t>
            </a:r>
            <a:r>
              <a:rPr lang="en-US"/>
              <a:t> </a:t>
            </a:r>
            <a:r>
              <a:rPr lang="en-US" err="1"/>
              <a:t>nobis</a:t>
            </a:r>
            <a:r>
              <a:rPr lang="en-US"/>
              <a:t> </a:t>
            </a:r>
            <a:r>
              <a:rPr lang="en-US" err="1"/>
              <a:t>videntur</a:t>
            </a:r>
            <a:r>
              <a:rPr lang="en-US"/>
              <a:t> </a:t>
            </a:r>
            <a:r>
              <a:rPr lang="en-US" err="1"/>
              <a:t>parum</a:t>
            </a:r>
            <a:r>
              <a:rPr lang="en-US"/>
              <a:t> </a:t>
            </a:r>
            <a:r>
              <a:rPr lang="en-US" err="1"/>
              <a:t>clari</a:t>
            </a:r>
            <a:r>
              <a:rPr lang="en-US"/>
              <a:t> </a:t>
            </a:r>
            <a:r>
              <a:rPr lang="en-US" err="1"/>
              <a:t>fiant</a:t>
            </a:r>
            <a:r>
              <a:rPr lang="en-US"/>
              <a:t> </a:t>
            </a:r>
            <a:r>
              <a:rPr lang="en-US" err="1"/>
              <a:t>sollemnes</a:t>
            </a:r>
            <a:r>
              <a:rPr lang="en-US"/>
              <a:t> in</a:t>
            </a:r>
          </a:p>
        </p:txBody>
      </p:sp>
      <p:pic>
        <p:nvPicPr>
          <p:cNvPr id="11" name="Picture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11210816" y="6371286"/>
            <a:ext cx="713675" cy="286690"/>
          </a:xfrm>
          <a:prstGeom prst="rect">
            <a:avLst/>
          </a:prstGeom>
        </p:spPr>
      </p:pic>
    </p:spTree>
    <p:extLst>
      <p:ext uri="{BB962C8B-B14F-4D97-AF65-F5344CB8AC3E}">
        <p14:creationId xmlns:p14="http://schemas.microsoft.com/office/powerpoint/2010/main" val="24892726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5_Cover - Blue gradient">
    <p:bg>
      <p:bgPr>
        <a:gradFill flip="none" rotWithShape="1">
          <a:gsLst>
            <a:gs pos="0">
              <a:schemeClr val="accent2"/>
            </a:gs>
            <a:gs pos="50400">
              <a:srgbClr val="0076B1"/>
            </a:gs>
            <a:gs pos="10000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9CC64D5-5CD6-4347-8786-83CDC0EA83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0011" r="40110" b="-2340"/>
          <a:stretch/>
        </p:blipFill>
        <p:spPr>
          <a:xfrm>
            <a:off x="5602394" y="0"/>
            <a:ext cx="6589609" cy="6858000"/>
          </a:xfrm>
          <a:prstGeom prst="rect">
            <a:avLst/>
          </a:prstGeom>
        </p:spPr>
      </p:pic>
      <p:sp>
        <p:nvSpPr>
          <p:cNvPr id="6" name="Text Placeholder 6">
            <a:extLst>
              <a:ext uri="{FF2B5EF4-FFF2-40B4-BE49-F238E27FC236}">
                <a16:creationId xmlns:a16="http://schemas.microsoft.com/office/drawing/2014/main" id="{E3262CCB-E251-469F-A62E-0BBAE38D104E}"/>
              </a:ext>
            </a:extLst>
          </p:cNvPr>
          <p:cNvSpPr>
            <a:spLocks noGrp="1"/>
          </p:cNvSpPr>
          <p:nvPr>
            <p:ph type="body" sz="quarter" idx="11" hasCustomPrompt="1"/>
          </p:nvPr>
        </p:nvSpPr>
        <p:spPr>
          <a:xfrm>
            <a:off x="764704" y="893634"/>
            <a:ext cx="5331297" cy="577081"/>
          </a:xfrm>
        </p:spPr>
        <p:txBody>
          <a:bodyPr/>
          <a:lstStyle>
            <a:lvl1pPr>
              <a:defRPr sz="3300" b="1"/>
            </a:lvl1pPr>
          </a:lstStyle>
          <a:p>
            <a:pPr lvl="0"/>
            <a:r>
              <a:rPr lang="en-US"/>
              <a:t>First and last name</a:t>
            </a:r>
          </a:p>
        </p:txBody>
      </p:sp>
      <p:sp>
        <p:nvSpPr>
          <p:cNvPr id="9" name="Text Placeholder 6">
            <a:extLst>
              <a:ext uri="{FF2B5EF4-FFF2-40B4-BE49-F238E27FC236}">
                <a16:creationId xmlns:a16="http://schemas.microsoft.com/office/drawing/2014/main" id="{F298F139-A181-4EAD-88EF-7A2A303F44D6}"/>
              </a:ext>
            </a:extLst>
          </p:cNvPr>
          <p:cNvSpPr>
            <a:spLocks noGrp="1"/>
          </p:cNvSpPr>
          <p:nvPr>
            <p:ph type="body" sz="quarter" idx="12" hasCustomPrompt="1"/>
          </p:nvPr>
        </p:nvSpPr>
        <p:spPr>
          <a:xfrm>
            <a:off x="764704" y="1631116"/>
            <a:ext cx="5331297" cy="1601111"/>
          </a:xfrm>
        </p:spPr>
        <p:txBody>
          <a:bodyPr/>
          <a:lstStyle>
            <a:lvl1pPr>
              <a:defRPr sz="2700" b="0"/>
            </a:lvl1pPr>
          </a:lstStyle>
          <a:p>
            <a:pPr lvl="0"/>
            <a:r>
              <a:rPr lang="en-US"/>
              <a:t>Title and/or contact information</a:t>
            </a:r>
          </a:p>
        </p:txBody>
      </p:sp>
    </p:spTree>
    <p:extLst>
      <p:ext uri="{BB962C8B-B14F-4D97-AF65-F5344CB8AC3E}">
        <p14:creationId xmlns:p14="http://schemas.microsoft.com/office/powerpoint/2010/main" val="2263413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1_Single column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9" y="6227203"/>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pPr marL="0" marR="0" lvl="0" indent="0" algn="l" defTabSz="1088118" rtl="0" eaLnBrk="1" fontAlgn="auto" latinLnBrk="0" hangingPunct="1">
              <a:lnSpc>
                <a:spcPct val="100000"/>
              </a:lnSpc>
              <a:spcBef>
                <a:spcPts val="0"/>
              </a:spcBef>
              <a:spcAft>
                <a:spcPts val="0"/>
              </a:spcAft>
              <a:buClrTx/>
              <a:buSzTx/>
              <a:buFontTx/>
              <a:buNone/>
              <a:tabLst/>
              <a:defRPr/>
            </a:pPr>
            <a:fld id="{C48D9196-7146-4672-A4BA-DB29036C6B41}" type="slidenum">
              <a:rPr kumimoji="0" lang="en-US" sz="900" b="0" i="0" u="none" strike="noStrike" kern="1200" cap="none" spc="0" normalizeH="0" baseline="0" noProof="0" smtClean="0">
                <a:ln>
                  <a:noFill/>
                </a:ln>
                <a:solidFill>
                  <a:srgbClr val="333333"/>
                </a:solidFill>
                <a:effectLst/>
                <a:uLnTx/>
                <a:uFillTx/>
                <a:latin typeface="Century Gothic" panose="020F0302020204030204"/>
                <a:ea typeface="+mn-ea"/>
                <a:cs typeface="+mn-cs"/>
              </a:rPr>
              <a:pPr marL="0" marR="0" lvl="0" indent="0" algn="l" defTabSz="108811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333333"/>
              </a:solidFill>
              <a:effectLst/>
              <a:uLnTx/>
              <a:uFillTx/>
              <a:latin typeface="Century Gothic" panose="020F0302020204030204"/>
              <a:ea typeface="+mn-ea"/>
              <a:cs typeface="+mn-cs"/>
            </a:endParaRPr>
          </a:p>
        </p:txBody>
      </p:sp>
      <p:sp>
        <p:nvSpPr>
          <p:cNvPr id="2" name="Rectangle 1">
            <a:extLst>
              <a:ext uri="{FF2B5EF4-FFF2-40B4-BE49-F238E27FC236}">
                <a16:creationId xmlns:a16="http://schemas.microsoft.com/office/drawing/2014/main" id="{1FA5BBA8-D118-4E87-84B7-58B4C8B8ADAD}"/>
              </a:ext>
            </a:extLst>
          </p:cNvPr>
          <p:cNvSpPr/>
          <p:nvPr userDrawn="1"/>
        </p:nvSpPr>
        <p:spPr>
          <a:xfrm>
            <a:off x="0" y="0"/>
            <a:ext cx="12192000" cy="1028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lIns="1028700" tIns="0" rIns="0" bIns="102870" rtlCol="0" anchor="b" anchorCtr="0"/>
          <a:lstStyle/>
          <a:p>
            <a:pPr marL="0" marR="0" lvl="0" indent="0" algn="l" defTabSz="1088118" rtl="0" eaLnBrk="1" fontAlgn="auto" latinLnBrk="0" hangingPunct="1">
              <a:lnSpc>
                <a:spcPct val="100000"/>
              </a:lnSpc>
              <a:spcBef>
                <a:spcPts val="0"/>
              </a:spcBef>
              <a:spcAft>
                <a:spcPts val="0"/>
              </a:spcAft>
              <a:buClrTx/>
              <a:buSzTx/>
              <a:buFontTx/>
              <a:buNone/>
              <a:tabLst/>
              <a:defRPr/>
            </a:pPr>
            <a:endParaRPr kumimoji="0" lang="en-US" sz="3450" b="1"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17" name="Picture 16">
            <a:extLst>
              <a:ext uri="{FF2B5EF4-FFF2-40B4-BE49-F238E27FC236}">
                <a16:creationId xmlns:a16="http://schemas.microsoft.com/office/drawing/2014/main" id="{3907C29C-894C-49DB-824D-BAB741A25CF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3709" t="30514" r="26423" b="15468"/>
          <a:stretch/>
        </p:blipFill>
        <p:spPr>
          <a:xfrm>
            <a:off x="11093211" y="0"/>
            <a:ext cx="1092438" cy="1028700"/>
          </a:xfrm>
          <a:prstGeom prst="rect">
            <a:avLst/>
          </a:prstGeom>
        </p:spPr>
      </p:pic>
      <p:sp>
        <p:nvSpPr>
          <p:cNvPr id="27" name="Text Placeholder 1">
            <a:extLst>
              <a:ext uri="{FF2B5EF4-FFF2-40B4-BE49-F238E27FC236}">
                <a16:creationId xmlns:a16="http://schemas.microsoft.com/office/drawing/2014/main" id="{EC222B6A-EA1C-40F1-8E35-A7425596133E}"/>
              </a:ext>
            </a:extLst>
          </p:cNvPr>
          <p:cNvSpPr>
            <a:spLocks noGrp="1"/>
          </p:cNvSpPr>
          <p:nvPr>
            <p:ph type="body" sz="quarter" idx="41" hasCustomPrompt="1"/>
          </p:nvPr>
        </p:nvSpPr>
        <p:spPr>
          <a:xfrm>
            <a:off x="1103242" y="0"/>
            <a:ext cx="10012680" cy="1028700"/>
          </a:xfrm>
        </p:spPr>
        <p:txBody>
          <a:bodyPr bIns="91440" anchor="b" anchorCtr="0"/>
          <a:lstStyle>
            <a:lvl1pPr>
              <a:spcBef>
                <a:spcPts val="0"/>
              </a:spcBef>
              <a:spcAft>
                <a:spcPts val="0"/>
              </a:spcAft>
              <a:defRPr sz="3450" b="1">
                <a:solidFill>
                  <a:schemeClr val="bg1"/>
                </a:solidFill>
              </a:defRPr>
            </a:lvl1pPr>
          </a:lstStyle>
          <a:p>
            <a:pPr>
              <a:spcAft>
                <a:spcPts val="0"/>
              </a:spcAft>
            </a:pPr>
            <a:r>
              <a:rPr lang="en-US"/>
              <a:t>Title</a:t>
            </a:r>
          </a:p>
          <a:p>
            <a:pPr>
              <a:spcAft>
                <a:spcPts val="0"/>
              </a:spcAft>
            </a:pPr>
            <a:r>
              <a:rPr lang="en-US" sz="1500" b="0"/>
              <a:t>Subtitle</a:t>
            </a:r>
          </a:p>
        </p:txBody>
      </p:sp>
    </p:spTree>
    <p:extLst>
      <p:ext uri="{BB962C8B-B14F-4D97-AF65-F5344CB8AC3E}">
        <p14:creationId xmlns:p14="http://schemas.microsoft.com/office/powerpoint/2010/main" val="30732352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683">
          <p15:clr>
            <a:srgbClr val="FBAE40"/>
          </p15:clr>
        </p15:guide>
        <p15:guide id="2" pos="12971">
          <p15:clr>
            <a:srgbClr val="FBAE40"/>
          </p15:clr>
        </p15:guide>
        <p15:guide id="6" orient="horz" pos="6688">
          <p15:clr>
            <a:srgbClr val="FBAE40"/>
          </p15:clr>
        </p15:guide>
        <p15:guide id="7" orient="horz" pos="768">
          <p15:clr>
            <a:srgbClr val="FBAE40"/>
          </p15:clr>
        </p15:guide>
        <p15:guide id="8" orient="horz" pos="1536">
          <p15:clr>
            <a:srgbClr val="FBAE40"/>
          </p15:clr>
        </p15:guide>
        <p15:guide id="9" pos="6827">
          <p15:clr>
            <a:srgbClr val="FBAE40"/>
          </p15:clr>
        </p15:guide>
        <p15:guide id="10" orient="horz" pos="4096">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2_Single column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7" y="6227203"/>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
        <p:nvSpPr>
          <p:cNvPr id="2" name="Rectangle 1">
            <a:extLst>
              <a:ext uri="{FF2B5EF4-FFF2-40B4-BE49-F238E27FC236}">
                <a16:creationId xmlns:a16="http://schemas.microsoft.com/office/drawing/2014/main" id="{1FA5BBA8-D118-4E87-84B7-58B4C8B8ADAD}"/>
              </a:ext>
            </a:extLst>
          </p:cNvPr>
          <p:cNvSpPr/>
          <p:nvPr userDrawn="1"/>
        </p:nvSpPr>
        <p:spPr>
          <a:xfrm>
            <a:off x="0" y="0"/>
            <a:ext cx="12192000" cy="10287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lIns="1028700" tIns="0" rIns="0" bIns="102870" rtlCol="0" anchor="b" anchorCtr="0"/>
          <a:lstStyle/>
          <a:p>
            <a:pPr algn="l"/>
            <a:endParaRPr lang="en-US" sz="3450" b="1">
              <a:solidFill>
                <a:schemeClr val="lt1"/>
              </a:solidFill>
            </a:endParaRPr>
          </a:p>
        </p:txBody>
      </p:sp>
      <p:pic>
        <p:nvPicPr>
          <p:cNvPr id="17" name="Picture 16">
            <a:extLst>
              <a:ext uri="{FF2B5EF4-FFF2-40B4-BE49-F238E27FC236}">
                <a16:creationId xmlns:a16="http://schemas.microsoft.com/office/drawing/2014/main" id="{3907C29C-894C-49DB-824D-BAB741A25CF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3709" t="30514" r="26423" b="15468"/>
          <a:stretch/>
        </p:blipFill>
        <p:spPr>
          <a:xfrm>
            <a:off x="11093211" y="0"/>
            <a:ext cx="1092438" cy="1028700"/>
          </a:xfrm>
          <a:prstGeom prst="rect">
            <a:avLst/>
          </a:prstGeom>
        </p:spPr>
      </p:pic>
      <p:sp>
        <p:nvSpPr>
          <p:cNvPr id="27" name="Text Placeholder 1">
            <a:extLst>
              <a:ext uri="{FF2B5EF4-FFF2-40B4-BE49-F238E27FC236}">
                <a16:creationId xmlns:a16="http://schemas.microsoft.com/office/drawing/2014/main" id="{EC222B6A-EA1C-40F1-8E35-A7425596133E}"/>
              </a:ext>
            </a:extLst>
          </p:cNvPr>
          <p:cNvSpPr>
            <a:spLocks noGrp="1"/>
          </p:cNvSpPr>
          <p:nvPr>
            <p:ph type="body" sz="quarter" idx="41" hasCustomPrompt="1"/>
          </p:nvPr>
        </p:nvSpPr>
        <p:spPr>
          <a:xfrm>
            <a:off x="1103242" y="0"/>
            <a:ext cx="10012680" cy="1028700"/>
          </a:xfrm>
        </p:spPr>
        <p:txBody>
          <a:bodyPr bIns="91440" anchor="b" anchorCtr="0"/>
          <a:lstStyle>
            <a:lvl1pPr>
              <a:spcBef>
                <a:spcPts val="0"/>
              </a:spcBef>
              <a:spcAft>
                <a:spcPts val="0"/>
              </a:spcAft>
              <a:defRPr sz="3450" b="1">
                <a:solidFill>
                  <a:schemeClr val="bg1"/>
                </a:solidFill>
              </a:defRPr>
            </a:lvl1pPr>
          </a:lstStyle>
          <a:p>
            <a:pPr>
              <a:spcAft>
                <a:spcPts val="0"/>
              </a:spcAft>
            </a:pPr>
            <a:r>
              <a:rPr lang="en-US"/>
              <a:t>Title</a:t>
            </a:r>
          </a:p>
          <a:p>
            <a:pPr>
              <a:spcAft>
                <a:spcPts val="0"/>
              </a:spcAft>
            </a:pPr>
            <a:r>
              <a:rPr lang="en-US" sz="1500" b="0"/>
              <a:t>Subtitle</a:t>
            </a:r>
          </a:p>
        </p:txBody>
      </p:sp>
    </p:spTree>
    <p:extLst>
      <p:ext uri="{BB962C8B-B14F-4D97-AF65-F5344CB8AC3E}">
        <p14:creationId xmlns:p14="http://schemas.microsoft.com/office/powerpoint/2010/main" val="4054058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3_Bullet Slide">
    <p:bg>
      <p:bgPr>
        <a:blipFill dpi="0" rotWithShape="1">
          <a:blip r:embed="rId2">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75"/>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8" y="275170"/>
            <a:ext cx="11717219" cy="627944"/>
          </a:xfrm>
          <a:prstGeom prst="rect">
            <a:avLst/>
          </a:prstGeom>
        </p:spPr>
        <p:txBody>
          <a:bodyPr vert="horz">
            <a:noAutofit/>
          </a:bodyPr>
          <a:lstStyle>
            <a:lvl1pPr algn="l">
              <a:defRPr sz="3000" b="1">
                <a:solidFill>
                  <a:srgbClr val="009BDE"/>
                </a:solidFill>
                <a:latin typeface="+mj-lt"/>
              </a:defRPr>
            </a:lvl1pPr>
          </a:lstStyle>
          <a:p>
            <a:r>
              <a:rPr lang="en-US"/>
              <a:t>Subject Title</a:t>
            </a:r>
          </a:p>
        </p:txBody>
      </p:sp>
      <p:sp>
        <p:nvSpPr>
          <p:cNvPr id="8" name="Text Placeholder 8"/>
          <p:cNvSpPr>
            <a:spLocks noGrp="1"/>
          </p:cNvSpPr>
          <p:nvPr>
            <p:ph type="body" sz="quarter" idx="15" hasCustomPrompt="1"/>
          </p:nvPr>
        </p:nvSpPr>
        <p:spPr>
          <a:xfrm>
            <a:off x="237405" y="1222023"/>
            <a:ext cx="11717542" cy="621828"/>
          </a:xfrm>
          <a:prstGeom prst="rect">
            <a:avLst/>
          </a:prstGeom>
        </p:spPr>
        <p:txBody>
          <a:bodyPr vert="horz" lIns="162506" tIns="81252" rIns="162506" bIns="81252"/>
          <a:lstStyle>
            <a:lvl1pPr marL="0" marR="0" indent="0" algn="l" defTabSz="609275"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200"/>
            </a:lvl2pPr>
            <a:lvl3pPr>
              <a:defRPr sz="1900"/>
            </a:lvl3pPr>
            <a:lvl4pPr>
              <a:defRPr sz="1600"/>
            </a:lvl4pPr>
            <a:lvl5pPr>
              <a:defRPr sz="1600"/>
            </a:lvl5pPr>
          </a:lstStyle>
          <a:p>
            <a:pPr lvl="0"/>
            <a:r>
              <a:rPr lang="en-US"/>
              <a:t>Subhead Goes Here</a:t>
            </a:r>
          </a:p>
        </p:txBody>
      </p:sp>
      <p:sp>
        <p:nvSpPr>
          <p:cNvPr id="10" name="Text Placeholder 8"/>
          <p:cNvSpPr>
            <a:spLocks noGrp="1"/>
          </p:cNvSpPr>
          <p:nvPr>
            <p:ph type="body" sz="quarter" idx="16" hasCustomPrompt="1"/>
          </p:nvPr>
        </p:nvSpPr>
        <p:spPr>
          <a:xfrm>
            <a:off x="237405" y="1843885"/>
            <a:ext cx="11717542" cy="1066175"/>
          </a:xfrm>
          <a:prstGeom prst="rect">
            <a:avLst/>
          </a:prstGeom>
        </p:spPr>
        <p:txBody>
          <a:bodyPr vert="horz" lIns="162506" tIns="81252" rIns="162506" bIns="81252"/>
          <a:lstStyle>
            <a:lvl1pPr marL="0" marR="0" indent="0" algn="l" defTabSz="609275" rtl="0" eaLnBrk="1" fontAlgn="auto" latinLnBrk="0" hangingPunct="1">
              <a:lnSpc>
                <a:spcPct val="100000"/>
              </a:lnSpc>
              <a:spcBef>
                <a:spcPct val="20000"/>
              </a:spcBef>
              <a:spcAft>
                <a:spcPts val="0"/>
              </a:spcAft>
              <a:buClrTx/>
              <a:buSzTx/>
              <a:buFont typeface="Arial"/>
              <a:buNone/>
              <a:tabLst/>
              <a:defRPr sz="1900" b="1">
                <a:solidFill>
                  <a:srgbClr val="787878"/>
                </a:solidFill>
                <a:latin typeface="+mn-lt"/>
              </a:defRPr>
            </a:lvl1pPr>
            <a:lvl2pPr>
              <a:defRPr sz="2200"/>
            </a:lvl2pPr>
            <a:lvl3pPr>
              <a:defRPr sz="1900"/>
            </a:lvl3pPr>
            <a:lvl4pPr>
              <a:defRPr sz="1600"/>
            </a:lvl4pPr>
            <a:lvl5pPr>
              <a:defRPr sz="1600"/>
            </a:lvl5pPr>
          </a:lstStyle>
          <a:p>
            <a:pPr lvl="0"/>
            <a:r>
              <a:rPr lang="en-US"/>
              <a:t>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ecima</a:t>
            </a:r>
            <a:r>
              <a:rPr lang="en-US"/>
              <a:t> </a:t>
            </a:r>
            <a:r>
              <a:rPr lang="en-US" err="1"/>
              <a:t>eodem</a:t>
            </a:r>
            <a:r>
              <a:rPr lang="en-US"/>
              <a:t> </a:t>
            </a:r>
            <a:r>
              <a:rPr lang="en-US" err="1"/>
              <a:t>modo</a:t>
            </a:r>
            <a:r>
              <a:rPr lang="en-US"/>
              <a:t> </a:t>
            </a:r>
            <a:r>
              <a:rPr lang="en-US" err="1"/>
              <a:t>typi</a:t>
            </a:r>
            <a:r>
              <a:rPr lang="en-US"/>
              <a:t>, qui </a:t>
            </a:r>
            <a:r>
              <a:rPr lang="en-US" err="1"/>
              <a:t>nunc</a:t>
            </a:r>
            <a:r>
              <a:rPr lang="en-US"/>
              <a:t> </a:t>
            </a:r>
            <a:r>
              <a:rPr lang="en-US" err="1"/>
              <a:t>nobis</a:t>
            </a:r>
            <a:r>
              <a:rPr lang="en-US"/>
              <a:t> </a:t>
            </a:r>
            <a:r>
              <a:rPr lang="en-US" err="1"/>
              <a:t>videntu</a:t>
            </a:r>
            <a:r>
              <a:rPr lang="en-US"/>
              <a:t> </a:t>
            </a:r>
            <a:r>
              <a:rPr lang="en-US" err="1"/>
              <a:t>parum</a:t>
            </a:r>
            <a:r>
              <a:rPr lang="en-US"/>
              <a:t> </a:t>
            </a:r>
            <a:r>
              <a:rPr lang="en-US" err="1"/>
              <a:t>consequat</a:t>
            </a:r>
            <a:r>
              <a:rPr lang="en-US"/>
              <a:t> </a:t>
            </a:r>
            <a:r>
              <a:rPr lang="en-US" err="1"/>
              <a:t>vel</a:t>
            </a:r>
            <a:r>
              <a:rPr lang="en-US"/>
              <a:t> qui </a:t>
            </a:r>
            <a:r>
              <a:rPr lang="en-US" err="1"/>
              <a:t>nunc</a:t>
            </a:r>
            <a:r>
              <a:rPr lang="en-US"/>
              <a:t> </a:t>
            </a:r>
            <a:r>
              <a:rPr lang="en-US" err="1"/>
              <a:t>nobis</a:t>
            </a:r>
            <a:r>
              <a:rPr lang="en-US"/>
              <a:t> </a:t>
            </a:r>
            <a:r>
              <a:rPr lang="en-US" err="1"/>
              <a:t>videntur</a:t>
            </a:r>
            <a:r>
              <a:rPr lang="en-US"/>
              <a:t> </a:t>
            </a:r>
            <a:r>
              <a:rPr lang="en-US" err="1"/>
              <a:t>parum</a:t>
            </a:r>
            <a:r>
              <a:rPr lang="en-US"/>
              <a:t> </a:t>
            </a:r>
            <a:r>
              <a:rPr lang="en-US" err="1"/>
              <a:t>clari</a:t>
            </a:r>
            <a:r>
              <a:rPr lang="en-US"/>
              <a:t> </a:t>
            </a:r>
            <a:r>
              <a:rPr lang="en-US" err="1"/>
              <a:t>fiant</a:t>
            </a:r>
            <a:r>
              <a:rPr lang="en-US"/>
              <a:t>.</a:t>
            </a:r>
          </a:p>
        </p:txBody>
      </p:sp>
      <p:sp>
        <p:nvSpPr>
          <p:cNvPr id="12" name="Text Placeholder 11"/>
          <p:cNvSpPr>
            <a:spLocks noGrp="1"/>
          </p:cNvSpPr>
          <p:nvPr>
            <p:ph type="body" sz="quarter" idx="17" hasCustomPrompt="1"/>
          </p:nvPr>
        </p:nvSpPr>
        <p:spPr>
          <a:xfrm>
            <a:off x="237069" y="3104448"/>
            <a:ext cx="8173156" cy="3116440"/>
          </a:xfrm>
          <a:prstGeom prst="rect">
            <a:avLst/>
          </a:prstGeom>
        </p:spPr>
        <p:txBody>
          <a:bodyPr vert="horz" lIns="162506" tIns="81252" rIns="162506" bIns="81252"/>
          <a:lstStyle>
            <a:lvl1pPr marL="341192" indent="-341192">
              <a:spcAft>
                <a:spcPts val="800"/>
              </a:spcAft>
              <a:buSzPct val="90000"/>
              <a:buFontTx/>
              <a:buBlip>
                <a:blip r:embed="rId4"/>
              </a:buBlip>
              <a:defRPr sz="1900">
                <a:solidFill>
                  <a:srgbClr val="787878"/>
                </a:solidFill>
                <a:latin typeface="+mn-lt"/>
              </a:defRPr>
            </a:lvl1pPr>
            <a:lvl2pPr marL="792057" indent="-377752">
              <a:spcAft>
                <a:spcPts val="800"/>
              </a:spcAft>
              <a:defRPr sz="1600">
                <a:solidFill>
                  <a:srgbClr val="787878"/>
                </a:solidFill>
                <a:latin typeface="+mn-lt"/>
              </a:defRPr>
            </a:lvl2pPr>
            <a:lvl3pPr>
              <a:defRPr sz="1600">
                <a:solidFill>
                  <a:srgbClr val="787878"/>
                </a:solidFill>
              </a:defRPr>
            </a:lvl3pPr>
            <a:lvl4pPr>
              <a:defRPr sz="1600">
                <a:solidFill>
                  <a:srgbClr val="787878"/>
                </a:solidFill>
              </a:defRPr>
            </a:lvl4pPr>
            <a:lvl5pPr>
              <a:defRPr sz="1600">
                <a:solidFill>
                  <a:srgbClr val="787878"/>
                </a:solidFill>
              </a:defRPr>
            </a:lvl5pPr>
          </a:lstStyle>
          <a:p>
            <a:pPr lvl="0"/>
            <a:r>
              <a:rPr lang="en-US"/>
              <a:t>Lorem </a:t>
            </a:r>
            <a:r>
              <a:rPr lang="en-US" err="1"/>
              <a:t>ipsum</a:t>
            </a:r>
            <a:r>
              <a:rPr lang="en-US"/>
              <a:t> </a:t>
            </a:r>
            <a:r>
              <a:rPr lang="en-US" err="1"/>
              <a:t>delores</a:t>
            </a:r>
            <a:r>
              <a:rPr lang="en-US"/>
              <a:t> eta </a:t>
            </a:r>
            <a:r>
              <a:rPr lang="en-US" err="1"/>
              <a:t>commecturere</a:t>
            </a:r>
            <a:r>
              <a:rPr lang="en-US"/>
              <a:t> </a:t>
            </a:r>
            <a:r>
              <a:rPr lang="en-US" err="1"/>
              <a:t>nim</a:t>
            </a:r>
            <a:r>
              <a:rPr lang="en-US"/>
              <a:t> ad minim </a:t>
            </a:r>
            <a:r>
              <a:rPr lang="en-US" err="1"/>
              <a:t>veniam</a:t>
            </a:r>
            <a:r>
              <a:rPr lang="en-US"/>
              <a:t> </a:t>
            </a:r>
            <a:r>
              <a:rPr lang="en-US" err="1"/>
              <a:t>quis</a:t>
            </a:r>
            <a:r>
              <a:rPr lang="en-US"/>
              <a:t> </a:t>
            </a:r>
            <a:r>
              <a:rPr lang="en-US" err="1"/>
              <a:t>nostrud</a:t>
            </a:r>
            <a:r>
              <a:rPr lang="en-US"/>
              <a:t> </a:t>
            </a:r>
            <a:r>
              <a:rPr lang="en-US" err="1"/>
              <a:t>est</a:t>
            </a:r>
            <a:r>
              <a:rPr lang="en-US"/>
              <a:t> </a:t>
            </a:r>
            <a:r>
              <a:rPr lang="en-US" err="1"/>
              <a:t>suscipit</a:t>
            </a:r>
            <a:r>
              <a:rPr lang="en-US"/>
              <a:t> verdure aurora</a:t>
            </a:r>
          </a:p>
          <a:p>
            <a:pPr lvl="1"/>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consequat</a:t>
            </a:r>
            <a:r>
              <a:rPr lang="en-US"/>
              <a:t> </a:t>
            </a:r>
            <a:r>
              <a:rPr lang="en-US" err="1"/>
              <a:t>vel</a:t>
            </a:r>
            <a:r>
              <a:rPr lang="en-US"/>
              <a:t> qui </a:t>
            </a:r>
            <a:r>
              <a:rPr lang="en-US" err="1"/>
              <a:t>nunc</a:t>
            </a:r>
            <a:r>
              <a:rPr lang="en-US"/>
              <a:t> </a:t>
            </a:r>
            <a:r>
              <a:rPr lang="en-US" err="1"/>
              <a:t>nobis</a:t>
            </a:r>
            <a:r>
              <a:rPr lang="en-US"/>
              <a:t> </a:t>
            </a:r>
            <a:r>
              <a:rPr lang="en-US" err="1"/>
              <a:t>videntur</a:t>
            </a:r>
            <a:r>
              <a:rPr lang="en-US"/>
              <a:t> </a:t>
            </a:r>
            <a:r>
              <a:rPr lang="en-US" err="1"/>
              <a:t>parum</a:t>
            </a:r>
            <a:r>
              <a:rPr lang="en-US"/>
              <a:t> </a:t>
            </a:r>
            <a:r>
              <a:rPr lang="en-US" err="1"/>
              <a:t>clari</a:t>
            </a:r>
            <a:r>
              <a:rPr lang="en-US"/>
              <a:t> </a:t>
            </a:r>
            <a:r>
              <a:rPr lang="en-US" err="1"/>
              <a:t>fiant</a:t>
            </a:r>
            <a:r>
              <a:rPr lang="en-US"/>
              <a:t> </a:t>
            </a:r>
            <a:r>
              <a:rPr lang="en-US" err="1"/>
              <a:t>sollemnes</a:t>
            </a:r>
            <a:r>
              <a:rPr lang="en-US"/>
              <a:t> in</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10816" y="6371286"/>
            <a:ext cx="713675" cy="286690"/>
          </a:xfrm>
          <a:prstGeom prst="rect">
            <a:avLst/>
          </a:prstGeom>
        </p:spPr>
      </p:pic>
    </p:spTree>
    <p:extLst>
      <p:ext uri="{BB962C8B-B14F-4D97-AF65-F5344CB8AC3E}">
        <p14:creationId xmlns:p14="http://schemas.microsoft.com/office/powerpoint/2010/main" val="3044346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5886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3_Single column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C5D1A7-EEC3-4993-94A7-7EF1D5C9EBA7}"/>
              </a:ext>
            </a:extLst>
          </p:cNvPr>
          <p:cNvGraphicFramePr>
            <a:graphicFrameLocks noChangeAspect="1"/>
          </p:cNvGraphicFramePr>
          <p:nvPr userDrawn="1">
            <p:custDataLst>
              <p:tags r:id="rId2"/>
            </p:custDataLst>
            <p:extLst>
              <p:ext uri="{D42A27DB-BD31-4B8C-83A1-F6EECF244321}">
                <p14:modId xmlns:p14="http://schemas.microsoft.com/office/powerpoint/2010/main" val="166055811"/>
              </p:ext>
            </p:extLst>
          </p:nvPr>
        </p:nvGraphicFramePr>
        <p:xfrm>
          <a:off x="1193" y="1192"/>
          <a:ext cx="1191" cy="1191"/>
        </p:xfrm>
        <a:graphic>
          <a:graphicData uri="http://schemas.openxmlformats.org/presentationml/2006/ole">
            <mc:AlternateContent xmlns:mc="http://schemas.openxmlformats.org/markup-compatibility/2006">
              <mc:Choice xmlns:v="urn:schemas-microsoft-com:vml" Requires="v">
                <p:oleObj spid="_x0000_s6148" name="think-cell Slide" r:id="rId5" imgW="359" imgH="360" progId="TCLayout.ActiveDocument.1">
                  <p:embed/>
                </p:oleObj>
              </mc:Choice>
              <mc:Fallback>
                <p:oleObj name="think-cell Slide" r:id="rId5" imgW="359" imgH="360" progId="TCLayout.ActiveDocument.1">
                  <p:embed/>
                  <p:pic>
                    <p:nvPicPr>
                      <p:cNvPr id="7" name="Object 6" hidden="1">
                        <a:extLst>
                          <a:ext uri="{FF2B5EF4-FFF2-40B4-BE49-F238E27FC236}">
                            <a16:creationId xmlns:a16="http://schemas.microsoft.com/office/drawing/2014/main" id="{CBC5D1A7-EEC3-4993-94A7-7EF1D5C9EBA7}"/>
                          </a:ext>
                        </a:extLst>
                      </p:cNvPr>
                      <p:cNvPicPr/>
                      <p:nvPr/>
                    </p:nvPicPr>
                    <p:blipFill>
                      <a:blip r:embed="rId6"/>
                      <a:stretch>
                        <a:fillRect/>
                      </a:stretch>
                    </p:blipFill>
                    <p:spPr>
                      <a:xfrm>
                        <a:off x="1193" y="119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A29D8A-2AEF-4372-81D8-2F130C1949C2}"/>
              </a:ext>
            </a:extLst>
          </p:cNvPr>
          <p:cNvSpPr/>
          <p:nvPr userDrawn="1">
            <p:custDataLst>
              <p:tags r:id="rId3"/>
            </p:custDataLst>
          </p:nvPr>
        </p:nvSpPr>
        <p:spPr>
          <a:xfrm>
            <a:off x="2" y="2"/>
            <a:ext cx="119063" cy="119063"/>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solidFill>
                <a:schemeClr val="lt1"/>
              </a:solidFill>
              <a:latin typeface="Century Gothic" panose="020B0502020202020204" pitchFamily="34" charset="0"/>
              <a:ea typeface="+mj-ea"/>
              <a:cs typeface="+mj-cs"/>
              <a:sym typeface="Century Gothic" panose="020B0502020202020204" pitchFamily="34" charset="0"/>
            </a:endParaRPr>
          </a:p>
        </p:txBody>
      </p:sp>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0" y="1381127"/>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black">
          <a:xfrm>
            <a:off x="10902367" y="6227203"/>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1330965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3_Cover - Blue gradient">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1"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732" fontAlgn="auto">
              <a:lnSpc>
                <a:spcPct val="100000"/>
              </a:lnSpc>
              <a:spcBef>
                <a:spcPts val="0"/>
              </a:spcBef>
              <a:spcAft>
                <a:spcPts val="0"/>
              </a:spcAft>
              <a:buClrTx/>
              <a:buSzTx/>
              <a:buFontTx/>
              <a:buNone/>
              <a:tabLst/>
            </a:pPr>
            <a:endParaRPr kumimoji="0" lang="en-US" sz="1350" b="0" i="0" u="none" strike="noStrike" kern="0" cap="none" spc="0" normalizeH="0" baseline="0" dirty="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2"/>
            <a:ext cx="4045796" cy="2294186"/>
          </a:xfrm>
        </p:spPr>
        <p:txBody>
          <a:bodyPr>
            <a:normAutofit/>
          </a:bodyPr>
          <a:lstStyle>
            <a:lvl1pPr>
              <a:defRPr sz="4499">
                <a:solidFill>
                  <a:schemeClr val="tx1"/>
                </a:solidFill>
              </a:defRPr>
            </a:lvl1pPr>
          </a:lstStyle>
          <a:p>
            <a:r>
              <a:rPr lang="en-US" dirty="0"/>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6"/>
            <a:ext cx="4056257" cy="744265"/>
          </a:xfrm>
        </p:spPr>
        <p:txBody>
          <a:bodyPr>
            <a:normAutofit/>
          </a:bodyPr>
          <a:lstStyle>
            <a:lvl1pPr marL="0" indent="0" algn="l">
              <a:buNone/>
              <a:defRPr sz="1500">
                <a:solidFill>
                  <a:schemeClr val="tx1"/>
                </a:solidFill>
              </a:defRPr>
            </a:lvl1pPr>
            <a:lvl2pPr marL="342866" indent="0" algn="ctr">
              <a:buNone/>
              <a:defRPr sz="1500"/>
            </a:lvl2pPr>
            <a:lvl3pPr marL="685732" indent="0" algn="ctr">
              <a:buNone/>
              <a:defRPr sz="1350"/>
            </a:lvl3pPr>
            <a:lvl4pPr marL="1028597" indent="0" algn="ctr">
              <a:buNone/>
              <a:defRPr sz="1200"/>
            </a:lvl4pPr>
            <a:lvl5pPr marL="1371463" indent="0" algn="ctr">
              <a:buNone/>
              <a:defRPr sz="1200"/>
            </a:lvl5pPr>
            <a:lvl6pPr marL="1714328" indent="0" algn="ctr">
              <a:buNone/>
              <a:defRPr sz="1200"/>
            </a:lvl6pPr>
            <a:lvl7pPr marL="2057195" indent="0" algn="ctr">
              <a:buNone/>
              <a:defRPr sz="1200"/>
            </a:lvl7pPr>
            <a:lvl8pPr marL="2400060" indent="0" algn="ctr">
              <a:buNone/>
              <a:defRPr sz="1200"/>
            </a:lvl8pPr>
            <a:lvl9pPr marL="2742926" indent="0" algn="ctr">
              <a:buNone/>
              <a:defRPr sz="1200"/>
            </a:lvl9pPr>
          </a:lstStyle>
          <a:p>
            <a:r>
              <a:rPr lang="en-US" dirty="0"/>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997612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7" y="3694102"/>
            <a:ext cx="5344259" cy="2167211"/>
          </a:xfrm>
          <a:prstGeom prst="rect">
            <a:avLst/>
          </a:prstGeom>
        </p:spPr>
        <p:txBody>
          <a:bodyPr/>
          <a:lstStyle>
            <a:lvl1pPr marL="0" indent="0">
              <a:buNone/>
              <a:defRPr sz="2400">
                <a:solidFill>
                  <a:schemeClr val="tx1"/>
                </a:solidFill>
              </a:defRPr>
            </a:lvl1pPr>
            <a:lvl2pPr marL="609428" indent="0">
              <a:buNone/>
              <a:defRPr sz="1350">
                <a:solidFill>
                  <a:schemeClr val="bg1"/>
                </a:solidFill>
              </a:defRPr>
            </a:lvl2pPr>
            <a:lvl3pPr marL="1218854" indent="0">
              <a:buNone/>
              <a:defRPr sz="1350">
                <a:solidFill>
                  <a:schemeClr val="bg1"/>
                </a:solidFill>
              </a:defRPr>
            </a:lvl3pPr>
            <a:lvl4pPr marL="1828280" indent="0">
              <a:buNone/>
              <a:defRPr sz="1350">
                <a:solidFill>
                  <a:schemeClr val="bg1"/>
                </a:solidFill>
              </a:defRPr>
            </a:lvl4pPr>
            <a:lvl5pPr marL="2437707" indent="0">
              <a:buNone/>
              <a:defRPr sz="1350">
                <a:solidFill>
                  <a:schemeClr val="bg1"/>
                </a:solidFill>
              </a:defRPr>
            </a:lvl5pPr>
          </a:lstStyle>
          <a:p>
            <a:pPr lvl="0"/>
            <a:r>
              <a:rPr lang="en-US" dirty="0"/>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0" y="1535138"/>
            <a:ext cx="5344163" cy="2037940"/>
          </a:xfrm>
        </p:spPr>
        <p:txBody>
          <a:bodyPr/>
          <a:lstStyle>
            <a:lvl1pPr>
              <a:defRPr sz="4499">
                <a:solidFill>
                  <a:schemeClr val="tx1"/>
                </a:solidFill>
              </a:defRPr>
            </a:lvl1pPr>
          </a:lstStyle>
          <a:p>
            <a:r>
              <a:rPr lang="en-US" dirty="0"/>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0" y="1011117"/>
            <a:ext cx="5846885" cy="5846884"/>
          </a:xfrm>
          <a:prstGeom prst="rect">
            <a:avLst/>
          </a:prstGeom>
        </p:spPr>
      </p:pic>
    </p:spTree>
    <p:extLst>
      <p:ext uri="{BB962C8B-B14F-4D97-AF65-F5344CB8AC3E}">
        <p14:creationId xmlns:p14="http://schemas.microsoft.com/office/powerpoint/2010/main" val="1830755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1" y="218831"/>
            <a:ext cx="10972800" cy="902187"/>
          </a:xfrm>
        </p:spPr>
        <p:txBody>
          <a:bodyPr/>
          <a:lstStyle/>
          <a:p>
            <a:r>
              <a:rPr lang="en-US" dirty="0"/>
              <a:t>Click to edit your title</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3067006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1" y="218831"/>
            <a:ext cx="10972800" cy="902187"/>
          </a:xfrm>
        </p:spPr>
        <p:txBody>
          <a:bodyPr/>
          <a:lstStyle/>
          <a:p>
            <a:r>
              <a:rPr lang="en-US" dirty="0"/>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1" y="1381126"/>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1658743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3" y="219456"/>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6" name="Slide Number Placeholder 2">
            <a:extLst>
              <a:ext uri="{FF2B5EF4-FFF2-40B4-BE49-F238E27FC236}">
                <a16:creationId xmlns:a16="http://schemas.microsoft.com/office/drawing/2014/main" id="{D8B151FE-45DE-7041-89E6-DA9AA2092C25}"/>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388685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1"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1" y="219456"/>
            <a:ext cx="10972800" cy="902187"/>
          </a:xfrm>
        </p:spPr>
        <p:txBody>
          <a:bodyPr/>
          <a:lstStyle/>
          <a:p>
            <a:r>
              <a:rPr lang="en-US" dirty="0"/>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6"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7" name="Slide Number Placeholder 2">
            <a:extLst>
              <a:ext uri="{FF2B5EF4-FFF2-40B4-BE49-F238E27FC236}">
                <a16:creationId xmlns:a16="http://schemas.microsoft.com/office/drawing/2014/main" id="{401F701F-2CE0-4D4C-AE50-E1816A3F0E0C}"/>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536449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3" y="219456"/>
            <a:ext cx="10972800" cy="902187"/>
          </a:xfrm>
        </p:spPr>
        <p:txBody>
          <a:bodyPr/>
          <a:lstStyle/>
          <a:p>
            <a:r>
              <a:rPr lang="en-US" dirty="0"/>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8" name="Slide Number Placeholder 2">
            <a:extLst>
              <a:ext uri="{FF2B5EF4-FFF2-40B4-BE49-F238E27FC236}">
                <a16:creationId xmlns:a16="http://schemas.microsoft.com/office/drawing/2014/main" id="{CCC2575E-E1C2-6F49-A49E-DE8314CCBED2}"/>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7567779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7" y="1379229"/>
            <a:ext cx="4123424"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dirty="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3"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dirty="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2" y="1379229"/>
            <a:ext cx="3512323" cy="4592946"/>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dirty="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4"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3" y="219456"/>
            <a:ext cx="10972800" cy="902187"/>
          </a:xfrm>
        </p:spPr>
        <p:txBody>
          <a:bodyPr/>
          <a:lstStyle/>
          <a:p>
            <a:r>
              <a:rPr lang="en-US" dirty="0"/>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4" y="3837478"/>
            <a:ext cx="2994260"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4" y="4524693"/>
            <a:ext cx="2994260"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9"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9" y="3837478"/>
            <a:ext cx="2994260"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9" y="4524691"/>
            <a:ext cx="2994260"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2" y="1929689"/>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2" y="3837478"/>
            <a:ext cx="2994260"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2" y="4524691"/>
            <a:ext cx="2994260"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18" name="Slide Number Placeholder 2">
            <a:extLst>
              <a:ext uri="{FF2B5EF4-FFF2-40B4-BE49-F238E27FC236}">
                <a16:creationId xmlns:a16="http://schemas.microsoft.com/office/drawing/2014/main" id="{8E8970CE-1356-3E49-8ECE-879265F33BC0}"/>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7003679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0"/>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noProof="0" dirty="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noProof="0" dirty="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noProof="0" dirty="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noProof="0" dirty="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3" y="219456"/>
            <a:ext cx="10972800" cy="902187"/>
          </a:xfrm>
        </p:spPr>
        <p:txBody>
          <a:bodyPr/>
          <a:lstStyle/>
          <a:p>
            <a:r>
              <a:rPr lang="en-US" dirty="0"/>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5" y="3816696"/>
            <a:ext cx="2170003"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5" y="4503910"/>
            <a:ext cx="2170003"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5" y="3816696"/>
            <a:ext cx="2170003"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5" y="4503910"/>
            <a:ext cx="2170003"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4" y="3816696"/>
            <a:ext cx="2170003"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4" y="4503910"/>
            <a:ext cx="2170003"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3" y="3816696"/>
            <a:ext cx="2170003" cy="528674"/>
          </a:xfrm>
          <a:prstGeom prst="rect">
            <a:avLst/>
          </a:prstGeom>
        </p:spPr>
        <p:txBody>
          <a:bodyPr>
            <a:noAutofit/>
          </a:bodyPr>
          <a:lstStyle>
            <a:lvl1pPr marL="0" indent="0" algn="ctr">
              <a:buNone/>
              <a:defRPr sz="2100" b="1">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3" y="4503910"/>
            <a:ext cx="2170003" cy="1025786"/>
          </a:xfrm>
          <a:prstGeom prst="rect">
            <a:avLst/>
          </a:prstGeom>
        </p:spPr>
        <p:txBody>
          <a:bodyPr>
            <a:noAutofit/>
          </a:bodyPr>
          <a:lstStyle>
            <a:lvl1pPr marL="0" indent="0" algn="ctr">
              <a:buNone/>
              <a:defRPr sz="1500" b="0">
                <a:solidFill>
                  <a:schemeClr val="bg1"/>
                </a:solidFill>
              </a:defRPr>
            </a:lvl1pPr>
            <a:lvl2pPr marL="609428" indent="0" algn="ctr">
              <a:buNone/>
              <a:defRPr sz="2100" b="1">
                <a:solidFill>
                  <a:schemeClr val="bg2"/>
                </a:solidFill>
              </a:defRPr>
            </a:lvl2pPr>
            <a:lvl3pPr marL="1218854" indent="0" algn="ctr">
              <a:buNone/>
              <a:defRPr sz="2100" b="1">
                <a:solidFill>
                  <a:schemeClr val="bg2"/>
                </a:solidFill>
              </a:defRPr>
            </a:lvl3pPr>
            <a:lvl4pPr marL="1828280" indent="0" algn="ctr">
              <a:buNone/>
              <a:defRPr sz="2100" b="1">
                <a:solidFill>
                  <a:schemeClr val="bg2"/>
                </a:solidFill>
              </a:defRPr>
            </a:lvl4pPr>
            <a:lvl5pPr marL="2437707" indent="0" algn="ctr">
              <a:buNone/>
              <a:defRPr sz="2100" b="1">
                <a:solidFill>
                  <a:schemeClr val="bg2"/>
                </a:solidFill>
              </a:defRPr>
            </a:lvl5pPr>
          </a:lstStyle>
          <a:p>
            <a:pPr lvl="0"/>
            <a:r>
              <a:rPr lang="en-US" dirty="0"/>
              <a:t>Click to add body</a:t>
            </a:r>
          </a:p>
          <a:p>
            <a:pPr lvl="0"/>
            <a:endParaRPr lang="en-US" dirty="0"/>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
        <p:nvSpPr>
          <p:cNvPr id="23" name="Slide Number Placeholder 2">
            <a:extLst>
              <a:ext uri="{FF2B5EF4-FFF2-40B4-BE49-F238E27FC236}">
                <a16:creationId xmlns:a16="http://schemas.microsoft.com/office/drawing/2014/main" id="{2AE05A0F-7106-A54D-86C6-8DB1EDCD2020}"/>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1188943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 Green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879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dirty="0"/>
          </a:p>
        </p:txBody>
      </p:sp>
      <p:pic>
        <p:nvPicPr>
          <p:cNvPr id="18" name="Graphic 17">
            <a:extLst>
              <a:ext uri="{FF2B5EF4-FFF2-40B4-BE49-F238E27FC236}">
                <a16:creationId xmlns:a16="http://schemas.microsoft.com/office/drawing/2014/main" id="{04B8CEB6-B346-458A-9FC4-405E1474F1F9}"/>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51627" t="7660" r="-9878" b="7660"/>
          <a:stretch/>
        </p:blipFill>
        <p:spPr>
          <a:xfrm>
            <a:off x="-4887" y="0"/>
            <a:ext cx="4717463" cy="6858000"/>
          </a:xfrm>
          <a:prstGeom prst="rect">
            <a:avLst/>
          </a:prstGeom>
        </p:spPr>
      </p:pic>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90" y="62303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3" y="3289703"/>
            <a:ext cx="3584857" cy="1645754"/>
          </a:xfrm>
          <a:prstGeom prst="rect">
            <a:avLst/>
          </a:prstGeom>
        </p:spPr>
        <p:txBody>
          <a:bodyPr anchor="b">
            <a:normAutofit/>
          </a:bodyPr>
          <a:lstStyle>
            <a:lvl1pPr marL="85717" indent="-85717">
              <a:spcBef>
                <a:spcPts val="450"/>
              </a:spcBef>
              <a:buFont typeface="Arial" panose="020B0604020202020204" pitchFamily="34" charset="0"/>
              <a:buChar char="“"/>
              <a:defRPr sz="1350" b="0">
                <a:solidFill>
                  <a:schemeClr val="bg1"/>
                </a:solidFill>
              </a:defRPr>
            </a:lvl1pPr>
            <a:lvl2pPr marL="85717" indent="0">
              <a:spcBef>
                <a:spcPts val="450"/>
              </a:spcBef>
              <a:buClr>
                <a:schemeClr val="bg1"/>
              </a:buClr>
              <a:buFont typeface="Arial" panose="020B0604020202020204" pitchFamily="34" charset="0"/>
              <a:buChar char="​"/>
              <a:tabLst/>
              <a:defRPr sz="1350" b="0">
                <a:solidFill>
                  <a:schemeClr val="bg1"/>
                </a:solidFill>
              </a:defRPr>
            </a:lvl2pPr>
            <a:lvl3pPr marL="85717" indent="0">
              <a:spcBef>
                <a:spcPts val="450"/>
              </a:spcBef>
              <a:buClr>
                <a:schemeClr val="bg1"/>
              </a:buClr>
              <a:buFont typeface="Arial" panose="020B0604020202020204" pitchFamily="34" charset="0"/>
              <a:buChar char="​"/>
              <a:tabLst/>
              <a:defRPr sz="1350" b="0">
                <a:solidFill>
                  <a:schemeClr val="bg1"/>
                </a:solidFill>
              </a:defRPr>
            </a:lvl3pPr>
            <a:lvl4pPr marL="85717" indent="0">
              <a:spcBef>
                <a:spcPts val="450"/>
              </a:spcBef>
              <a:buFont typeface="Arial" panose="020B0604020202020204" pitchFamily="34" charset="0"/>
              <a:buChar char="​"/>
              <a:defRPr sz="1350" b="0">
                <a:solidFill>
                  <a:schemeClr val="bg1"/>
                </a:solidFill>
              </a:defRPr>
            </a:lvl4pPr>
            <a:lvl5pPr marL="85717" indent="0">
              <a:spcBef>
                <a:spcPts val="450"/>
              </a:spcBef>
              <a:buFont typeface="Arial" panose="020B0604020202020204" pitchFamily="34" charset="0"/>
              <a:buChar char="​"/>
              <a:defRPr sz="1350" b="0">
                <a:solidFill>
                  <a:schemeClr val="bg1"/>
                </a:solidFill>
              </a:defRPr>
            </a:lvl5pPr>
            <a:lvl6pPr marL="85717" indent="0">
              <a:spcBef>
                <a:spcPts val="450"/>
              </a:spcBef>
              <a:buFont typeface="Arial" panose="020B0604020202020204" pitchFamily="34" charset="0"/>
              <a:buChar char="​"/>
              <a:defRPr sz="1350" b="0">
                <a:solidFill>
                  <a:schemeClr val="bg1"/>
                </a:solidFill>
              </a:defRPr>
            </a:lvl6pPr>
            <a:lvl9pPr marL="85717" indent="0">
              <a:spcBef>
                <a:spcPts val="450"/>
              </a:spcBef>
              <a:buFont typeface="Arial" panose="020B0604020202020204" pitchFamily="34" charset="0"/>
              <a:buChar char="​"/>
              <a:defRPr sz="1350" b="0">
                <a:solidFill>
                  <a:schemeClr val="bg1"/>
                </a:solidFill>
              </a:defRPr>
            </a:lvl9pPr>
          </a:lstStyle>
          <a:p>
            <a:pPr lvl="0"/>
            <a:r>
              <a:rPr lang="en-US" dirty="0"/>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90" y="62303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90" y="62303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898" tIns="60949" rIns="121898" bIns="6094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4"/>
            <a:ext cx="3497624" cy="1757635"/>
          </a:xfrm>
        </p:spPr>
        <p:txBody>
          <a:bodyPr anchor="t"/>
          <a:lstStyle>
            <a:lvl1pP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17" indent="0">
              <a:spcBef>
                <a:spcPts val="450"/>
              </a:spcBef>
              <a:buFont typeface="Arial" panose="020B0604020202020204" pitchFamily="34" charset="0"/>
              <a:buChar char="​"/>
              <a:defRPr sz="1350" b="1">
                <a:solidFill>
                  <a:schemeClr val="bg1"/>
                </a:solidFill>
              </a:defRPr>
            </a:lvl1pPr>
            <a:lvl2pPr marL="85717" indent="0">
              <a:spcBef>
                <a:spcPts val="450"/>
              </a:spcBef>
              <a:buFont typeface="Arial" panose="020B0604020202020204" pitchFamily="34" charset="0"/>
              <a:buChar char="​"/>
              <a:defRPr sz="1350" b="1">
                <a:solidFill>
                  <a:schemeClr val="bg1"/>
                </a:solidFill>
              </a:defRPr>
            </a:lvl2pPr>
            <a:lvl3pPr marL="85717" indent="0">
              <a:spcBef>
                <a:spcPts val="450"/>
              </a:spcBef>
              <a:buFont typeface="Arial" panose="020B0604020202020204" pitchFamily="34" charset="0"/>
              <a:buChar char="​"/>
              <a:defRPr sz="1350" b="1">
                <a:solidFill>
                  <a:schemeClr val="bg1"/>
                </a:solidFill>
              </a:defRPr>
            </a:lvl3pPr>
            <a:lvl4pPr marL="85717" indent="0">
              <a:spcBef>
                <a:spcPts val="450"/>
              </a:spcBef>
              <a:buFont typeface="Arial" panose="020B0604020202020204" pitchFamily="34" charset="0"/>
              <a:buChar char="​"/>
              <a:defRPr sz="1350" b="1">
                <a:solidFill>
                  <a:schemeClr val="bg1"/>
                </a:solidFill>
              </a:defRPr>
            </a:lvl4pPr>
            <a:lvl5pPr marL="85717" indent="0">
              <a:spcBef>
                <a:spcPts val="450"/>
              </a:spcBef>
              <a:buFont typeface="Arial" panose="020B0604020202020204" pitchFamily="34" charset="0"/>
              <a:buChar char="​"/>
              <a:defRPr sz="1350" b="1">
                <a:solidFill>
                  <a:schemeClr val="bg1"/>
                </a:solidFill>
              </a:defRPr>
            </a:lvl5pPr>
            <a:lvl6pPr marL="85717" indent="0">
              <a:spcBef>
                <a:spcPts val="450"/>
              </a:spcBef>
              <a:buFont typeface="Arial" panose="020B0604020202020204" pitchFamily="34" charset="0"/>
              <a:buChar char="​"/>
              <a:defRPr sz="1350" b="1">
                <a:solidFill>
                  <a:schemeClr val="bg1"/>
                </a:solidFill>
              </a:defRPr>
            </a:lvl6pPr>
            <a:lvl7pPr marL="85717" indent="0">
              <a:spcBef>
                <a:spcPts val="450"/>
              </a:spcBef>
              <a:buFont typeface="Arial" panose="020B0604020202020204" pitchFamily="34" charset="0"/>
              <a:buChar char="​"/>
              <a:defRPr sz="1350" b="1">
                <a:solidFill>
                  <a:schemeClr val="bg1"/>
                </a:solidFill>
              </a:defRPr>
            </a:lvl7pPr>
            <a:lvl8pPr marL="85717" indent="0">
              <a:spcBef>
                <a:spcPts val="450"/>
              </a:spcBef>
              <a:buFont typeface="Arial" panose="020B0604020202020204" pitchFamily="34" charset="0"/>
              <a:buChar char="​"/>
              <a:defRPr sz="1350" b="1">
                <a:solidFill>
                  <a:schemeClr val="bg1"/>
                </a:solidFill>
              </a:defRPr>
            </a:lvl8pPr>
            <a:lvl9pPr marL="85717" indent="0">
              <a:spcBef>
                <a:spcPts val="450"/>
              </a:spcBef>
              <a:buFont typeface="Arial" panose="020B0604020202020204" pitchFamily="34" charset="0"/>
              <a:buChar char="​"/>
              <a:defRPr sz="1350" b="1">
                <a:solidFill>
                  <a:schemeClr val="bg1"/>
                </a:solidFill>
              </a:defRPr>
            </a:lvl9pPr>
          </a:lstStyle>
          <a:p>
            <a:pPr lvl="0"/>
            <a:r>
              <a:rPr lang="en-US" dirty="0"/>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dirty="0"/>
              <a:t>Click to insert case study proof points</a:t>
            </a:r>
          </a:p>
          <a:p>
            <a:pPr lvl="1"/>
            <a:r>
              <a:rPr lang="en-US" dirty="0"/>
              <a:t>Second level</a:t>
            </a:r>
          </a:p>
          <a:p>
            <a:pPr lvl="2"/>
            <a:r>
              <a:rPr lang="en-US" dirty="0"/>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6" y="6227201"/>
            <a:ext cx="644785" cy="260942"/>
          </a:xfrm>
          <a:prstGeom prst="rect">
            <a:avLst/>
          </a:prstGeom>
        </p:spPr>
      </p:pic>
    </p:spTree>
    <p:extLst>
      <p:ext uri="{BB962C8B-B14F-4D97-AF65-F5344CB8AC3E}">
        <p14:creationId xmlns:p14="http://schemas.microsoft.com/office/powerpoint/2010/main" val="4129654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losing - Blue gradi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dirty="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8"/>
            <a:ext cx="6473797" cy="3381265"/>
          </a:xfrm>
        </p:spPr>
        <p:txBody>
          <a:bodyPr anchor="t">
            <a:normAutofit/>
          </a:bodyPr>
          <a:lstStyle>
            <a:lvl1pPr>
              <a:defRPr sz="5999">
                <a:solidFill>
                  <a:schemeClr val="tx1"/>
                </a:solidFill>
              </a:defRPr>
            </a:lvl1pPr>
          </a:lstStyle>
          <a:p>
            <a:r>
              <a:rPr lang="en-US" dirty="0"/>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1782" t="12990" r="50000" b="12990"/>
          <a:stretch/>
        </p:blipFill>
        <p:spPr>
          <a:xfrm>
            <a:off x="7394333" y="0"/>
            <a:ext cx="4797668" cy="6858000"/>
          </a:xfrm>
          <a:prstGeom prst="rect">
            <a:avLst/>
          </a:prstGeom>
        </p:spPr>
      </p:pic>
    </p:spTree>
    <p:extLst>
      <p:ext uri="{BB962C8B-B14F-4D97-AF65-F5344CB8AC3E}">
        <p14:creationId xmlns:p14="http://schemas.microsoft.com/office/powerpoint/2010/main" val="1719849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802"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2"/>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dirty="0">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dirty="0">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dirty="0">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dirty="0"/>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grpSp>
    </p:spTree>
    <p:extLst>
      <p:ext uri="{BB962C8B-B14F-4D97-AF65-F5344CB8AC3E}">
        <p14:creationId xmlns:p14="http://schemas.microsoft.com/office/powerpoint/2010/main" val="136445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7"/>
            <a:ext cx="8893512" cy="4062266"/>
          </a:xfrm>
          <a:prstGeom prst="rect">
            <a:avLst/>
          </a:prstGeom>
          <a:noFill/>
        </p:spPr>
        <p:txBody>
          <a:bodyPr wrap="square" rtlCol="0">
            <a:spAutoFit/>
          </a:bodyPr>
          <a:lstStyle/>
          <a:p>
            <a:pPr algn="l"/>
            <a:r>
              <a:rPr lang="en-US" sz="3000" b="0" dirty="0">
                <a:solidFill>
                  <a:schemeClr val="tx1"/>
                </a:solidFill>
              </a:rPr>
              <a:t>END OF TEMPLATE</a:t>
            </a:r>
          </a:p>
          <a:p>
            <a:pPr algn="l"/>
            <a:endParaRPr lang="en-US" sz="3000" b="0" dirty="0">
              <a:solidFill>
                <a:schemeClr val="tx1"/>
              </a:solidFill>
            </a:endParaRPr>
          </a:p>
          <a:p>
            <a:pPr algn="l"/>
            <a:r>
              <a:rPr lang="en-US" sz="6599" b="1" dirty="0">
                <a:solidFill>
                  <a:schemeClr val="tx1"/>
                </a:solidFill>
              </a:rPr>
              <a:t>Do not use any master slide that exists after this one</a:t>
            </a:r>
          </a:p>
        </p:txBody>
      </p:sp>
    </p:spTree>
    <p:extLst>
      <p:ext uri="{BB962C8B-B14F-4D97-AF65-F5344CB8AC3E}">
        <p14:creationId xmlns:p14="http://schemas.microsoft.com/office/powerpoint/2010/main" val="3984546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2" y="1122364"/>
            <a:ext cx="9144000" cy="2387600"/>
          </a:xfrm>
        </p:spPr>
        <p:txBody>
          <a:bodyPr anchor="b"/>
          <a:lstStyle>
            <a:lvl1pPr algn="ctr">
              <a:defRPr sz="5999"/>
            </a:lvl1pPr>
          </a:lstStyle>
          <a:p>
            <a:r>
              <a:rPr lang="es-ES"/>
              <a:t>Click to edit Master title style</a:t>
            </a:r>
            <a:endParaRPr lang="en-US"/>
          </a:p>
        </p:txBody>
      </p:sp>
      <p:sp>
        <p:nvSpPr>
          <p:cNvPr id="3" name="Subtitle 2"/>
          <p:cNvSpPr>
            <a:spLocks noGrp="1"/>
          </p:cNvSpPr>
          <p:nvPr>
            <p:ph type="subTitle" idx="1"/>
          </p:nvPr>
        </p:nvSpPr>
        <p:spPr>
          <a:xfrm>
            <a:off x="1524002" y="3602039"/>
            <a:ext cx="9144000" cy="1655762"/>
          </a:xfrm>
        </p:spPr>
        <p:txBody>
          <a:bodyPr/>
          <a:lstStyle>
            <a:lvl1pPr marL="0" indent="0" algn="ctr">
              <a:buNone/>
              <a:defRPr sz="2400"/>
            </a:lvl1pPr>
            <a:lvl2pPr marL="457097" indent="0" algn="ctr">
              <a:buNone/>
              <a:defRPr sz="2000"/>
            </a:lvl2pPr>
            <a:lvl3pPr marL="914195" indent="0" algn="ctr">
              <a:buNone/>
              <a:defRPr sz="1800"/>
            </a:lvl3pPr>
            <a:lvl4pPr marL="1371291" indent="0" algn="ctr">
              <a:buNone/>
              <a:defRPr sz="1600"/>
            </a:lvl4pPr>
            <a:lvl5pPr marL="1828388" indent="0" algn="ctr">
              <a:buNone/>
              <a:defRPr sz="1600"/>
            </a:lvl5pPr>
            <a:lvl6pPr marL="2285486" indent="0" algn="ctr">
              <a:buNone/>
              <a:defRPr sz="1600"/>
            </a:lvl6pPr>
            <a:lvl7pPr marL="2742583" indent="0" algn="ctr">
              <a:buNone/>
              <a:defRPr sz="1600"/>
            </a:lvl7pPr>
            <a:lvl8pPr marL="3199679" indent="0" algn="ctr">
              <a:buNone/>
              <a:defRPr sz="1600"/>
            </a:lvl8pPr>
            <a:lvl9pPr marL="3656777" indent="0" algn="ctr">
              <a:buNone/>
              <a:defRPr sz="1600"/>
            </a:lvl9pPr>
          </a:lstStyle>
          <a:p>
            <a:r>
              <a:rPr lang="es-ES"/>
              <a:t>Click to edit Master subtitle style</a:t>
            </a:r>
            <a:endParaRPr lang="en-US"/>
          </a:p>
        </p:txBody>
      </p:sp>
      <p:sp>
        <p:nvSpPr>
          <p:cNvPr id="4" name="Date Placeholder 3"/>
          <p:cNvSpPr>
            <a:spLocks noGrp="1"/>
          </p:cNvSpPr>
          <p:nvPr>
            <p:ph type="dt" sz="half" idx="10"/>
          </p:nvPr>
        </p:nvSpPr>
        <p:spPr/>
        <p:txBody>
          <a:bodyPr/>
          <a:lstStyle/>
          <a:p>
            <a:fld id="{E75390FB-F95A-E74C-A41F-15A1D6749D5E}" type="datetimeFigureOut">
              <a:rPr lang="en-US" smtClean="0"/>
              <a:t>9/3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127376-7E83-6D4C-8666-CC139851A1DD}" type="slidenum">
              <a:rPr lang="en-US" smtClean="0"/>
              <a:t>‹#›</a:t>
            </a:fld>
            <a:endParaRPr lang="en-US"/>
          </a:p>
        </p:txBody>
      </p:sp>
    </p:spTree>
    <p:extLst>
      <p:ext uri="{BB962C8B-B14F-4D97-AF65-F5344CB8AC3E}">
        <p14:creationId xmlns:p14="http://schemas.microsoft.com/office/powerpoint/2010/main" val="336595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2_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1" y="218831"/>
            <a:ext cx="10972800" cy="902187"/>
          </a:xfrm>
        </p:spPr>
        <p:txBody>
          <a:bodyPr/>
          <a:lstStyle/>
          <a:p>
            <a:r>
              <a:rPr lang="en-US" dirty="0"/>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1" y="1381126"/>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1"/>
            <a:ext cx="644785" cy="260942"/>
          </a:xfrm>
          <a:prstGeom prst="rect">
            <a:avLst/>
          </a:prstGeom>
        </p:spPr>
      </p:pic>
    </p:spTree>
    <p:extLst>
      <p:ext uri="{BB962C8B-B14F-4D97-AF65-F5344CB8AC3E}">
        <p14:creationId xmlns:p14="http://schemas.microsoft.com/office/powerpoint/2010/main" val="36888897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Blank Whit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defRPr>
            </a:lvl1pPr>
          </a:lstStyle>
          <a:p>
            <a:fld id="{C48D9196-7146-4672-A4BA-DB29036C6B41}" type="slidenum">
              <a:rPr lang="en-US" smtClean="0"/>
              <a:t>‹#›</a:t>
            </a:fld>
            <a:endParaRPr lang="en-US" dirty="0"/>
          </a:p>
        </p:txBody>
      </p:sp>
      <p:sp>
        <p:nvSpPr>
          <p:cNvPr id="16" name="Title 10"/>
          <p:cNvSpPr>
            <a:spLocks noGrp="1"/>
          </p:cNvSpPr>
          <p:nvPr>
            <p:ph type="title" hasCustomPrompt="1"/>
          </p:nvPr>
        </p:nvSpPr>
        <p:spPr>
          <a:xfrm>
            <a:off x="237392" y="275170"/>
            <a:ext cx="11717218" cy="627944"/>
          </a:xfrm>
          <a:prstGeom prst="rect">
            <a:avLst/>
          </a:prstGeom>
        </p:spPr>
        <p:txBody>
          <a:bodyPr vert="horz">
            <a:noAutofit/>
          </a:bodyPr>
          <a:lstStyle>
            <a:lvl1pPr algn="l">
              <a:defRPr sz="3000" b="1">
                <a:solidFill>
                  <a:srgbClr val="009BDE"/>
                </a:solidFill>
              </a:defRPr>
            </a:lvl1pPr>
          </a:lstStyle>
          <a:p>
            <a:r>
              <a:rPr lang="en-US" dirty="0"/>
              <a:t>Subject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95571" y="6350426"/>
            <a:ext cx="756161" cy="380329"/>
          </a:xfrm>
          <a:prstGeom prst="rect">
            <a:avLst/>
          </a:prstGeom>
        </p:spPr>
      </p:pic>
    </p:spTree>
    <p:extLst>
      <p:ext uri="{BB962C8B-B14F-4D97-AF65-F5344CB8AC3E}">
        <p14:creationId xmlns:p14="http://schemas.microsoft.com/office/powerpoint/2010/main" val="4008899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Blank Slide">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237391" y="275170"/>
            <a:ext cx="11717219" cy="627944"/>
          </a:xfrm>
          <a:prstGeom prst="rect">
            <a:avLst/>
          </a:prstGeom>
        </p:spPr>
        <p:txBody>
          <a:bodyPr vert="horz" anchor="t">
            <a:noAutofit/>
          </a:bodyPr>
          <a:lstStyle>
            <a:lvl1pPr algn="l" defTabSz="609427" rtl="0" eaLnBrk="1" latinLnBrk="0" hangingPunct="1">
              <a:lnSpc>
                <a:spcPct val="89000"/>
              </a:lnSpc>
              <a:spcBef>
                <a:spcPct val="0"/>
              </a:spcBef>
              <a:buNone/>
              <a:defRPr lang="en-US" sz="3000" b="1" kern="1200" dirty="0">
                <a:solidFill>
                  <a:schemeClr val="tx1"/>
                </a:solidFill>
                <a:latin typeface="+mj-lt"/>
                <a:ea typeface="+mj-ea"/>
                <a:cs typeface="+mj-cs"/>
              </a:defRPr>
            </a:lvl1pPr>
          </a:lstStyle>
          <a:p>
            <a:r>
              <a:rPr lang="en-US" dirty="0"/>
              <a:t>Enter Title</a:t>
            </a:r>
          </a:p>
        </p:txBody>
      </p:sp>
      <p:pic>
        <p:nvPicPr>
          <p:cNvPr id="8" name="Graphic 7">
            <a:extLst>
              <a:ext uri="{FF2B5EF4-FFF2-40B4-BE49-F238E27FC236}">
                <a16:creationId xmlns:a16="http://schemas.microsoft.com/office/drawing/2014/main" id="{FD952330-4127-49F8-B802-FCD18DA35B3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1265983" y="6399446"/>
            <a:ext cx="644785" cy="260942"/>
          </a:xfrm>
          <a:prstGeom prst="rect">
            <a:avLst/>
          </a:prstGeom>
        </p:spPr>
      </p:pic>
      <p:cxnSp>
        <p:nvCxnSpPr>
          <p:cNvPr id="10" name="Straight Connector 9">
            <a:extLst>
              <a:ext uri="{FF2B5EF4-FFF2-40B4-BE49-F238E27FC236}">
                <a16:creationId xmlns:a16="http://schemas.microsoft.com/office/drawing/2014/main" id="{0BB2212D-6535-49AA-BFA3-E80B877DADE7}"/>
              </a:ext>
            </a:extLst>
          </p:cNvPr>
          <p:cNvCxnSpPr/>
          <p:nvPr userDrawn="1"/>
        </p:nvCxnSpPr>
        <p:spPr>
          <a:xfrm>
            <a:off x="11193418" y="6342934"/>
            <a:ext cx="0" cy="391580"/>
          </a:xfrm>
          <a:prstGeom prst="line">
            <a:avLst/>
          </a:prstGeom>
          <a:ln w="28575">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1" name="Slide Number Placeholder 2">
            <a:extLst>
              <a:ext uri="{FF2B5EF4-FFF2-40B4-BE49-F238E27FC236}">
                <a16:creationId xmlns:a16="http://schemas.microsoft.com/office/drawing/2014/main" id="{81C0E4BA-74E4-404D-97D4-ED51DD6E09CA}"/>
              </a:ext>
            </a:extLst>
          </p:cNvPr>
          <p:cNvSpPr>
            <a:spLocks noGrp="1"/>
          </p:cNvSpPr>
          <p:nvPr>
            <p:ph type="sldNum" sz="quarter" idx="11"/>
          </p:nvPr>
        </p:nvSpPr>
        <p:spPr>
          <a:xfrm>
            <a:off x="237392" y="6356351"/>
            <a:ext cx="2844800" cy="366183"/>
          </a:xfrm>
          <a:prstGeom prst="rect">
            <a:avLst/>
          </a:prstGeom>
        </p:spPr>
        <p:txBody>
          <a:bodyPr anchor="b"/>
          <a:lstStyle>
            <a:lvl1pPr>
              <a:defRPr sz="1050">
                <a:solidFill>
                  <a:srgbClr val="009ADD"/>
                </a:solidFill>
                <a:latin typeface="+mn-lt"/>
              </a:defRPr>
            </a:lvl1pPr>
          </a:lstStyle>
          <a:p>
            <a:fld id="{C48D9196-7146-4672-A4BA-DB29036C6B41}" type="slidenum">
              <a:rPr lang="en-US" smtClean="0"/>
              <a:pPr/>
              <a:t>‹#›</a:t>
            </a:fld>
            <a:endParaRPr lang="en-US"/>
          </a:p>
        </p:txBody>
      </p:sp>
      <p:pic>
        <p:nvPicPr>
          <p:cNvPr id="7" name="Picture 2" descr="Bose Logo transparent PNG - StickPNG">
            <a:extLst>
              <a:ext uri="{FF2B5EF4-FFF2-40B4-BE49-F238E27FC236}">
                <a16:creationId xmlns:a16="http://schemas.microsoft.com/office/drawing/2014/main" id="{639C37AE-DEAD-4014-894F-8A46296A0C7A}"/>
              </a:ext>
            </a:extLst>
          </p:cNvPr>
          <p:cNvPicPr>
            <a:picLocks noChangeAspect="1" noChangeArrowheads="1"/>
          </p:cNvPicPr>
          <p:nvPr userDrawn="1"/>
        </p:nvPicPr>
        <p:blipFill>
          <a:blip r:embed="rId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378172" y="6439474"/>
            <a:ext cx="1742684" cy="217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9677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Two column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dirty="0"/>
              <a:t>Click to edit your title</a:t>
            </a:r>
          </a:p>
        </p:txBody>
      </p:sp>
    </p:spTree>
    <p:extLst>
      <p:ext uri="{BB962C8B-B14F-4D97-AF65-F5344CB8AC3E}">
        <p14:creationId xmlns:p14="http://schemas.microsoft.com/office/powerpoint/2010/main" val="4190223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Closing - Green gradi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dirty="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8"/>
            <a:ext cx="6109588" cy="3381265"/>
          </a:xfrm>
        </p:spPr>
        <p:txBody>
          <a:bodyPr anchor="t">
            <a:normAutofit/>
          </a:bodyPr>
          <a:lstStyle>
            <a:lvl1pPr>
              <a:defRPr sz="5999"/>
            </a:lvl1pPr>
          </a:lstStyle>
          <a:p>
            <a:r>
              <a:rPr lang="en-US" dirty="0"/>
              <a:t>Click to add short closing sentence</a:t>
            </a:r>
          </a:p>
        </p:txBody>
      </p:sp>
      <p:pic>
        <p:nvPicPr>
          <p:cNvPr id="12" name="Graphic 11">
            <a:extLst>
              <a:ext uri="{FF2B5EF4-FFF2-40B4-BE49-F238E27FC236}">
                <a16:creationId xmlns:a16="http://schemas.microsoft.com/office/drawing/2014/main" id="{EFDA44A8-255F-47C9-B257-951087A30FA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5EC7BA9B-B3CC-4795-BF6A-AF3C73C4E4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3546734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18410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 - Fuschia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9401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pic>
        <p:nvPicPr>
          <p:cNvPr id="8" name="Imagem 7" descr="Forma&#10;&#10;Descrição gerada automaticamente com confiança média">
            <a:extLst>
              <a:ext uri="{FF2B5EF4-FFF2-40B4-BE49-F238E27FC236}">
                <a16:creationId xmlns:a16="http://schemas.microsoft.com/office/drawing/2014/main" id="{AEA8D475-7074-4225-9FEB-C40EC9C347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ítulo 1">
            <a:extLst>
              <a:ext uri="{FF2B5EF4-FFF2-40B4-BE49-F238E27FC236}">
                <a16:creationId xmlns:a16="http://schemas.microsoft.com/office/drawing/2014/main" id="{0FAC4968-5454-437B-8EB1-3A7CA30F706B}"/>
              </a:ext>
            </a:extLst>
          </p:cNvPr>
          <p:cNvSpPr>
            <a:spLocks noGrp="1"/>
          </p:cNvSpPr>
          <p:nvPr>
            <p:ph type="title"/>
          </p:nvPr>
        </p:nvSpPr>
        <p:spPr/>
        <p:txBody>
          <a:bodyPr/>
          <a:lstStyle>
            <a:lvl1pPr>
              <a:defRPr>
                <a:latin typeface="Rounded Elegance" panose="02020603050405020304" pitchFamily="18" charset="0"/>
                <a:ea typeface="Rounded Elegance" panose="02020603050405020304" pitchFamily="18" charset="0"/>
                <a:cs typeface="Rounded Elegance" panose="02020603050405020304" pitchFamily="18" charset="0"/>
              </a:defRPr>
            </a:lvl1pPr>
          </a:lstStyle>
          <a:p>
            <a:r>
              <a:rPr lang="pt-BR"/>
              <a:t>Clique para editar o título Mestre</a:t>
            </a:r>
          </a:p>
        </p:txBody>
      </p:sp>
      <p:sp>
        <p:nvSpPr>
          <p:cNvPr id="3" name="Espaço Reservado para Conteúdo 2">
            <a:extLst>
              <a:ext uri="{FF2B5EF4-FFF2-40B4-BE49-F238E27FC236}">
                <a16:creationId xmlns:a16="http://schemas.microsoft.com/office/drawing/2014/main" id="{1B874238-1BE5-4EC7-809C-ED84A520D202}"/>
              </a:ext>
            </a:extLst>
          </p:cNvPr>
          <p:cNvSpPr>
            <a:spLocks noGrp="1"/>
          </p:cNvSpPr>
          <p:nvPr>
            <p:ph idx="1"/>
          </p:nvPr>
        </p:nvSpPr>
        <p:spPr/>
        <p:txBody>
          <a:bodyPr/>
          <a:lstStyle>
            <a:lvl1pPr>
              <a:defRPr>
                <a:latin typeface="Rounded Elegance" panose="02020603050405020304" pitchFamily="18" charset="0"/>
                <a:ea typeface="Rounded Elegance" panose="02020603050405020304" pitchFamily="18" charset="0"/>
                <a:cs typeface="Rounded Elegance" panose="02020603050405020304" pitchFamily="18" charset="0"/>
              </a:defRPr>
            </a:lvl1pPr>
            <a:lvl2pPr>
              <a:defRPr>
                <a:latin typeface="Rounded Elegance" panose="02020603050405020304" pitchFamily="18" charset="0"/>
                <a:ea typeface="Rounded Elegance" panose="02020603050405020304" pitchFamily="18" charset="0"/>
                <a:cs typeface="Rounded Elegance" panose="02020603050405020304" pitchFamily="18" charset="0"/>
              </a:defRPr>
            </a:lvl2pPr>
            <a:lvl3pPr>
              <a:defRPr>
                <a:latin typeface="Rounded Elegance" panose="02020603050405020304" pitchFamily="18" charset="0"/>
                <a:ea typeface="Rounded Elegance" panose="02020603050405020304" pitchFamily="18" charset="0"/>
                <a:cs typeface="Rounded Elegance" panose="02020603050405020304" pitchFamily="18" charset="0"/>
              </a:defRPr>
            </a:lvl3pPr>
            <a:lvl4pPr>
              <a:defRPr>
                <a:latin typeface="Rounded Elegance" panose="02020603050405020304" pitchFamily="18" charset="0"/>
                <a:ea typeface="Rounded Elegance" panose="02020603050405020304" pitchFamily="18" charset="0"/>
                <a:cs typeface="Rounded Elegance" panose="02020603050405020304" pitchFamily="18" charset="0"/>
              </a:defRPr>
            </a:lvl4pPr>
            <a:lvl5pPr>
              <a:defRPr>
                <a:latin typeface="Rounded Elegance" panose="02020603050405020304" pitchFamily="18" charset="0"/>
                <a:ea typeface="Rounded Elegance" panose="02020603050405020304" pitchFamily="18" charset="0"/>
                <a:cs typeface="Rounded Elegance" panose="02020603050405020304" pitchFamily="18"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DC0658CD-9A04-42DE-8986-EFB9784F8937}"/>
              </a:ext>
            </a:extLst>
          </p:cNvPr>
          <p:cNvSpPr>
            <a:spLocks noGrp="1"/>
          </p:cNvSpPr>
          <p:nvPr>
            <p:ph type="dt" sz="half" idx="10"/>
          </p:nvPr>
        </p:nvSpPr>
        <p:spPr>
          <a:xfrm>
            <a:off x="8610600" y="6356351"/>
            <a:ext cx="2743200" cy="365125"/>
          </a:xfrm>
        </p:spPr>
        <p:txBody>
          <a:bodyPr/>
          <a:lstStyle>
            <a:lvl1pPr algn="r">
              <a:defRPr/>
            </a:lvl1pPr>
          </a:lstStyle>
          <a:p>
            <a:fld id="{CAE525DE-388F-4952-BEDA-078F21A6D432}" type="datetimeFigureOut">
              <a:rPr lang="pt-BR" smtClean="0"/>
              <a:pPr/>
              <a:t>30/09/2024</a:t>
            </a:fld>
            <a:endParaRPr lang="pt-BR"/>
          </a:p>
        </p:txBody>
      </p:sp>
      <p:sp>
        <p:nvSpPr>
          <p:cNvPr id="5" name="Espaço Reservado para Rodapé 4">
            <a:extLst>
              <a:ext uri="{FF2B5EF4-FFF2-40B4-BE49-F238E27FC236}">
                <a16:creationId xmlns:a16="http://schemas.microsoft.com/office/drawing/2014/main" id="{679E3E21-A963-4292-9F11-39DA17D8EF7D}"/>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B45BBF12-7093-4F32-9F12-9A77AD34CE42}"/>
              </a:ext>
            </a:extLst>
          </p:cNvPr>
          <p:cNvSpPr>
            <a:spLocks noGrp="1"/>
          </p:cNvSpPr>
          <p:nvPr>
            <p:ph type="sldNum" sz="quarter" idx="12"/>
          </p:nvPr>
        </p:nvSpPr>
        <p:spPr/>
        <p:txBody>
          <a:bodyPr/>
          <a:lstStyle/>
          <a:p>
            <a:fld id="{B6CFEB3F-7D33-467E-BB0D-4ECA9122F7B1}" type="slidenum">
              <a:rPr lang="pt-BR" smtClean="0"/>
              <a:t>‹#›</a:t>
            </a:fld>
            <a:endParaRPr lang="pt-BR"/>
          </a:p>
        </p:txBody>
      </p:sp>
    </p:spTree>
    <p:extLst>
      <p:ext uri="{BB962C8B-B14F-4D97-AF65-F5344CB8AC3E}">
        <p14:creationId xmlns:p14="http://schemas.microsoft.com/office/powerpoint/2010/main" val="2581547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4_Cover - Blue gradient">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grass, building, standing&#10;&#10;Description automatically generated">
            <a:extLst>
              <a:ext uri="{FF2B5EF4-FFF2-40B4-BE49-F238E27FC236}">
                <a16:creationId xmlns:a16="http://schemas.microsoft.com/office/drawing/2014/main" id="{D91EC250-235A-4BAE-A752-52B43AC1B1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8951"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userDrawn="1"/>
        </p:nvSpPr>
        <p:spPr bwMode="white">
          <a:xfrm>
            <a:off x="-1" y="655148"/>
            <a:ext cx="5063427" cy="4985538"/>
          </a:xfrm>
          <a:prstGeom prst="rect">
            <a:avLst/>
          </a:prstGeom>
          <a:gradFill>
            <a:gsLst>
              <a:gs pos="50000">
                <a:schemeClr val="accent3">
                  <a:lumMod val="75000"/>
                  <a:alpha val="95000"/>
                </a:schemeClr>
              </a:gs>
              <a:gs pos="0">
                <a:schemeClr val="accent4"/>
              </a:gs>
              <a:gs pos="100000">
                <a:schemeClr val="accent3">
                  <a:alpha val="75000"/>
                </a:schemeClr>
              </a:gs>
            </a:gsLst>
            <a:lin ang="2700000" scaled="1"/>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566"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10" y="1133615"/>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3" y="1799182"/>
            <a:ext cx="4045797" cy="2294186"/>
          </a:xfrm>
        </p:spPr>
        <p:txBody>
          <a:bodyPr>
            <a:normAutofit/>
          </a:bodyPr>
          <a:lstStyle>
            <a:lvl1pPr>
              <a:defRPr sz="4499">
                <a:solidFill>
                  <a:schemeClr val="tx1"/>
                </a:solidFill>
              </a:defRPr>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3" y="4636298"/>
            <a:ext cx="4056256" cy="744265"/>
          </a:xfrm>
        </p:spPr>
        <p:txBody>
          <a:bodyPr>
            <a:normAutofit/>
          </a:bodyPr>
          <a:lstStyle>
            <a:lvl1pPr marL="0" indent="0" algn="l">
              <a:buNone/>
              <a:defRPr sz="1500">
                <a:solidFill>
                  <a:schemeClr val="tx1"/>
                </a:solidFill>
              </a:defRPr>
            </a:lvl1pPr>
            <a:lvl2pPr marL="342782" indent="0" algn="ctr">
              <a:buNone/>
              <a:defRPr sz="1500"/>
            </a:lvl2pPr>
            <a:lvl3pPr marL="685566" indent="0" algn="ctr">
              <a:buNone/>
              <a:defRPr sz="1350"/>
            </a:lvl3pPr>
            <a:lvl4pPr marL="1028349" indent="0" algn="ctr">
              <a:buNone/>
              <a:defRPr sz="1200"/>
            </a:lvl4pPr>
            <a:lvl5pPr marL="1371132" indent="0" algn="ctr">
              <a:buNone/>
              <a:defRPr sz="1200"/>
            </a:lvl5pPr>
            <a:lvl6pPr marL="1713917" indent="0" algn="ctr">
              <a:buNone/>
              <a:defRPr sz="1200"/>
            </a:lvl6pPr>
            <a:lvl7pPr marL="2056697" indent="0" algn="ctr">
              <a:buNone/>
              <a:defRPr sz="1200"/>
            </a:lvl7pPr>
            <a:lvl8pPr marL="2399480" indent="0" algn="ctr">
              <a:buNone/>
              <a:defRPr sz="1200"/>
            </a:lvl8pPr>
            <a:lvl9pPr marL="2742263"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10" y="1133615"/>
            <a:ext cx="982969" cy="397803"/>
          </a:xfrm>
          <a:prstGeom prst="rect">
            <a:avLst/>
          </a:prstGeom>
        </p:spPr>
      </p:pic>
    </p:spTree>
    <p:extLst>
      <p:ext uri="{BB962C8B-B14F-4D97-AF65-F5344CB8AC3E}">
        <p14:creationId xmlns:p14="http://schemas.microsoft.com/office/powerpoint/2010/main" val="8454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3A5BA29-6124-4DD7-9BBC-360EEF664E6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176" t="9177"/>
          <a:stretch/>
        </p:blipFill>
        <p:spPr>
          <a:xfrm>
            <a:off x="3" y="1"/>
            <a:ext cx="11047762" cy="3898208"/>
          </a:xfrm>
          <a:prstGeom prst="rect">
            <a:avLst/>
          </a:prstGeom>
        </p:spPr>
      </p:pic>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5" y="3694104"/>
            <a:ext cx="5344260" cy="2167211"/>
          </a:xfrm>
          <a:prstGeom prst="rect">
            <a:avLst/>
          </a:prstGeom>
        </p:spPr>
        <p:txBody>
          <a:bodyPr/>
          <a:lstStyle>
            <a:lvl1pPr marL="0" indent="0">
              <a:buNone/>
              <a:defRPr sz="2399">
                <a:solidFill>
                  <a:schemeClr val="tx1"/>
                </a:solidFill>
              </a:defRPr>
            </a:lvl1pPr>
            <a:lvl2pPr marL="609281" indent="0">
              <a:buNone/>
              <a:defRPr sz="1350">
                <a:solidFill>
                  <a:schemeClr val="bg1"/>
                </a:solidFill>
              </a:defRPr>
            </a:lvl2pPr>
            <a:lvl3pPr marL="1218560" indent="0">
              <a:buNone/>
              <a:defRPr sz="1350">
                <a:solidFill>
                  <a:schemeClr val="bg1"/>
                </a:solidFill>
              </a:defRPr>
            </a:lvl3pPr>
            <a:lvl4pPr marL="1827839" indent="0">
              <a:buNone/>
              <a:defRPr sz="1350">
                <a:solidFill>
                  <a:schemeClr val="bg1"/>
                </a:solidFill>
              </a:defRPr>
            </a:lvl4pPr>
            <a:lvl5pPr marL="2437118"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89" y="1535136"/>
            <a:ext cx="5344164" cy="2037940"/>
          </a:xfrm>
        </p:spPr>
        <p:txBody>
          <a:bodyPr/>
          <a:lstStyle>
            <a:lvl1pPr>
              <a:defRPr sz="4499">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902369" y="6227203"/>
            <a:ext cx="644785" cy="260942"/>
          </a:xfrm>
          <a:prstGeom prst="rect">
            <a:avLst/>
          </a:prstGeom>
        </p:spPr>
      </p:pic>
      <p:sp>
        <p:nvSpPr>
          <p:cNvPr id="6" name="Slide Number Placeholder 2">
            <a:extLst>
              <a:ext uri="{FF2B5EF4-FFF2-40B4-BE49-F238E27FC236}">
                <a16:creationId xmlns:a16="http://schemas.microsoft.com/office/drawing/2014/main" id="{A18E4C34-A6BB-4A28-820A-6C1FF4A4800E}"/>
              </a:ext>
            </a:extLst>
          </p:cNvPr>
          <p:cNvSpPr txBox="1">
            <a:spLocks/>
          </p:cNvSpPr>
          <p:nvPr userDrawn="1"/>
        </p:nvSpPr>
        <p:spPr>
          <a:xfrm>
            <a:off x="759152" y="6445173"/>
            <a:ext cx="335271"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18240120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3" y="218834"/>
            <a:ext cx="10972801" cy="902187"/>
          </a:xfrm>
        </p:spPr>
        <p:txBody>
          <a:bodyPr/>
          <a:lstStyle/>
          <a:p>
            <a:r>
              <a:rPr lang="en-US"/>
              <a:t>Click to edit your title</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9" y="6227203"/>
            <a:ext cx="644785" cy="260942"/>
          </a:xfrm>
          <a:prstGeom prst="rect">
            <a:avLst/>
          </a:prstGeom>
        </p:spPr>
      </p:pic>
      <p:sp>
        <p:nvSpPr>
          <p:cNvPr id="6" name="Slide Number Placeholder 2">
            <a:extLst>
              <a:ext uri="{FF2B5EF4-FFF2-40B4-BE49-F238E27FC236}">
                <a16:creationId xmlns:a16="http://schemas.microsoft.com/office/drawing/2014/main" id="{084B29DC-8F09-4A92-8CB3-16164E1B4492}"/>
              </a:ext>
            </a:extLst>
          </p:cNvPr>
          <p:cNvSpPr txBox="1">
            <a:spLocks/>
          </p:cNvSpPr>
          <p:nvPr userDrawn="1"/>
        </p:nvSpPr>
        <p:spPr>
          <a:xfrm>
            <a:off x="759152" y="6445173"/>
            <a:ext cx="335271"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3643634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_Single column content">
    <p:spTree>
      <p:nvGrpSpPr>
        <p:cNvPr id="1" name=""/>
        <p:cNvGrpSpPr/>
        <p:nvPr/>
      </p:nvGrpSpPr>
      <p:grpSpPr>
        <a:xfrm>
          <a:off x="0" y="0"/>
          <a:ext cx="0" cy="0"/>
          <a:chOff x="0" y="0"/>
          <a:chExt cx="0" cy="0"/>
        </a:xfrm>
      </p:grpSpPr>
      <p:pic>
        <p:nvPicPr>
          <p:cNvPr id="5" name="Picture 104" descr="C:\Users\sjckcorr\Desktop\World-Map.png">
            <a:extLst>
              <a:ext uri="{FF2B5EF4-FFF2-40B4-BE49-F238E27FC236}">
                <a16:creationId xmlns:a16="http://schemas.microsoft.com/office/drawing/2014/main" id="{72DE93C5-520C-4444-AA1D-8EFADACC83E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10280" y="870202"/>
            <a:ext cx="9771447" cy="5536436"/>
          </a:xfrm>
          <a:prstGeom prst="rect">
            <a:avLst/>
          </a:prstGeom>
          <a:noFill/>
          <a:ln w="9525">
            <a:noFill/>
            <a:miter lim="800000"/>
            <a:headEnd/>
            <a:tailEnd/>
          </a:ln>
        </p:spPr>
      </p:pic>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8" y="6227203"/>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180686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Single column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2CB9BE-BBED-4E27-90BC-A83168D64435}"/>
              </a:ext>
            </a:extLst>
          </p:cNvPr>
          <p:cNvSpPr/>
          <p:nvPr userDrawn="1"/>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7" name="Picture 6">
            <a:extLst>
              <a:ext uri="{FF2B5EF4-FFF2-40B4-BE49-F238E27FC236}">
                <a16:creationId xmlns:a16="http://schemas.microsoft.com/office/drawing/2014/main" id="{AF6EFE3E-BAC3-4B67-8FCE-1FB09511B8BC}"/>
              </a:ext>
            </a:extLst>
          </p:cNvPr>
          <p:cNvPicPr>
            <a:picLocks noChangeAspect="1"/>
          </p:cNvPicPr>
          <p:nvPr userDrawn="1"/>
        </p:nvPicPr>
        <p:blipFill rotWithShape="1">
          <a:blip r:embed="rId2" cstate="email">
            <a:alphaModFix amt="20000"/>
            <a:extLst>
              <a:ext uri="{28A0092B-C50C-407E-A947-70E740481C1C}">
                <a14:useLocalDpi xmlns:a14="http://schemas.microsoft.com/office/drawing/2010/main"/>
              </a:ext>
            </a:extLst>
          </a:blip>
          <a:srcRect t="73301" r="33002" b="10592"/>
          <a:stretch/>
        </p:blipFill>
        <p:spPr bwMode="black">
          <a:xfrm>
            <a:off x="7109061" y="-1"/>
            <a:ext cx="5082943" cy="6858001"/>
          </a:xfrm>
          <a:prstGeom prst="rect">
            <a:avLst/>
          </a:prstGeom>
        </p:spPr>
      </p:pic>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lvl1pPr>
              <a:defRPr>
                <a:solidFill>
                  <a:schemeClr val="bg1"/>
                </a:solidFill>
              </a:defRPr>
            </a:lvl1pPr>
          </a:lstStyle>
          <a:p>
            <a:r>
              <a:rPr lang="en-US"/>
              <a:t>Click to edit your title</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10902368" y="6227203"/>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Tree>
    <p:extLst>
      <p:ext uri="{BB962C8B-B14F-4D97-AF65-F5344CB8AC3E}">
        <p14:creationId xmlns:p14="http://schemas.microsoft.com/office/powerpoint/2010/main" val="1889362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3" y="0"/>
            <a:ext cx="3243389"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175"/>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4"/>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8" y="6227203"/>
            <a:ext cx="644785" cy="260942"/>
          </a:xfrm>
          <a:prstGeom prst="rect">
            <a:avLst/>
          </a:prstGeom>
        </p:spPr>
      </p:pic>
      <p:pic>
        <p:nvPicPr>
          <p:cNvPr id="3" name="Graphic 2">
            <a:extLst>
              <a:ext uri="{FF2B5EF4-FFF2-40B4-BE49-F238E27FC236}">
                <a16:creationId xmlns:a16="http://schemas.microsoft.com/office/drawing/2014/main" id="{8A039FB8-75EB-408A-ADCA-F150DFCF77E1}"/>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9136" r="64122" b="65936"/>
          <a:stretch/>
        </p:blipFill>
        <p:spPr>
          <a:xfrm>
            <a:off x="2" y="4521897"/>
            <a:ext cx="3243389" cy="2336104"/>
          </a:xfrm>
          <a:prstGeom prst="rect">
            <a:avLst/>
          </a:prstGeom>
        </p:spPr>
      </p:pic>
      <p:sp>
        <p:nvSpPr>
          <p:cNvPr id="4" name="Title 3">
            <a:extLst>
              <a:ext uri="{FF2B5EF4-FFF2-40B4-BE49-F238E27FC236}">
                <a16:creationId xmlns:a16="http://schemas.microsoft.com/office/drawing/2014/main" id="{A0C03A17-FE84-4BBF-8A6F-C18A60CC425C}"/>
              </a:ext>
            </a:extLst>
          </p:cNvPr>
          <p:cNvSpPr>
            <a:spLocks noGrp="1"/>
          </p:cNvSpPr>
          <p:nvPr>
            <p:ph type="title"/>
          </p:nvPr>
        </p:nvSpPr>
        <p:spPr>
          <a:xfrm>
            <a:off x="3600453" y="171455"/>
            <a:ext cx="7946699" cy="902187"/>
          </a:xfrm>
        </p:spPr>
        <p:txBody>
          <a:bodyPr/>
          <a:lstStyle/>
          <a:p>
            <a:r>
              <a:rPr lang="en-US"/>
              <a:t>Click to edit Master title style</a:t>
            </a:r>
            <a:endParaRPr lang="en-IE"/>
          </a:p>
        </p:txBody>
      </p:sp>
    </p:spTree>
    <p:extLst>
      <p:ext uri="{BB962C8B-B14F-4D97-AF65-F5344CB8AC3E}">
        <p14:creationId xmlns:p14="http://schemas.microsoft.com/office/powerpoint/2010/main" val="11569740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3" y="0"/>
            <a:ext cx="4717463" cy="6858000"/>
          </a:xfrm>
          <a:prstGeom prst="rect">
            <a:avLst/>
          </a:prstGeom>
          <a:gradFill>
            <a:gsLst>
              <a:gs pos="50000">
                <a:schemeClr val="accent3">
                  <a:lumMod val="75000"/>
                  <a:alpha val="95000"/>
                </a:schemeClr>
              </a:gs>
              <a:gs pos="0">
                <a:schemeClr val="accent4"/>
              </a:gs>
              <a:gs pos="100000">
                <a:schemeClr val="accent3">
                  <a:alpha val="75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90" y="6230324"/>
            <a:ext cx="2844800" cy="366183"/>
          </a:xfrm>
          <a:prstGeom prst="rect">
            <a:avLst/>
          </a:prstGeom>
        </p:spPr>
        <p:txBody>
          <a:bodyPr vert="horz" lIns="121879" tIns="60939" rIns="121879" bIns="6093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4"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6" y="3289701"/>
            <a:ext cx="3584857" cy="1645754"/>
          </a:xfrm>
          <a:prstGeom prst="rect">
            <a:avLst/>
          </a:prstGeom>
        </p:spPr>
        <p:txBody>
          <a:bodyPr anchor="b">
            <a:normAutofit/>
          </a:bodyPr>
          <a:lstStyle>
            <a:lvl1pPr marL="85696" indent="-85696">
              <a:spcBef>
                <a:spcPts val="450"/>
              </a:spcBef>
              <a:buFont typeface="Arial" panose="020B0604020202020204" pitchFamily="34" charset="0"/>
              <a:buChar char="“"/>
              <a:defRPr sz="1350" b="0">
                <a:solidFill>
                  <a:schemeClr val="bg1"/>
                </a:solidFill>
              </a:defRPr>
            </a:lvl1pPr>
            <a:lvl2pPr marL="85696" indent="0">
              <a:spcBef>
                <a:spcPts val="450"/>
              </a:spcBef>
              <a:buClr>
                <a:schemeClr val="bg1"/>
              </a:buClr>
              <a:buFont typeface="Arial" panose="020B0604020202020204" pitchFamily="34" charset="0"/>
              <a:buChar char="​"/>
              <a:tabLst/>
              <a:defRPr sz="1350" b="0">
                <a:solidFill>
                  <a:schemeClr val="bg1"/>
                </a:solidFill>
              </a:defRPr>
            </a:lvl2pPr>
            <a:lvl3pPr marL="85696" indent="0">
              <a:spcBef>
                <a:spcPts val="450"/>
              </a:spcBef>
              <a:buClr>
                <a:schemeClr val="bg1"/>
              </a:buClr>
              <a:buFont typeface="Arial" panose="020B0604020202020204" pitchFamily="34" charset="0"/>
              <a:buChar char="​"/>
              <a:tabLst/>
              <a:defRPr sz="1350" b="0">
                <a:solidFill>
                  <a:schemeClr val="bg1"/>
                </a:solidFill>
              </a:defRPr>
            </a:lvl3pPr>
            <a:lvl4pPr marL="85696" indent="0">
              <a:spcBef>
                <a:spcPts val="450"/>
              </a:spcBef>
              <a:buFont typeface="Arial" panose="020B0604020202020204" pitchFamily="34" charset="0"/>
              <a:buChar char="​"/>
              <a:defRPr sz="1350" b="0">
                <a:solidFill>
                  <a:schemeClr val="bg1"/>
                </a:solidFill>
              </a:defRPr>
            </a:lvl4pPr>
            <a:lvl5pPr marL="85696" indent="0">
              <a:spcBef>
                <a:spcPts val="450"/>
              </a:spcBef>
              <a:buFont typeface="Arial" panose="020B0604020202020204" pitchFamily="34" charset="0"/>
              <a:buChar char="​"/>
              <a:defRPr sz="1350" b="0">
                <a:solidFill>
                  <a:schemeClr val="bg1"/>
                </a:solidFill>
              </a:defRPr>
            </a:lvl5pPr>
            <a:lvl6pPr marL="85696" indent="0">
              <a:spcBef>
                <a:spcPts val="450"/>
              </a:spcBef>
              <a:buFont typeface="Arial" panose="020B0604020202020204" pitchFamily="34" charset="0"/>
              <a:buChar char="​"/>
              <a:defRPr sz="1350" b="0">
                <a:solidFill>
                  <a:schemeClr val="bg1"/>
                </a:solidFill>
              </a:defRPr>
            </a:lvl6pPr>
            <a:lvl9pPr marL="85696"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4"/>
            <a:ext cx="2844800" cy="366183"/>
          </a:xfrm>
          <a:prstGeom prst="rect">
            <a:avLst/>
          </a:prstGeom>
        </p:spPr>
        <p:txBody>
          <a:bodyPr vert="horz" lIns="121879" tIns="60939" rIns="121879" bIns="6093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90" y="6230324"/>
            <a:ext cx="2844800" cy="366183"/>
          </a:xfrm>
          <a:prstGeom prst="rect">
            <a:avLst/>
          </a:prstGeom>
        </p:spPr>
        <p:txBody>
          <a:bodyPr vert="horz" lIns="121879" tIns="60939" rIns="121879" bIns="6093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4"/>
            <a:ext cx="2844800" cy="366183"/>
          </a:xfrm>
          <a:prstGeom prst="rect">
            <a:avLst/>
          </a:prstGeom>
        </p:spPr>
        <p:txBody>
          <a:bodyPr vert="horz" lIns="121879" tIns="60939" rIns="121879" bIns="6093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90" y="6230324"/>
            <a:ext cx="2844800" cy="366183"/>
          </a:xfrm>
          <a:prstGeom prst="rect">
            <a:avLst/>
          </a:prstGeom>
        </p:spPr>
        <p:txBody>
          <a:bodyPr vert="horz" lIns="121879" tIns="60939" rIns="121879" bIns="6093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4"/>
            <a:ext cx="2844800" cy="366183"/>
          </a:xfrm>
          <a:prstGeom prst="rect">
            <a:avLst/>
          </a:prstGeom>
        </p:spPr>
        <p:txBody>
          <a:bodyPr vert="horz" lIns="121879" tIns="60939" rIns="121879" bIns="60939"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6"/>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3" y="5294157"/>
            <a:ext cx="3584858" cy="529372"/>
          </a:xfrm>
        </p:spPr>
        <p:txBody>
          <a:bodyPr>
            <a:noAutofit/>
          </a:bodyPr>
          <a:lstStyle>
            <a:lvl1pPr marL="85696" indent="0">
              <a:spcBef>
                <a:spcPts val="450"/>
              </a:spcBef>
              <a:buFont typeface="Arial" panose="020B0604020202020204" pitchFamily="34" charset="0"/>
              <a:buChar char="​"/>
              <a:defRPr sz="1350" b="1">
                <a:solidFill>
                  <a:schemeClr val="bg1"/>
                </a:solidFill>
              </a:defRPr>
            </a:lvl1pPr>
            <a:lvl2pPr marL="85696" indent="0">
              <a:spcBef>
                <a:spcPts val="450"/>
              </a:spcBef>
              <a:buFont typeface="Arial" panose="020B0604020202020204" pitchFamily="34" charset="0"/>
              <a:buChar char="​"/>
              <a:defRPr sz="1350" b="1">
                <a:solidFill>
                  <a:schemeClr val="bg1"/>
                </a:solidFill>
              </a:defRPr>
            </a:lvl2pPr>
            <a:lvl3pPr marL="85696" indent="0">
              <a:spcBef>
                <a:spcPts val="450"/>
              </a:spcBef>
              <a:buFont typeface="Arial" panose="020B0604020202020204" pitchFamily="34" charset="0"/>
              <a:buChar char="​"/>
              <a:defRPr sz="1350" b="1">
                <a:solidFill>
                  <a:schemeClr val="bg1"/>
                </a:solidFill>
              </a:defRPr>
            </a:lvl3pPr>
            <a:lvl4pPr marL="85696" indent="0">
              <a:spcBef>
                <a:spcPts val="450"/>
              </a:spcBef>
              <a:buFont typeface="Arial" panose="020B0604020202020204" pitchFamily="34" charset="0"/>
              <a:buChar char="​"/>
              <a:defRPr sz="1350" b="1">
                <a:solidFill>
                  <a:schemeClr val="bg1"/>
                </a:solidFill>
              </a:defRPr>
            </a:lvl4pPr>
            <a:lvl5pPr marL="85696" indent="0">
              <a:spcBef>
                <a:spcPts val="450"/>
              </a:spcBef>
              <a:buFont typeface="Arial" panose="020B0604020202020204" pitchFamily="34" charset="0"/>
              <a:buChar char="​"/>
              <a:defRPr sz="1350" b="1">
                <a:solidFill>
                  <a:schemeClr val="bg1"/>
                </a:solidFill>
              </a:defRPr>
            </a:lvl5pPr>
            <a:lvl6pPr marL="85696" indent="0">
              <a:spcBef>
                <a:spcPts val="450"/>
              </a:spcBef>
              <a:buFont typeface="Arial" panose="020B0604020202020204" pitchFamily="34" charset="0"/>
              <a:buChar char="​"/>
              <a:defRPr sz="1350" b="1">
                <a:solidFill>
                  <a:schemeClr val="bg1"/>
                </a:solidFill>
              </a:defRPr>
            </a:lvl6pPr>
            <a:lvl7pPr marL="85696" indent="0">
              <a:spcBef>
                <a:spcPts val="450"/>
              </a:spcBef>
              <a:buFont typeface="Arial" panose="020B0604020202020204" pitchFamily="34" charset="0"/>
              <a:buChar char="​"/>
              <a:defRPr sz="1350" b="1">
                <a:solidFill>
                  <a:schemeClr val="bg1"/>
                </a:solidFill>
              </a:defRPr>
            </a:lvl7pPr>
            <a:lvl8pPr marL="85696" indent="0">
              <a:spcBef>
                <a:spcPts val="450"/>
              </a:spcBef>
              <a:buFont typeface="Arial" panose="020B0604020202020204" pitchFamily="34" charset="0"/>
              <a:buChar char="​"/>
              <a:defRPr sz="1350" b="1">
                <a:solidFill>
                  <a:schemeClr val="bg1"/>
                </a:solidFill>
              </a:defRPr>
            </a:lvl8pPr>
            <a:lvl9pPr marL="85696"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4"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9" y="6227203"/>
            <a:ext cx="644785" cy="260942"/>
          </a:xfrm>
          <a:prstGeom prst="rect">
            <a:avLst/>
          </a:prstGeom>
        </p:spPr>
      </p:pic>
      <p:pic>
        <p:nvPicPr>
          <p:cNvPr id="18" name="Picture 17">
            <a:extLst>
              <a:ext uri="{FF2B5EF4-FFF2-40B4-BE49-F238E27FC236}">
                <a16:creationId xmlns:a16="http://schemas.microsoft.com/office/drawing/2014/main" id="{EB86D15B-4469-433D-BB8E-F1010E17CF87}"/>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t="73301" r="33002" b="10592"/>
          <a:stretch/>
        </p:blipFill>
        <p:spPr bwMode="black">
          <a:xfrm>
            <a:off x="3" y="-1"/>
            <a:ext cx="5082943" cy="6858001"/>
          </a:xfrm>
          <a:prstGeom prst="rect">
            <a:avLst/>
          </a:prstGeom>
        </p:spPr>
      </p:pic>
    </p:spTree>
    <p:extLst>
      <p:ext uri="{BB962C8B-B14F-4D97-AF65-F5344CB8AC3E}">
        <p14:creationId xmlns:p14="http://schemas.microsoft.com/office/powerpoint/2010/main" val="3966741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1" y="0"/>
            <a:ext cx="12192000" cy="6858000"/>
          </a:xfrm>
          <a:prstGeom prst="rect">
            <a:avLst/>
          </a:prstGeom>
          <a:gradFill>
            <a:gsLst>
              <a:gs pos="50000">
                <a:schemeClr val="accent3">
                  <a:lumMod val="75000"/>
                  <a:alpha val="95000"/>
                </a:schemeClr>
              </a:gs>
              <a:gs pos="0">
                <a:schemeClr val="accent4"/>
              </a:gs>
              <a:gs pos="100000">
                <a:schemeClr val="accent3">
                  <a:alpha val="75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8" y="2665030"/>
            <a:ext cx="6473797" cy="3381265"/>
          </a:xfrm>
        </p:spPr>
        <p:txBody>
          <a:bodyPr anchor="t">
            <a:normAutofit/>
          </a:bodyPr>
          <a:lstStyle>
            <a:lvl1pPr>
              <a:defRPr sz="5998">
                <a:solidFill>
                  <a:schemeClr val="tx1"/>
                </a:solidFill>
              </a:defRPr>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10" y="1133615"/>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10" y="1133615"/>
            <a:ext cx="982969" cy="397803"/>
          </a:xfrm>
          <a:prstGeom prst="rect">
            <a:avLst/>
          </a:prstGeom>
        </p:spPr>
      </p:pic>
      <p:pic>
        <p:nvPicPr>
          <p:cNvPr id="8" name="Picture 7">
            <a:extLst>
              <a:ext uri="{FF2B5EF4-FFF2-40B4-BE49-F238E27FC236}">
                <a16:creationId xmlns:a16="http://schemas.microsoft.com/office/drawing/2014/main" id="{645512DE-CB1D-4630-AD41-1644F213BA8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2954" t="8845"/>
          <a:stretch/>
        </p:blipFill>
        <p:spPr bwMode="black">
          <a:xfrm rot="10800000">
            <a:off x="1268731" y="2957710"/>
            <a:ext cx="10923270" cy="3900295"/>
          </a:xfrm>
          <a:prstGeom prst="rect">
            <a:avLst/>
          </a:prstGeom>
        </p:spPr>
      </p:pic>
    </p:spTree>
    <p:extLst>
      <p:ext uri="{BB962C8B-B14F-4D97-AF65-F5344CB8AC3E}">
        <p14:creationId xmlns:p14="http://schemas.microsoft.com/office/powerpoint/2010/main" val="209036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ackground + títul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757C211D-1C8A-4078-B1CB-385CD86EB604}"/>
              </a:ext>
            </a:extLst>
          </p:cNvPr>
          <p:cNvSpPr/>
          <p:nvPr userDrawn="1"/>
        </p:nvSpPr>
        <p:spPr>
          <a:xfrm>
            <a:off x="0" y="0"/>
            <a:ext cx="12192000" cy="6858000"/>
          </a:xfrm>
          <a:prstGeom prst="rect">
            <a:avLst/>
          </a:prstGeom>
          <a:solidFill>
            <a:srgbClr val="3138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ítulo 1">
            <a:extLst>
              <a:ext uri="{FF2B5EF4-FFF2-40B4-BE49-F238E27FC236}">
                <a16:creationId xmlns:a16="http://schemas.microsoft.com/office/drawing/2014/main" id="{B2BA84B5-9AE0-434A-8C69-DC8B2E32C8CB}"/>
              </a:ext>
            </a:extLst>
          </p:cNvPr>
          <p:cNvSpPr>
            <a:spLocks noGrp="1"/>
          </p:cNvSpPr>
          <p:nvPr>
            <p:ph type="title"/>
          </p:nvPr>
        </p:nvSpPr>
        <p:spPr>
          <a:xfrm>
            <a:off x="1028700" y="1993901"/>
            <a:ext cx="10134600" cy="2335212"/>
          </a:xfrm>
        </p:spPr>
        <p:txBody>
          <a:bodyPr/>
          <a:lstStyle>
            <a:lvl1pPr algn="ctr">
              <a:defRPr>
                <a:solidFill>
                  <a:srgbClr val="FFFFFF"/>
                </a:solidFill>
              </a:defRPr>
            </a:lvl1pPr>
          </a:lstStyle>
          <a:p>
            <a:r>
              <a:rPr lang="pt-BR" dirty="0"/>
              <a:t>Clique para editar o título Mestre</a:t>
            </a:r>
          </a:p>
        </p:txBody>
      </p:sp>
      <p:sp>
        <p:nvSpPr>
          <p:cNvPr id="6" name="CaixaDeTexto 5">
            <a:extLst>
              <a:ext uri="{FF2B5EF4-FFF2-40B4-BE49-F238E27FC236}">
                <a16:creationId xmlns:a16="http://schemas.microsoft.com/office/drawing/2014/main" id="{B13447A0-6CCE-493C-87E7-1D68FDF56A02}"/>
              </a:ext>
            </a:extLst>
          </p:cNvPr>
          <p:cNvSpPr txBox="1"/>
          <p:nvPr userDrawn="1"/>
        </p:nvSpPr>
        <p:spPr>
          <a:xfrm>
            <a:off x="-2" y="-904318"/>
            <a:ext cx="6972301" cy="369332"/>
          </a:xfrm>
          <a:prstGeom prst="rect">
            <a:avLst/>
          </a:prstGeom>
          <a:noFill/>
        </p:spPr>
        <p:txBody>
          <a:bodyPr wrap="square" rtlCol="0">
            <a:spAutoFit/>
          </a:bodyPr>
          <a:lstStyle/>
          <a:p>
            <a:r>
              <a:rPr lang="pt-BR" b="1" dirty="0"/>
              <a:t>Para inserir uma imagem no fundo </a:t>
            </a:r>
            <a:r>
              <a:rPr lang="pt-BR" dirty="0"/>
              <a:t>do slide edite o plano de fundo:</a:t>
            </a:r>
          </a:p>
        </p:txBody>
      </p:sp>
      <p:sp>
        <p:nvSpPr>
          <p:cNvPr id="7" name="CaixaDeTexto 6">
            <a:extLst>
              <a:ext uri="{FF2B5EF4-FFF2-40B4-BE49-F238E27FC236}">
                <a16:creationId xmlns:a16="http://schemas.microsoft.com/office/drawing/2014/main" id="{AB7C39C5-9023-42EB-947B-16325BF39F24}"/>
              </a:ext>
            </a:extLst>
          </p:cNvPr>
          <p:cNvSpPr txBox="1"/>
          <p:nvPr userDrawn="1"/>
        </p:nvSpPr>
        <p:spPr>
          <a:xfrm>
            <a:off x="-2" y="-534986"/>
            <a:ext cx="7715252" cy="369332"/>
          </a:xfrm>
          <a:prstGeom prst="rect">
            <a:avLst/>
          </a:prstGeom>
          <a:noFill/>
        </p:spPr>
        <p:txBody>
          <a:bodyPr wrap="square" rtlCol="0">
            <a:spAutoFit/>
          </a:bodyPr>
          <a:lstStyle/>
          <a:p>
            <a:r>
              <a:rPr lang="pt-BR" dirty="0"/>
              <a:t>Botão direito, formatar plano de fundo, preenchimento com imagem </a:t>
            </a:r>
            <a:r>
              <a:rPr lang="pt-BR"/>
              <a:t>e inserir.</a:t>
            </a:r>
            <a:endParaRPr lang="pt-BR" dirty="0"/>
          </a:p>
        </p:txBody>
      </p:sp>
    </p:spTree>
    <p:extLst>
      <p:ext uri="{BB962C8B-B14F-4D97-AF65-F5344CB8AC3E}">
        <p14:creationId xmlns:p14="http://schemas.microsoft.com/office/powerpoint/2010/main" val="2975912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 Gold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a:solidFill>
                <a:srgbClr val="FFFFFF"/>
              </a:solidFill>
              <a:latin typeface="Century Gothic" panose="020F0302020204030204"/>
            </a:endParaRPr>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9467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ma Livre + Texto direita">
    <p:spTree>
      <p:nvGrpSpPr>
        <p:cNvPr id="1" name=""/>
        <p:cNvGrpSpPr/>
        <p:nvPr/>
      </p:nvGrpSpPr>
      <p:grpSpPr>
        <a:xfrm>
          <a:off x="0" y="0"/>
          <a:ext cx="0" cy="0"/>
          <a:chOff x="0" y="0"/>
          <a:chExt cx="0" cy="0"/>
        </a:xfrm>
      </p:grpSpPr>
      <p:sp>
        <p:nvSpPr>
          <p:cNvPr id="12" name="Espaço Reservado para Imagem 11">
            <a:extLst>
              <a:ext uri="{FF2B5EF4-FFF2-40B4-BE49-F238E27FC236}">
                <a16:creationId xmlns:a16="http://schemas.microsoft.com/office/drawing/2014/main" id="{229E68F1-7D3F-417E-9517-DA38CED10B1A}"/>
              </a:ext>
            </a:extLst>
          </p:cNvPr>
          <p:cNvSpPr>
            <a:spLocks noGrp="1"/>
          </p:cNvSpPr>
          <p:nvPr>
            <p:ph type="pic" sz="quarter" idx="10"/>
          </p:nvPr>
        </p:nvSpPr>
        <p:spPr>
          <a:xfrm>
            <a:off x="0" y="0"/>
            <a:ext cx="2264229" cy="2264229"/>
          </a:xfrm>
          <a:prstGeom prst="rect">
            <a:avLst/>
          </a:prstGeom>
          <a:solidFill>
            <a:srgbClr val="006D93"/>
          </a:solidFill>
        </p:spPr>
        <p:txBody>
          <a:bodyPr>
            <a:normAutofit/>
          </a:bodyPr>
          <a:lstStyle>
            <a:lvl1pPr marL="0" indent="0">
              <a:buNone/>
              <a:defRPr sz="1800">
                <a:solidFill>
                  <a:schemeClr val="bg1"/>
                </a:solidFill>
              </a:defRPr>
            </a:lvl1pPr>
          </a:lstStyle>
          <a:p>
            <a:endParaRPr lang="pt-BR" dirty="0"/>
          </a:p>
        </p:txBody>
      </p:sp>
      <p:sp>
        <p:nvSpPr>
          <p:cNvPr id="16" name="Espaço Reservado para Imagem 11">
            <a:extLst>
              <a:ext uri="{FF2B5EF4-FFF2-40B4-BE49-F238E27FC236}">
                <a16:creationId xmlns:a16="http://schemas.microsoft.com/office/drawing/2014/main" id="{67A70C11-56F4-4F33-803C-76225C3631E9}"/>
              </a:ext>
            </a:extLst>
          </p:cNvPr>
          <p:cNvSpPr>
            <a:spLocks noGrp="1"/>
          </p:cNvSpPr>
          <p:nvPr>
            <p:ph type="pic" sz="quarter" idx="11"/>
          </p:nvPr>
        </p:nvSpPr>
        <p:spPr>
          <a:xfrm>
            <a:off x="2264229" y="2296885"/>
            <a:ext cx="2264229" cy="2264229"/>
          </a:xfrm>
          <a:prstGeom prst="rect">
            <a:avLst/>
          </a:prstGeom>
          <a:solidFill>
            <a:srgbClr val="8DC44B"/>
          </a:solidFill>
        </p:spPr>
        <p:txBody>
          <a:bodyPr>
            <a:normAutofit/>
          </a:bodyPr>
          <a:lstStyle>
            <a:lvl1pPr marL="0" indent="0">
              <a:buNone/>
              <a:defRPr sz="1800">
                <a:solidFill>
                  <a:schemeClr val="bg1"/>
                </a:solidFill>
              </a:defRPr>
            </a:lvl1pPr>
          </a:lstStyle>
          <a:p>
            <a:endParaRPr lang="pt-BR" dirty="0"/>
          </a:p>
        </p:txBody>
      </p:sp>
      <p:sp>
        <p:nvSpPr>
          <p:cNvPr id="17" name="Espaço Reservado para Imagem 11">
            <a:extLst>
              <a:ext uri="{FF2B5EF4-FFF2-40B4-BE49-F238E27FC236}">
                <a16:creationId xmlns:a16="http://schemas.microsoft.com/office/drawing/2014/main" id="{30A98F20-A99A-4A0F-90AE-10A217F0773D}"/>
              </a:ext>
            </a:extLst>
          </p:cNvPr>
          <p:cNvSpPr>
            <a:spLocks noGrp="1"/>
          </p:cNvSpPr>
          <p:nvPr>
            <p:ph type="pic" sz="quarter" idx="12"/>
          </p:nvPr>
        </p:nvSpPr>
        <p:spPr>
          <a:xfrm>
            <a:off x="0" y="4593771"/>
            <a:ext cx="2264229" cy="2264229"/>
          </a:xfrm>
          <a:prstGeom prst="rect">
            <a:avLst/>
          </a:prstGeom>
          <a:solidFill>
            <a:srgbClr val="313847"/>
          </a:solidFill>
        </p:spPr>
        <p:txBody>
          <a:bodyPr>
            <a:normAutofit/>
          </a:bodyPr>
          <a:lstStyle>
            <a:lvl1pPr marL="0" indent="0">
              <a:buNone/>
              <a:defRPr sz="1800">
                <a:solidFill>
                  <a:schemeClr val="bg1"/>
                </a:solidFill>
              </a:defRPr>
            </a:lvl1pPr>
          </a:lstStyle>
          <a:p>
            <a:endParaRPr lang="pt-BR"/>
          </a:p>
        </p:txBody>
      </p:sp>
      <p:sp>
        <p:nvSpPr>
          <p:cNvPr id="18" name="Espaço Reservado para Imagem 11">
            <a:extLst>
              <a:ext uri="{FF2B5EF4-FFF2-40B4-BE49-F238E27FC236}">
                <a16:creationId xmlns:a16="http://schemas.microsoft.com/office/drawing/2014/main" id="{D0EE4BD9-31ED-4B77-B89A-1E2E453B7DBC}"/>
              </a:ext>
            </a:extLst>
          </p:cNvPr>
          <p:cNvSpPr>
            <a:spLocks noGrp="1"/>
          </p:cNvSpPr>
          <p:nvPr>
            <p:ph type="pic" sz="quarter" idx="13"/>
          </p:nvPr>
        </p:nvSpPr>
        <p:spPr>
          <a:xfrm>
            <a:off x="4528458" y="1001486"/>
            <a:ext cx="1262743" cy="1262743"/>
          </a:xfrm>
          <a:prstGeom prst="rect">
            <a:avLst/>
          </a:prstGeom>
          <a:solidFill>
            <a:srgbClr val="74BDE1"/>
          </a:solidFill>
        </p:spPr>
        <p:txBody>
          <a:bodyPr>
            <a:normAutofit/>
          </a:bodyPr>
          <a:lstStyle>
            <a:lvl1pPr marL="0" indent="0">
              <a:buNone/>
              <a:defRPr sz="1600">
                <a:solidFill>
                  <a:schemeClr val="bg1"/>
                </a:solidFill>
              </a:defRPr>
            </a:lvl1pPr>
          </a:lstStyle>
          <a:p>
            <a:endParaRPr lang="pt-BR" dirty="0"/>
          </a:p>
        </p:txBody>
      </p:sp>
      <p:sp>
        <p:nvSpPr>
          <p:cNvPr id="19" name="Espaço Reservado para Imagem 11">
            <a:extLst>
              <a:ext uri="{FF2B5EF4-FFF2-40B4-BE49-F238E27FC236}">
                <a16:creationId xmlns:a16="http://schemas.microsoft.com/office/drawing/2014/main" id="{69411563-D6C6-4058-8EC7-55026E7D7F13}"/>
              </a:ext>
            </a:extLst>
          </p:cNvPr>
          <p:cNvSpPr>
            <a:spLocks noGrp="1"/>
          </p:cNvSpPr>
          <p:nvPr>
            <p:ph type="pic" sz="quarter" idx="14"/>
          </p:nvPr>
        </p:nvSpPr>
        <p:spPr>
          <a:xfrm>
            <a:off x="5791201" y="2296885"/>
            <a:ext cx="1262743" cy="1262743"/>
          </a:xfrm>
          <a:prstGeom prst="rect">
            <a:avLst/>
          </a:prstGeom>
          <a:solidFill>
            <a:srgbClr val="006D93"/>
          </a:solidFill>
        </p:spPr>
        <p:txBody>
          <a:bodyPr>
            <a:normAutofit/>
          </a:bodyPr>
          <a:lstStyle>
            <a:lvl1pPr marL="0" indent="0">
              <a:buNone/>
              <a:defRPr sz="1800">
                <a:solidFill>
                  <a:schemeClr val="bg1"/>
                </a:solidFill>
              </a:defRPr>
            </a:lvl1pPr>
          </a:lstStyle>
          <a:p>
            <a:endParaRPr lang="pt-BR" dirty="0"/>
          </a:p>
        </p:txBody>
      </p:sp>
      <p:sp>
        <p:nvSpPr>
          <p:cNvPr id="20" name="Título 19">
            <a:extLst>
              <a:ext uri="{FF2B5EF4-FFF2-40B4-BE49-F238E27FC236}">
                <a16:creationId xmlns:a16="http://schemas.microsoft.com/office/drawing/2014/main" id="{3C8CB662-2DFD-43C1-9900-B289CC3CB67D}"/>
              </a:ext>
            </a:extLst>
          </p:cNvPr>
          <p:cNvSpPr>
            <a:spLocks noGrp="1"/>
          </p:cNvSpPr>
          <p:nvPr>
            <p:ph type="title" hasCustomPrompt="1"/>
          </p:nvPr>
        </p:nvSpPr>
        <p:spPr>
          <a:xfrm>
            <a:off x="7053944" y="3592284"/>
            <a:ext cx="4397827" cy="876868"/>
          </a:xfrm>
        </p:spPr>
        <p:txBody>
          <a:bodyPr anchor="b">
            <a:noAutofit/>
          </a:bodyPr>
          <a:lstStyle>
            <a:lvl1pPr algn="l">
              <a:defRPr sz="2800">
                <a:latin typeface="Montserrat Medium" panose="00000600000000000000" pitchFamily="2" charset="0"/>
              </a:defRPr>
            </a:lvl1pPr>
          </a:lstStyle>
          <a:p>
            <a:r>
              <a:rPr lang="pt-BR" dirty="0"/>
              <a:t>CLIQUE PARA EDITAR O TÍTULO MESTRE</a:t>
            </a:r>
          </a:p>
        </p:txBody>
      </p:sp>
      <p:sp>
        <p:nvSpPr>
          <p:cNvPr id="23" name="Espaço Reservado para Texto 22">
            <a:extLst>
              <a:ext uri="{FF2B5EF4-FFF2-40B4-BE49-F238E27FC236}">
                <a16:creationId xmlns:a16="http://schemas.microsoft.com/office/drawing/2014/main" id="{099F634F-7891-488A-8582-D9C573D3C002}"/>
              </a:ext>
            </a:extLst>
          </p:cNvPr>
          <p:cNvSpPr>
            <a:spLocks noGrp="1"/>
          </p:cNvSpPr>
          <p:nvPr>
            <p:ph type="body" sz="quarter" idx="15" hasCustomPrompt="1"/>
          </p:nvPr>
        </p:nvSpPr>
        <p:spPr>
          <a:xfrm>
            <a:off x="7053263" y="4637311"/>
            <a:ext cx="4398962" cy="1936750"/>
          </a:xfrm>
          <a:prstGeom prst="rect">
            <a:avLst/>
          </a:prstGeom>
        </p:spPr>
        <p:txBody>
          <a:bodyPr>
            <a:noAutofit/>
          </a:bodyPr>
          <a:lstStyle>
            <a:lvl1pPr marL="0" indent="0" algn="l">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24" name="Rectangle 18">
            <a:extLst>
              <a:ext uri="{FF2B5EF4-FFF2-40B4-BE49-F238E27FC236}">
                <a16:creationId xmlns:a16="http://schemas.microsoft.com/office/drawing/2014/main" id="{E1B32CE4-CDD8-464E-93FA-D660F742DDD3}"/>
              </a:ext>
            </a:extLst>
          </p:cNvPr>
          <p:cNvSpPr/>
          <p:nvPr userDrawn="1"/>
        </p:nvSpPr>
        <p:spPr>
          <a:xfrm rot="5400000">
            <a:off x="9576649" y="1978421"/>
            <a:ext cx="91963" cy="5138737"/>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25" name="Group 24">
            <a:extLst>
              <a:ext uri="{FF2B5EF4-FFF2-40B4-BE49-F238E27FC236}">
                <a16:creationId xmlns:a16="http://schemas.microsoft.com/office/drawing/2014/main" id="{65DE52B5-0B28-45E3-B836-9612761BCCF8}"/>
              </a:ext>
            </a:extLst>
          </p:cNvPr>
          <p:cNvGrpSpPr/>
          <p:nvPr userDrawn="1"/>
        </p:nvGrpSpPr>
        <p:grpSpPr>
          <a:xfrm>
            <a:off x="11571410" y="237255"/>
            <a:ext cx="405420" cy="405472"/>
            <a:chOff x="9847755" y="226389"/>
            <a:chExt cx="516502" cy="516568"/>
          </a:xfrm>
        </p:grpSpPr>
        <p:sp>
          <p:nvSpPr>
            <p:cNvPr id="26" name="Rectangle 25">
              <a:extLst>
                <a:ext uri="{FF2B5EF4-FFF2-40B4-BE49-F238E27FC236}">
                  <a16:creationId xmlns:a16="http://schemas.microsoft.com/office/drawing/2014/main" id="{E57030E7-FD06-4191-8DDD-CA3B5E161E9D}"/>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665B22E0-C27D-4823-9B71-27A35CE3C340}"/>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D57F066-47F9-4053-BC8A-2DFC297F34E7}"/>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783526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ma Livre + Texto esquerda">
    <p:spTree>
      <p:nvGrpSpPr>
        <p:cNvPr id="1" name=""/>
        <p:cNvGrpSpPr/>
        <p:nvPr/>
      </p:nvGrpSpPr>
      <p:grpSpPr>
        <a:xfrm>
          <a:off x="0" y="0"/>
          <a:ext cx="0" cy="0"/>
          <a:chOff x="0" y="0"/>
          <a:chExt cx="0" cy="0"/>
        </a:xfrm>
      </p:grpSpPr>
      <p:sp>
        <p:nvSpPr>
          <p:cNvPr id="12" name="Espaço Reservado para Imagem 11">
            <a:extLst>
              <a:ext uri="{FF2B5EF4-FFF2-40B4-BE49-F238E27FC236}">
                <a16:creationId xmlns:a16="http://schemas.microsoft.com/office/drawing/2014/main" id="{229E68F1-7D3F-417E-9517-DA38CED10B1A}"/>
              </a:ext>
            </a:extLst>
          </p:cNvPr>
          <p:cNvSpPr>
            <a:spLocks noGrp="1"/>
          </p:cNvSpPr>
          <p:nvPr>
            <p:ph type="pic" sz="quarter" idx="10"/>
          </p:nvPr>
        </p:nvSpPr>
        <p:spPr>
          <a:xfrm>
            <a:off x="7474856" y="642727"/>
            <a:ext cx="4717143" cy="1621502"/>
          </a:xfrm>
          <a:prstGeom prst="rect">
            <a:avLst/>
          </a:prstGeom>
          <a:solidFill>
            <a:srgbClr val="006D93"/>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6" name="Espaço Reservado para Imagem 11">
            <a:extLst>
              <a:ext uri="{FF2B5EF4-FFF2-40B4-BE49-F238E27FC236}">
                <a16:creationId xmlns:a16="http://schemas.microsoft.com/office/drawing/2014/main" id="{67A70C11-56F4-4F33-803C-76225C3631E9}"/>
              </a:ext>
            </a:extLst>
          </p:cNvPr>
          <p:cNvSpPr>
            <a:spLocks noGrp="1"/>
          </p:cNvSpPr>
          <p:nvPr>
            <p:ph type="pic" sz="quarter" idx="11"/>
          </p:nvPr>
        </p:nvSpPr>
        <p:spPr>
          <a:xfrm>
            <a:off x="7474856" y="3526972"/>
            <a:ext cx="2264229" cy="2264229"/>
          </a:xfrm>
          <a:prstGeom prst="rect">
            <a:avLst/>
          </a:prstGeom>
          <a:solidFill>
            <a:srgbClr val="8DC44B"/>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8" name="Espaço Reservado para Imagem 11">
            <a:extLst>
              <a:ext uri="{FF2B5EF4-FFF2-40B4-BE49-F238E27FC236}">
                <a16:creationId xmlns:a16="http://schemas.microsoft.com/office/drawing/2014/main" id="{D0EE4BD9-31ED-4B77-B89A-1E2E453B7DBC}"/>
              </a:ext>
            </a:extLst>
          </p:cNvPr>
          <p:cNvSpPr>
            <a:spLocks noGrp="1"/>
          </p:cNvSpPr>
          <p:nvPr>
            <p:ph type="pic" sz="quarter" idx="13"/>
          </p:nvPr>
        </p:nvSpPr>
        <p:spPr>
          <a:xfrm>
            <a:off x="6212113" y="2264229"/>
            <a:ext cx="1262743" cy="1262743"/>
          </a:xfrm>
          <a:prstGeom prst="rect">
            <a:avLst/>
          </a:prstGeom>
          <a:solidFill>
            <a:srgbClr val="74BDE1"/>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9" name="Espaço Reservado para Imagem 11">
            <a:extLst>
              <a:ext uri="{FF2B5EF4-FFF2-40B4-BE49-F238E27FC236}">
                <a16:creationId xmlns:a16="http://schemas.microsoft.com/office/drawing/2014/main" id="{69411563-D6C6-4058-8EC7-55026E7D7F13}"/>
              </a:ext>
            </a:extLst>
          </p:cNvPr>
          <p:cNvSpPr>
            <a:spLocks noGrp="1"/>
          </p:cNvSpPr>
          <p:nvPr>
            <p:ph type="pic" sz="quarter" idx="14"/>
          </p:nvPr>
        </p:nvSpPr>
        <p:spPr>
          <a:xfrm>
            <a:off x="2452915" y="5791201"/>
            <a:ext cx="5021941" cy="1066799"/>
          </a:xfrm>
          <a:prstGeom prst="rect">
            <a:avLst/>
          </a:prstGeom>
          <a:solidFill>
            <a:srgbClr val="006D93"/>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20" name="Título 19">
            <a:extLst>
              <a:ext uri="{FF2B5EF4-FFF2-40B4-BE49-F238E27FC236}">
                <a16:creationId xmlns:a16="http://schemas.microsoft.com/office/drawing/2014/main" id="{3C8CB662-2DFD-43C1-9900-B289CC3CB67D}"/>
              </a:ext>
            </a:extLst>
          </p:cNvPr>
          <p:cNvSpPr>
            <a:spLocks noGrp="1"/>
          </p:cNvSpPr>
          <p:nvPr>
            <p:ph type="title" hasCustomPrompt="1"/>
          </p:nvPr>
        </p:nvSpPr>
        <p:spPr>
          <a:xfrm>
            <a:off x="675258" y="767347"/>
            <a:ext cx="4397827" cy="876868"/>
          </a:xfrm>
        </p:spPr>
        <p:txBody>
          <a:bodyPr anchor="b">
            <a:noAutofit/>
          </a:bodyPr>
          <a:lstStyle>
            <a:lvl1pPr>
              <a:defRPr sz="2800">
                <a:latin typeface="Montserrat Medium" panose="00000600000000000000" pitchFamily="2" charset="0"/>
              </a:defRPr>
            </a:lvl1pPr>
          </a:lstStyle>
          <a:p>
            <a:r>
              <a:rPr lang="pt-BR" dirty="0"/>
              <a:t>CLIQUE PARA EDITAR O TÍTULO MESTRE</a:t>
            </a:r>
          </a:p>
        </p:txBody>
      </p:sp>
      <p:sp>
        <p:nvSpPr>
          <p:cNvPr id="23" name="Espaço Reservado para Texto 22">
            <a:extLst>
              <a:ext uri="{FF2B5EF4-FFF2-40B4-BE49-F238E27FC236}">
                <a16:creationId xmlns:a16="http://schemas.microsoft.com/office/drawing/2014/main" id="{099F634F-7891-488A-8582-D9C573D3C002}"/>
              </a:ext>
            </a:extLst>
          </p:cNvPr>
          <p:cNvSpPr>
            <a:spLocks noGrp="1"/>
          </p:cNvSpPr>
          <p:nvPr>
            <p:ph type="body" sz="quarter" idx="15" hasCustomPrompt="1"/>
          </p:nvPr>
        </p:nvSpPr>
        <p:spPr>
          <a:xfrm>
            <a:off x="674577" y="1820180"/>
            <a:ext cx="4398962" cy="193675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24" name="Rectangle 18">
            <a:extLst>
              <a:ext uri="{FF2B5EF4-FFF2-40B4-BE49-F238E27FC236}">
                <a16:creationId xmlns:a16="http://schemas.microsoft.com/office/drawing/2014/main" id="{E1B32CE4-CDD8-464E-93FA-D660F742DDD3}"/>
              </a:ext>
            </a:extLst>
          </p:cNvPr>
          <p:cNvSpPr/>
          <p:nvPr userDrawn="1"/>
        </p:nvSpPr>
        <p:spPr>
          <a:xfrm rot="5400000">
            <a:off x="-758607" y="758609"/>
            <a:ext cx="1644214" cy="126998"/>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312083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Imagens Circulos">
    <p:spTree>
      <p:nvGrpSpPr>
        <p:cNvPr id="1" name=""/>
        <p:cNvGrpSpPr/>
        <p:nvPr/>
      </p:nvGrpSpPr>
      <p:grpSpPr>
        <a:xfrm>
          <a:off x="0" y="0"/>
          <a:ext cx="0" cy="0"/>
          <a:chOff x="0" y="0"/>
          <a:chExt cx="0" cy="0"/>
        </a:xfrm>
      </p:grpSpPr>
      <p:sp>
        <p:nvSpPr>
          <p:cNvPr id="21" name="Rectangle 21">
            <a:extLst>
              <a:ext uri="{FF2B5EF4-FFF2-40B4-BE49-F238E27FC236}">
                <a16:creationId xmlns:a16="http://schemas.microsoft.com/office/drawing/2014/main" id="{9EF35EA5-EB7C-4E4A-8333-7A67908CFED0}"/>
              </a:ext>
            </a:extLst>
          </p:cNvPr>
          <p:cNvSpPr/>
          <p:nvPr userDrawn="1"/>
        </p:nvSpPr>
        <p:spPr>
          <a:xfrm>
            <a:off x="7445036" y="3124178"/>
            <a:ext cx="867761" cy="1944915"/>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ctangle 21">
            <a:extLst>
              <a:ext uri="{FF2B5EF4-FFF2-40B4-BE49-F238E27FC236}">
                <a16:creationId xmlns:a16="http://schemas.microsoft.com/office/drawing/2014/main" id="{A3806EA7-FDCC-47AE-A524-526F0D3B92B6}"/>
              </a:ext>
            </a:extLst>
          </p:cNvPr>
          <p:cNvSpPr/>
          <p:nvPr userDrawn="1"/>
        </p:nvSpPr>
        <p:spPr>
          <a:xfrm rot="16200000">
            <a:off x="6811585" y="2510113"/>
            <a:ext cx="867761" cy="399144"/>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ítulo 19">
            <a:extLst>
              <a:ext uri="{FF2B5EF4-FFF2-40B4-BE49-F238E27FC236}">
                <a16:creationId xmlns:a16="http://schemas.microsoft.com/office/drawing/2014/main" id="{45D6096A-013A-47E3-87CD-27691C0DE646}"/>
              </a:ext>
            </a:extLst>
          </p:cNvPr>
          <p:cNvSpPr>
            <a:spLocks noGrp="1"/>
          </p:cNvSpPr>
          <p:nvPr>
            <p:ph type="title" hasCustomPrompt="1"/>
          </p:nvPr>
        </p:nvSpPr>
        <p:spPr>
          <a:xfrm>
            <a:off x="675258" y="1911687"/>
            <a:ext cx="4397827" cy="876868"/>
          </a:xfrm>
        </p:spPr>
        <p:txBody>
          <a:bodyPr anchor="b">
            <a:noAutofit/>
          </a:bodyPr>
          <a:lstStyle>
            <a:lvl1pPr>
              <a:defRPr sz="2800">
                <a:latin typeface="Montserrat Medium" panose="00000600000000000000" pitchFamily="2" charset="0"/>
              </a:defRPr>
            </a:lvl1pPr>
          </a:lstStyle>
          <a:p>
            <a:r>
              <a:rPr lang="pt-BR" dirty="0"/>
              <a:t>CLIQUE PARA EDITAR O TÍTULO MESTRE</a:t>
            </a:r>
          </a:p>
        </p:txBody>
      </p:sp>
      <p:sp>
        <p:nvSpPr>
          <p:cNvPr id="5" name="Espaço Reservado para Texto 22">
            <a:extLst>
              <a:ext uri="{FF2B5EF4-FFF2-40B4-BE49-F238E27FC236}">
                <a16:creationId xmlns:a16="http://schemas.microsoft.com/office/drawing/2014/main" id="{EA99B78D-122A-4162-A5A1-5CEA04879677}"/>
              </a:ext>
            </a:extLst>
          </p:cNvPr>
          <p:cNvSpPr>
            <a:spLocks noGrp="1"/>
          </p:cNvSpPr>
          <p:nvPr>
            <p:ph type="body" sz="quarter" idx="15" hasCustomPrompt="1"/>
          </p:nvPr>
        </p:nvSpPr>
        <p:spPr>
          <a:xfrm>
            <a:off x="674577" y="2964520"/>
            <a:ext cx="4398962" cy="193675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6" name="Rectangle 18">
            <a:extLst>
              <a:ext uri="{FF2B5EF4-FFF2-40B4-BE49-F238E27FC236}">
                <a16:creationId xmlns:a16="http://schemas.microsoft.com/office/drawing/2014/main" id="{9F5FAF70-E222-4E57-A66E-1CDE494EFE54}"/>
              </a:ext>
            </a:extLst>
          </p:cNvPr>
          <p:cNvSpPr/>
          <p:nvPr userDrawn="1"/>
        </p:nvSpPr>
        <p:spPr>
          <a:xfrm rot="5400000">
            <a:off x="-2070143" y="3332883"/>
            <a:ext cx="4267282"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Espaço Reservado para Imagem 16">
            <a:extLst>
              <a:ext uri="{FF2B5EF4-FFF2-40B4-BE49-F238E27FC236}">
                <a16:creationId xmlns:a16="http://schemas.microsoft.com/office/drawing/2014/main" id="{6A5A8305-8A6D-4D22-B856-40E0319FDB1B}"/>
              </a:ext>
            </a:extLst>
          </p:cNvPr>
          <p:cNvSpPr>
            <a:spLocks noGrp="1"/>
          </p:cNvSpPr>
          <p:nvPr>
            <p:ph type="pic" sz="quarter" idx="16"/>
          </p:nvPr>
        </p:nvSpPr>
        <p:spPr>
          <a:xfrm>
            <a:off x="8763000" y="0"/>
            <a:ext cx="6857999" cy="6858000"/>
          </a:xfrm>
          <a:prstGeom prst="blockArc">
            <a:avLst>
              <a:gd name="adj1" fmla="val 5403971"/>
              <a:gd name="adj2" fmla="val 16206846"/>
              <a:gd name="adj3" fmla="val 24815"/>
            </a:avLst>
          </a:prstGeom>
          <a:solidFill>
            <a:srgbClr val="313847"/>
          </a:solidFill>
        </p:spPr>
        <p:txBody>
          <a:bodyPr/>
          <a:lstStyle/>
          <a:p>
            <a:endParaRPr lang="pt-BR" dirty="0"/>
          </a:p>
        </p:txBody>
      </p:sp>
      <p:sp>
        <p:nvSpPr>
          <p:cNvPr id="19" name="Rectangle 20">
            <a:extLst>
              <a:ext uri="{FF2B5EF4-FFF2-40B4-BE49-F238E27FC236}">
                <a16:creationId xmlns:a16="http://schemas.microsoft.com/office/drawing/2014/main" id="{1A34CD57-3E25-4C93-83FD-EF207EAC5C72}"/>
              </a:ext>
            </a:extLst>
          </p:cNvPr>
          <p:cNvSpPr/>
          <p:nvPr userDrawn="1"/>
        </p:nvSpPr>
        <p:spPr>
          <a:xfrm>
            <a:off x="6646748" y="5060928"/>
            <a:ext cx="798288" cy="856539"/>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ctangle 20">
            <a:extLst>
              <a:ext uri="{FF2B5EF4-FFF2-40B4-BE49-F238E27FC236}">
                <a16:creationId xmlns:a16="http://schemas.microsoft.com/office/drawing/2014/main" id="{BDD47301-9FB8-4DDE-9A62-D32D2AE26807}"/>
              </a:ext>
            </a:extLst>
          </p:cNvPr>
          <p:cNvSpPr/>
          <p:nvPr userDrawn="1"/>
        </p:nvSpPr>
        <p:spPr>
          <a:xfrm>
            <a:off x="6602234" y="1799772"/>
            <a:ext cx="443658" cy="476032"/>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Rectangle 20">
            <a:extLst>
              <a:ext uri="{FF2B5EF4-FFF2-40B4-BE49-F238E27FC236}">
                <a16:creationId xmlns:a16="http://schemas.microsoft.com/office/drawing/2014/main" id="{86144BBE-5083-4AD5-9D30-26E431F38727}"/>
              </a:ext>
            </a:extLst>
          </p:cNvPr>
          <p:cNvSpPr/>
          <p:nvPr userDrawn="1"/>
        </p:nvSpPr>
        <p:spPr>
          <a:xfrm>
            <a:off x="7445036" y="1422400"/>
            <a:ext cx="798288" cy="856539"/>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595432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FC9FEB-6D11-4C3A-AF4A-CE658248F088}"/>
              </a:ext>
            </a:extLst>
          </p:cNvPr>
          <p:cNvSpPr>
            <a:spLocks noGrp="1"/>
          </p:cNvSpPr>
          <p:nvPr>
            <p:ph type="title" hasCustomPrompt="1"/>
          </p:nvPr>
        </p:nvSpPr>
        <p:spPr>
          <a:xfrm>
            <a:off x="787400" y="3143250"/>
            <a:ext cx="10756900" cy="673100"/>
          </a:xfrm>
        </p:spPr>
        <p:txBody>
          <a:bodyPr anchor="b">
            <a:normAutofit/>
          </a:bodyPr>
          <a:lstStyle>
            <a:lvl1pPr algn="ctr">
              <a:defRPr sz="4000">
                <a:solidFill>
                  <a:srgbClr val="313847"/>
                </a:solidFill>
              </a:defRPr>
            </a:lvl1pPr>
          </a:lstStyle>
          <a:p>
            <a:r>
              <a:rPr lang="pt-BR" dirty="0"/>
              <a:t>TÍTULO DUPLO</a:t>
            </a:r>
          </a:p>
        </p:txBody>
      </p:sp>
      <p:sp>
        <p:nvSpPr>
          <p:cNvPr id="5" name="Espaço Reservado para Imagem 4">
            <a:extLst>
              <a:ext uri="{FF2B5EF4-FFF2-40B4-BE49-F238E27FC236}">
                <a16:creationId xmlns:a16="http://schemas.microsoft.com/office/drawing/2014/main" id="{C1ABA50A-D002-47ED-BB1E-08DA544F8935}"/>
              </a:ext>
            </a:extLst>
          </p:cNvPr>
          <p:cNvSpPr>
            <a:spLocks noGrp="1"/>
          </p:cNvSpPr>
          <p:nvPr>
            <p:ph type="pic" sz="quarter" idx="10"/>
          </p:nvPr>
        </p:nvSpPr>
        <p:spPr>
          <a:xfrm>
            <a:off x="127000" y="0"/>
            <a:ext cx="12065000" cy="2717800"/>
          </a:xfrm>
          <a:solidFill>
            <a:srgbClr val="006D93"/>
          </a:solidFill>
        </p:spPr>
        <p:txBody>
          <a:bodyPr/>
          <a:lstStyle>
            <a:lvl1pPr algn="ctr">
              <a:defRPr>
                <a:solidFill>
                  <a:schemeClr val="bg1"/>
                </a:solidFill>
              </a:defRPr>
            </a:lvl1pPr>
          </a:lstStyle>
          <a:p>
            <a:endParaRPr lang="pt-BR"/>
          </a:p>
        </p:txBody>
      </p:sp>
      <p:sp>
        <p:nvSpPr>
          <p:cNvPr id="6" name="Rectangle 18">
            <a:extLst>
              <a:ext uri="{FF2B5EF4-FFF2-40B4-BE49-F238E27FC236}">
                <a16:creationId xmlns:a16="http://schemas.microsoft.com/office/drawing/2014/main" id="{1DB52220-5FBD-4C67-A107-D4438B8EA107}"/>
              </a:ext>
            </a:extLst>
          </p:cNvPr>
          <p:cNvSpPr/>
          <p:nvPr userDrawn="1"/>
        </p:nvSpPr>
        <p:spPr>
          <a:xfrm>
            <a:off x="1" y="0"/>
            <a:ext cx="126998" cy="2717800"/>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Espaço Reservado para Texto 2">
            <a:extLst>
              <a:ext uri="{FF2B5EF4-FFF2-40B4-BE49-F238E27FC236}">
                <a16:creationId xmlns:a16="http://schemas.microsoft.com/office/drawing/2014/main" id="{70FDF02B-2CA4-4B9C-BBD7-ED8FDCDF3B82}"/>
              </a:ext>
            </a:extLst>
          </p:cNvPr>
          <p:cNvSpPr>
            <a:spLocks noGrp="1"/>
          </p:cNvSpPr>
          <p:nvPr>
            <p:ph type="body" sz="quarter" idx="11" hasCustomPrompt="1"/>
          </p:nvPr>
        </p:nvSpPr>
        <p:spPr>
          <a:xfrm>
            <a:off x="787400" y="4241801"/>
            <a:ext cx="10756900" cy="2209799"/>
          </a:xfrm>
        </p:spPr>
        <p:txBody>
          <a:bodyPr numCol="1">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p>
          <a:p>
            <a:pPr lvl="0"/>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a:t>
            </a:r>
            <a:r>
              <a:rPr lang="pt-BR" dirty="0"/>
              <a:t>  </a:t>
            </a:r>
            <a:r>
              <a:rPr lang="pt-BR" dirty="0" err="1"/>
              <a:t>aliquet</a:t>
            </a:r>
            <a:r>
              <a:rPr lang="pt-BR" dirty="0"/>
              <a:t> </a:t>
            </a:r>
            <a:r>
              <a:rPr lang="pt-BR" dirty="0" err="1"/>
              <a:t>ligula</a:t>
            </a:r>
            <a:r>
              <a:rPr lang="pt-BR" dirty="0"/>
              <a:t>  </a:t>
            </a:r>
            <a:r>
              <a:rPr lang="pt-BR" dirty="0" err="1"/>
              <a:t>la</a:t>
            </a:r>
            <a:r>
              <a:rPr lang="pt-BR" dirty="0"/>
              <a:t>  </a:t>
            </a:r>
            <a:r>
              <a:rPr lang="pt-BR" dirty="0" err="1"/>
              <a:t>Curabitur</a:t>
            </a:r>
            <a:r>
              <a:rPr lang="pt-BR" dirty="0"/>
              <a:t> ut </a:t>
            </a:r>
            <a:r>
              <a:rPr lang="pt-BR" dirty="0" err="1"/>
              <a:t>ex</a:t>
            </a:r>
            <a:r>
              <a:rPr lang="pt-BR" dirty="0"/>
              <a:t> ó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a:p>
            <a:pPr lvl="0"/>
            <a:endParaRPr lang="pt-BR" dirty="0"/>
          </a:p>
        </p:txBody>
      </p:sp>
    </p:spTree>
    <p:extLst>
      <p:ext uri="{BB962C8B-B14F-4D97-AF65-F5344CB8AC3E}">
        <p14:creationId xmlns:p14="http://schemas.microsoft.com/office/powerpoint/2010/main" val="15025126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FC9FEB-6D11-4C3A-AF4A-CE658248F088}"/>
              </a:ext>
            </a:extLst>
          </p:cNvPr>
          <p:cNvSpPr>
            <a:spLocks noGrp="1"/>
          </p:cNvSpPr>
          <p:nvPr>
            <p:ph type="title" hasCustomPrompt="1"/>
          </p:nvPr>
        </p:nvSpPr>
        <p:spPr>
          <a:xfrm>
            <a:off x="787400" y="3143250"/>
            <a:ext cx="5549900" cy="1352550"/>
          </a:xfrm>
        </p:spPr>
        <p:txBody>
          <a:bodyPr anchor="t">
            <a:normAutofit/>
          </a:bodyPr>
          <a:lstStyle>
            <a:lvl1pPr algn="l">
              <a:defRPr sz="4000">
                <a:solidFill>
                  <a:srgbClr val="313847"/>
                </a:solidFill>
              </a:defRPr>
            </a:lvl1pPr>
          </a:lstStyle>
          <a:p>
            <a:r>
              <a:rPr lang="pt-BR" dirty="0"/>
              <a:t>TÍTULO DUPLO COM MUITO TEXTO</a:t>
            </a:r>
          </a:p>
        </p:txBody>
      </p:sp>
      <p:sp>
        <p:nvSpPr>
          <p:cNvPr id="5" name="Espaço Reservado para Imagem 4">
            <a:extLst>
              <a:ext uri="{FF2B5EF4-FFF2-40B4-BE49-F238E27FC236}">
                <a16:creationId xmlns:a16="http://schemas.microsoft.com/office/drawing/2014/main" id="{C1ABA50A-D002-47ED-BB1E-08DA544F8935}"/>
              </a:ext>
            </a:extLst>
          </p:cNvPr>
          <p:cNvSpPr>
            <a:spLocks noGrp="1"/>
          </p:cNvSpPr>
          <p:nvPr>
            <p:ph type="pic" sz="quarter" idx="10"/>
          </p:nvPr>
        </p:nvSpPr>
        <p:spPr>
          <a:xfrm>
            <a:off x="127000" y="0"/>
            <a:ext cx="12065000" cy="2717800"/>
          </a:xfrm>
          <a:solidFill>
            <a:srgbClr val="006D93"/>
          </a:solidFill>
        </p:spPr>
        <p:txBody>
          <a:bodyPr/>
          <a:lstStyle>
            <a:lvl1pPr algn="ctr">
              <a:defRPr>
                <a:solidFill>
                  <a:schemeClr val="bg1"/>
                </a:solidFill>
              </a:defRPr>
            </a:lvl1pPr>
          </a:lstStyle>
          <a:p>
            <a:endParaRPr lang="pt-BR"/>
          </a:p>
        </p:txBody>
      </p:sp>
      <p:sp>
        <p:nvSpPr>
          <p:cNvPr id="6" name="Rectangle 18">
            <a:extLst>
              <a:ext uri="{FF2B5EF4-FFF2-40B4-BE49-F238E27FC236}">
                <a16:creationId xmlns:a16="http://schemas.microsoft.com/office/drawing/2014/main" id="{1DB52220-5FBD-4C67-A107-D4438B8EA107}"/>
              </a:ext>
            </a:extLst>
          </p:cNvPr>
          <p:cNvSpPr/>
          <p:nvPr userDrawn="1"/>
        </p:nvSpPr>
        <p:spPr>
          <a:xfrm>
            <a:off x="1" y="0"/>
            <a:ext cx="126998" cy="2717800"/>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Espaço Reservado para Texto 2">
            <a:extLst>
              <a:ext uri="{FF2B5EF4-FFF2-40B4-BE49-F238E27FC236}">
                <a16:creationId xmlns:a16="http://schemas.microsoft.com/office/drawing/2014/main" id="{70FDF02B-2CA4-4B9C-BBD7-ED8FDCDF3B82}"/>
              </a:ext>
            </a:extLst>
          </p:cNvPr>
          <p:cNvSpPr>
            <a:spLocks noGrp="1"/>
          </p:cNvSpPr>
          <p:nvPr>
            <p:ph type="body" sz="quarter" idx="11" hasCustomPrompt="1"/>
          </p:nvPr>
        </p:nvSpPr>
        <p:spPr>
          <a:xfrm>
            <a:off x="787400" y="4679949"/>
            <a:ext cx="5562600" cy="1682751"/>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Tree>
    <p:extLst>
      <p:ext uri="{BB962C8B-B14F-4D97-AF65-F5344CB8AC3E}">
        <p14:creationId xmlns:p14="http://schemas.microsoft.com/office/powerpoint/2010/main" val="552718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Slide Livre">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B4D66405-85AE-4577-87B2-8A8F34658A54}"/>
              </a:ext>
            </a:extLst>
          </p:cNvPr>
          <p:cNvSpPr txBox="1"/>
          <p:nvPr userDrawn="1"/>
        </p:nvSpPr>
        <p:spPr>
          <a:xfrm>
            <a:off x="0" y="-478972"/>
            <a:ext cx="4281714" cy="369332"/>
          </a:xfrm>
          <a:prstGeom prst="rect">
            <a:avLst/>
          </a:prstGeom>
          <a:noFill/>
        </p:spPr>
        <p:txBody>
          <a:bodyPr wrap="square" rtlCol="0">
            <a:spAutoFit/>
          </a:bodyPr>
          <a:lstStyle/>
          <a:p>
            <a:r>
              <a:rPr lang="pt-BR" dirty="0"/>
              <a:t>Slide em </a:t>
            </a:r>
            <a:r>
              <a:rPr lang="pt-BR"/>
              <a:t>branco livre</a:t>
            </a:r>
          </a:p>
        </p:txBody>
      </p:sp>
    </p:spTree>
    <p:extLst>
      <p:ext uri="{BB962C8B-B14F-4D97-AF65-F5344CB8AC3E}">
        <p14:creationId xmlns:p14="http://schemas.microsoft.com/office/powerpoint/2010/main" val="29718910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Branco">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0034" y="6165475"/>
            <a:ext cx="923365" cy="461683"/>
          </a:xfrm>
          <a:prstGeom prst="rect">
            <a:avLst/>
          </a:prstGeom>
        </p:spPr>
      </p:pic>
    </p:spTree>
    <p:extLst>
      <p:ext uri="{BB962C8B-B14F-4D97-AF65-F5344CB8AC3E}">
        <p14:creationId xmlns:p14="http://schemas.microsoft.com/office/powerpoint/2010/main" val="4083132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Tree>
    <p:extLst>
      <p:ext uri="{BB962C8B-B14F-4D97-AF65-F5344CB8AC3E}">
        <p14:creationId xmlns:p14="http://schemas.microsoft.com/office/powerpoint/2010/main" val="4194301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323073" y="6326790"/>
            <a:ext cx="2679276" cy="477074"/>
          </a:xfrm>
          <a:prstGeom prst="rect">
            <a:avLst/>
          </a:prstGeom>
          <a:noFill/>
          <a:ln w="9525">
            <a:noFill/>
            <a:miter lim="800000"/>
            <a:headEnd/>
            <a:tailEnd/>
          </a:ln>
          <a:effectLst/>
        </p:spPr>
      </p:pic>
    </p:spTree>
    <p:extLst>
      <p:ext uri="{BB962C8B-B14F-4D97-AF65-F5344CB8AC3E}">
        <p14:creationId xmlns:p14="http://schemas.microsoft.com/office/powerpoint/2010/main" val="35973730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6" y="6227202"/>
            <a:ext cx="644785" cy="260942"/>
          </a:xfrm>
          <a:prstGeom prst="rect">
            <a:avLst/>
          </a:prstGeom>
        </p:spPr>
      </p:pic>
      <p:sp>
        <p:nvSpPr>
          <p:cNvPr id="10" name="Content Placeholder 9">
            <a:extLst>
              <a:ext uri="{FF2B5EF4-FFF2-40B4-BE49-F238E27FC236}">
                <a16:creationId xmlns:a16="http://schemas.microsoft.com/office/drawing/2014/main" id="{DBAE8152-8DFB-4085-AA2B-60F872F7275C}"/>
              </a:ext>
            </a:extLst>
          </p:cNvPr>
          <p:cNvSpPr>
            <a:spLocks noGrp="1"/>
          </p:cNvSpPr>
          <p:nvPr>
            <p:ph sz="quarter" idx="10"/>
          </p:nvPr>
        </p:nvSpPr>
        <p:spPr>
          <a:xfrm>
            <a:off x="617220" y="1543050"/>
            <a:ext cx="10972800" cy="4457700"/>
          </a:xfrm>
          <a:prstGeom prst="rect">
            <a:avLst/>
          </a:prstGeom>
        </p:spPr>
        <p:txBody>
          <a:bodyPr/>
          <a:lstStyle>
            <a:lvl1pPr>
              <a:defRPr b="1"/>
            </a:lvl1pPr>
            <a:lvl5pPr>
              <a:defRPr sz="1800" b="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a:extLst>
              <a:ext uri="{FF2B5EF4-FFF2-40B4-BE49-F238E27FC236}">
                <a16:creationId xmlns:a16="http://schemas.microsoft.com/office/drawing/2014/main" id="{8BB29E01-507A-4C00-8C58-BFF48495E843}"/>
              </a:ext>
            </a:extLst>
          </p:cNvPr>
          <p:cNvSpPr>
            <a:spLocks noGrp="1"/>
          </p:cNvSpPr>
          <p:nvPr>
            <p:ph type="title"/>
          </p:nvPr>
        </p:nvSpPr>
        <p:spPr>
          <a:xfrm>
            <a:off x="617220" y="217961"/>
            <a:ext cx="10972038" cy="902187"/>
          </a:xfrm>
        </p:spPr>
        <p:txBody>
          <a:bodyPr/>
          <a:lstStyle/>
          <a:p>
            <a:r>
              <a:rPr lang="en-US"/>
              <a:t>Click to edit Master title style</a:t>
            </a:r>
            <a:endParaRPr lang="en-US" dirty="0"/>
          </a:p>
        </p:txBody>
      </p:sp>
      <p:sp>
        <p:nvSpPr>
          <p:cNvPr id="8" name="Footer Placeholder 2">
            <a:extLst>
              <a:ext uri="{FF2B5EF4-FFF2-40B4-BE49-F238E27FC236}">
                <a16:creationId xmlns:a16="http://schemas.microsoft.com/office/drawing/2014/main" id="{6F32236B-CE26-41E2-9AAB-B9B3899BEDD5}"/>
              </a:ext>
            </a:extLst>
          </p:cNvPr>
          <p:cNvSpPr>
            <a:spLocks noGrp="1"/>
          </p:cNvSpPr>
          <p:nvPr>
            <p:ph type="ftr" sz="quarter" idx="11"/>
          </p:nvPr>
        </p:nvSpPr>
        <p:spPr>
          <a:xfrm>
            <a:off x="1127760" y="6356747"/>
            <a:ext cx="4114800" cy="342900"/>
          </a:xfrm>
          <a:prstGeom prst="rect">
            <a:avLst/>
          </a:prstGeom>
        </p:spPr>
        <p:txBody>
          <a:bodyPr anchor="ctr"/>
          <a:lstStyle>
            <a:lvl1pPr>
              <a:defRPr sz="900">
                <a:solidFill>
                  <a:schemeClr val="tx2"/>
                </a:solidFill>
              </a:defRPr>
            </a:lvl1pPr>
          </a:lstStyle>
          <a:p>
            <a:r>
              <a:rPr lang="en-US" b="1" dirty="0"/>
              <a:t>© </a:t>
            </a:r>
            <a:fld id="{CCCD9AD5-4E24-41CB-9610-97102838EB94}" type="datetimeyyyy">
              <a:rPr lang="en-US" b="1" smtClean="0"/>
              <a:pPr/>
              <a:t>2024</a:t>
            </a:fld>
            <a:r>
              <a:rPr lang="en-US" b="1" dirty="0"/>
              <a:t> Flex – Confidential</a:t>
            </a:r>
          </a:p>
        </p:txBody>
      </p:sp>
      <p:sp>
        <p:nvSpPr>
          <p:cNvPr id="9" name="Slide Number Placeholder 4">
            <a:extLst>
              <a:ext uri="{FF2B5EF4-FFF2-40B4-BE49-F238E27FC236}">
                <a16:creationId xmlns:a16="http://schemas.microsoft.com/office/drawing/2014/main" id="{43BE6C38-34BF-4C81-B7BD-BAB1797D52BA}"/>
              </a:ext>
            </a:extLst>
          </p:cNvPr>
          <p:cNvSpPr>
            <a:spLocks noGrp="1"/>
          </p:cNvSpPr>
          <p:nvPr>
            <p:ph type="sldNum" sz="quarter" idx="12"/>
          </p:nvPr>
        </p:nvSpPr>
        <p:spPr>
          <a:xfrm>
            <a:off x="619386" y="6356747"/>
            <a:ext cx="508374" cy="342900"/>
          </a:xfrm>
          <a:prstGeom prst="rect">
            <a:avLst/>
          </a:prstGeom>
        </p:spPr>
        <p:txBody>
          <a:bodyPr anchor="ctr"/>
          <a:lstStyle>
            <a:lvl1pPr>
              <a:defRPr sz="900">
                <a:solidFill>
                  <a:schemeClr val="tx2"/>
                </a:solidFill>
              </a:defRPr>
            </a:lvl1pPr>
          </a:lstStyle>
          <a:p>
            <a:fld id="{6BC4ADAC-A71C-4041-A22C-CF397AFF8326}" type="slidenum">
              <a:rPr lang="en-US" smtClean="0"/>
              <a:pPr/>
              <a:t>‹#›</a:t>
            </a:fld>
            <a:endParaRPr lang="en-US" dirty="0"/>
          </a:p>
        </p:txBody>
      </p:sp>
      <p:pic>
        <p:nvPicPr>
          <p:cNvPr id="11" name="Picture 10">
            <a:extLst>
              <a:ext uri="{FF2B5EF4-FFF2-40B4-BE49-F238E27FC236}">
                <a16:creationId xmlns:a16="http://schemas.microsoft.com/office/drawing/2014/main" id="{C1BB2A5B-C1A3-4CEC-9706-30CB79EFE043}"/>
              </a:ext>
            </a:extLst>
          </p:cNvPr>
          <p:cNvPicPr>
            <a:picLocks noChangeAspect="1"/>
          </p:cNvPicPr>
          <p:nvPr userDrawn="1"/>
        </p:nvPicPr>
        <p:blipFill>
          <a:blip r:embed="rId4"/>
          <a:stretch>
            <a:fillRect/>
          </a:stretch>
        </p:blipFill>
        <p:spPr>
          <a:xfrm>
            <a:off x="10902366" y="6166247"/>
            <a:ext cx="866775" cy="533400"/>
          </a:xfrm>
          <a:prstGeom prst="rect">
            <a:avLst/>
          </a:prstGeom>
        </p:spPr>
      </p:pic>
    </p:spTree>
    <p:extLst>
      <p:ext uri="{BB962C8B-B14F-4D97-AF65-F5344CB8AC3E}">
        <p14:creationId xmlns:p14="http://schemas.microsoft.com/office/powerpoint/2010/main" val="2576400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645512DE-CB1D-4630-AD41-1644F213BA8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954" t="8845"/>
          <a:stretch/>
        </p:blipFill>
        <p:spPr bwMode="black">
          <a:xfrm rot="10800000">
            <a:off x="1268730" y="2957706"/>
            <a:ext cx="10923270" cy="3900295"/>
          </a:xfrm>
          <a:prstGeom prst="rect">
            <a:avLst/>
          </a:prstGeom>
        </p:spPr>
      </p:pic>
    </p:spTree>
    <p:extLst>
      <p:ext uri="{BB962C8B-B14F-4D97-AF65-F5344CB8AC3E}">
        <p14:creationId xmlns:p14="http://schemas.microsoft.com/office/powerpoint/2010/main" val="2769390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39556" y="1573834"/>
            <a:ext cx="4987799" cy="1874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569957" y="1573835"/>
            <a:ext cx="4977193" cy="18748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39121" y="3931909"/>
            <a:ext cx="4988234"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564649" y="3931909"/>
            <a:ext cx="4977193"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1482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ítulo conteúdo livre ">
    <p:spTree>
      <p:nvGrpSpPr>
        <p:cNvPr id="1" name=""/>
        <p:cNvGrpSpPr/>
        <p:nvPr/>
      </p:nvGrpSpPr>
      <p:grpSpPr>
        <a:xfrm>
          <a:off x="0" y="0"/>
          <a:ext cx="0" cy="0"/>
          <a:chOff x="0" y="0"/>
          <a:chExt cx="0" cy="0"/>
        </a:xfrm>
      </p:grpSpPr>
      <p:grpSp>
        <p:nvGrpSpPr>
          <p:cNvPr id="7" name="Group 24">
            <a:extLst>
              <a:ext uri="{FF2B5EF4-FFF2-40B4-BE49-F238E27FC236}">
                <a16:creationId xmlns:a16="http://schemas.microsoft.com/office/drawing/2014/main" id="{ED610386-F1FC-4DC7-9A22-5AA3300DD8BC}"/>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25BD5945-DAF9-4622-8FA9-05B16C1F8F45}"/>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26">
              <a:extLst>
                <a:ext uri="{FF2B5EF4-FFF2-40B4-BE49-F238E27FC236}">
                  <a16:creationId xmlns:a16="http://schemas.microsoft.com/office/drawing/2014/main" id="{7A9402D1-0AA9-466E-8923-CC7D1BE769C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7">
              <a:extLst>
                <a:ext uri="{FF2B5EF4-FFF2-40B4-BE49-F238E27FC236}">
                  <a16:creationId xmlns:a16="http://schemas.microsoft.com/office/drawing/2014/main" id="{9011A8CF-727D-4792-86C6-A5C3D9482771}"/>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8">
            <a:extLst>
              <a:ext uri="{FF2B5EF4-FFF2-40B4-BE49-F238E27FC236}">
                <a16:creationId xmlns:a16="http://schemas.microsoft.com/office/drawing/2014/main" id="{8B25D5DC-DA73-416A-AE35-E8934B535BD3}"/>
              </a:ext>
            </a:extLst>
          </p:cNvPr>
          <p:cNvSpPr/>
          <p:nvPr userDrawn="1"/>
        </p:nvSpPr>
        <p:spPr>
          <a:xfrm rot="5400000">
            <a:off x="-582931" y="582932"/>
            <a:ext cx="1280162" cy="114299"/>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Espaço Reservado para Texto 14">
            <a:extLst>
              <a:ext uri="{FF2B5EF4-FFF2-40B4-BE49-F238E27FC236}">
                <a16:creationId xmlns:a16="http://schemas.microsoft.com/office/drawing/2014/main" id="{4A48B941-AA90-4563-99CC-008C9A299C0E}"/>
              </a:ext>
            </a:extLst>
          </p:cNvPr>
          <p:cNvSpPr>
            <a:spLocks noGrp="1"/>
          </p:cNvSpPr>
          <p:nvPr>
            <p:ph type="body" sz="quarter" idx="11"/>
          </p:nvPr>
        </p:nvSpPr>
        <p:spPr>
          <a:xfrm>
            <a:off x="316118" y="552450"/>
            <a:ext cx="10837657" cy="727075"/>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a:t>Clique para editar os estilos de texto Mestres</a:t>
            </a:r>
          </a:p>
        </p:txBody>
      </p:sp>
    </p:spTree>
    <p:extLst>
      <p:ext uri="{BB962C8B-B14F-4D97-AF65-F5344CB8AC3E}">
        <p14:creationId xmlns:p14="http://schemas.microsoft.com/office/powerpoint/2010/main" val="633674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dirty="0"/>
              <a:t>Click to edit your title</a:t>
            </a:r>
          </a:p>
        </p:txBody>
      </p:sp>
    </p:spTree>
    <p:extLst>
      <p:ext uri="{BB962C8B-B14F-4D97-AF65-F5344CB8AC3E}">
        <p14:creationId xmlns:p14="http://schemas.microsoft.com/office/powerpoint/2010/main" val="3956176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Copy">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493776" y="446147"/>
            <a:ext cx="11205972" cy="1056132"/>
          </a:xfrm>
          <a:prstGeom prst="rect">
            <a:avLst/>
          </a:prstGeom>
        </p:spPr>
        <p:txBody>
          <a:bodyPr vert="horz" anchor="t">
            <a:noAutofit/>
          </a:bodyPr>
          <a:lstStyle>
            <a:lvl1pPr algn="l">
              <a:defRPr sz="3600" b="1">
                <a:solidFill>
                  <a:schemeClr val="tx1"/>
                </a:solidFill>
                <a:latin typeface="+mj-lt"/>
              </a:defRPr>
            </a:lvl1pPr>
          </a:lstStyle>
          <a:p>
            <a:r>
              <a:rPr lang="en-US"/>
              <a:t>Click to add concise headline</a:t>
            </a: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070698" y="6230322"/>
            <a:ext cx="627463" cy="252058"/>
          </a:xfrm>
          <a:prstGeom prst="rect">
            <a:avLst/>
          </a:prstGeom>
        </p:spPr>
      </p:pic>
      <p:sp>
        <p:nvSpPr>
          <p:cNvPr id="8" name="Text Placeholder 27">
            <a:extLst>
              <a:ext uri="{FF2B5EF4-FFF2-40B4-BE49-F238E27FC236}">
                <a16:creationId xmlns:a16="http://schemas.microsoft.com/office/drawing/2014/main" id="{BB7E6D24-19E3-3F4D-A645-5D241E738D7E}"/>
              </a:ext>
            </a:extLst>
          </p:cNvPr>
          <p:cNvSpPr>
            <a:spLocks noGrp="1"/>
          </p:cNvSpPr>
          <p:nvPr>
            <p:ph type="body" sz="quarter" idx="13" hasCustomPrompt="1"/>
          </p:nvPr>
        </p:nvSpPr>
        <p:spPr>
          <a:xfrm>
            <a:off x="493776" y="1714500"/>
            <a:ext cx="11205972" cy="4203954"/>
          </a:xfrm>
          <a:prstGeom prst="rect">
            <a:avLst/>
          </a:prstGeom>
        </p:spPr>
        <p:txBody>
          <a:bodyPr anchor="t"/>
          <a:lstStyle>
            <a:lvl1pPr marL="171450" indent="-171450">
              <a:buClr>
                <a:schemeClr val="tx1"/>
              </a:buClr>
              <a:buFont typeface="Arial" panose="020B0604020202020204" pitchFamily="34" charset="0"/>
              <a:buChar char="•"/>
              <a:tabLst/>
              <a:defRPr sz="1350" b="0">
                <a:solidFill>
                  <a:schemeClr val="tx1"/>
                </a:solidFill>
              </a:defRPr>
            </a:lvl1pPr>
            <a:lvl2pPr marL="609489" indent="0">
              <a:buNone/>
              <a:defRPr/>
            </a:lvl2pPr>
            <a:lvl3pPr marL="1218976" indent="0">
              <a:buNone/>
              <a:defRPr/>
            </a:lvl3pPr>
            <a:lvl4pPr marL="1828463" indent="0">
              <a:buNone/>
              <a:defRPr/>
            </a:lvl4pPr>
            <a:lvl5pPr marL="2437951" indent="0">
              <a:buNone/>
              <a:defRPr/>
            </a:lvl5pPr>
          </a:lstStyle>
          <a:p>
            <a:pPr lvl="0"/>
            <a:r>
              <a:rPr lang="en-US"/>
              <a:t>Bullets or copy</a:t>
            </a:r>
          </a:p>
        </p:txBody>
      </p:sp>
    </p:spTree>
    <p:extLst>
      <p:ext uri="{BB962C8B-B14F-4D97-AF65-F5344CB8AC3E}">
        <p14:creationId xmlns:p14="http://schemas.microsoft.com/office/powerpoint/2010/main" val="2839121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0A589-AD0B-45C9-8C61-C50C1892082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3802E0DE-C54E-40B1-8853-013833726B3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42D056B4-1DA3-4669-BFBB-626303166E35}"/>
              </a:ext>
            </a:extLst>
          </p:cNvPr>
          <p:cNvSpPr>
            <a:spLocks noGrp="1"/>
          </p:cNvSpPr>
          <p:nvPr>
            <p:ph type="dt" sz="half" idx="10"/>
          </p:nvPr>
        </p:nvSpPr>
        <p:spPr>
          <a:xfrm>
            <a:off x="838200" y="6356350"/>
            <a:ext cx="2743200" cy="365125"/>
          </a:xfrm>
          <a:prstGeom prst="rect">
            <a:avLst/>
          </a:prstGeom>
        </p:spPr>
        <p:txBody>
          <a:bodyPr/>
          <a:lstStyle/>
          <a:p>
            <a:fld id="{6CD3FC36-D758-4E33-AB6E-8F16758AE0E4}" type="datetimeFigureOut">
              <a:rPr lang="en-ID" smtClean="0"/>
              <a:t>30/09/2024</a:t>
            </a:fld>
            <a:endParaRPr lang="en-ID"/>
          </a:p>
        </p:txBody>
      </p:sp>
      <p:sp>
        <p:nvSpPr>
          <p:cNvPr id="5" name="Footer Placeholder 4">
            <a:extLst>
              <a:ext uri="{FF2B5EF4-FFF2-40B4-BE49-F238E27FC236}">
                <a16:creationId xmlns:a16="http://schemas.microsoft.com/office/drawing/2014/main" id="{02A2F90B-2AE4-4E4B-A8BE-0E52CC7937A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2F0A2C50-EBD8-430A-8236-8A5671E2CA0C}"/>
              </a:ext>
            </a:extLst>
          </p:cNvPr>
          <p:cNvSpPr>
            <a:spLocks noGrp="1"/>
          </p:cNvSpPr>
          <p:nvPr>
            <p:ph type="sldNum" sz="quarter" idx="12"/>
          </p:nvPr>
        </p:nvSpPr>
        <p:spPr/>
        <p:txBody>
          <a:bodyPr/>
          <a:lstStyle/>
          <a:p>
            <a:fld id="{6F30F58D-4AE0-452F-B3F6-85CC642EF392}" type="slidenum">
              <a:rPr lang="en-ID" smtClean="0"/>
              <a:t>‹#›</a:t>
            </a:fld>
            <a:endParaRPr lang="en-ID"/>
          </a:p>
        </p:txBody>
      </p:sp>
    </p:spTree>
    <p:extLst>
      <p:ext uri="{BB962C8B-B14F-4D97-AF65-F5344CB8AC3E}">
        <p14:creationId xmlns:p14="http://schemas.microsoft.com/office/powerpoint/2010/main" val="2295778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8BA85-30E4-47B6-A747-1D2CDAF5E7DE}"/>
              </a:ext>
            </a:extLst>
          </p:cNvPr>
          <p:cNvSpPr>
            <a:spLocks noGrp="1"/>
          </p:cNvSpPr>
          <p:nvPr>
            <p:ph type="title"/>
          </p:nvPr>
        </p:nvSpPr>
        <p:spPr>
          <a:xfrm>
            <a:off x="688146" y="619124"/>
            <a:ext cx="4526722" cy="876301"/>
          </a:xfrm>
          <a:prstGeom prst="rect">
            <a:avLst/>
          </a:prstGeom>
        </p:spPr>
        <p:txBody>
          <a:bodyPr lIns="0" rIns="0" anchor="t"/>
          <a:lstStyle>
            <a:lvl1pPr>
              <a:defRPr sz="3600" b="1" spc="-100" baseline="0"/>
            </a:lvl1pPr>
          </a:lstStyle>
          <a:p>
            <a:endParaRPr lang="en-US"/>
          </a:p>
        </p:txBody>
      </p:sp>
      <p:cxnSp>
        <p:nvCxnSpPr>
          <p:cNvPr id="33" name="Straight Connector 32">
            <a:extLst>
              <a:ext uri="{FF2B5EF4-FFF2-40B4-BE49-F238E27FC236}">
                <a16:creationId xmlns:a16="http://schemas.microsoft.com/office/drawing/2014/main" id="{C1929847-2B81-4BC1-B595-F0B975F3FFF9}"/>
              </a:ext>
            </a:extLst>
          </p:cNvPr>
          <p:cNvCxnSpPr>
            <a:cxnSpLocks/>
          </p:cNvCxnSpPr>
          <p:nvPr userDrawn="1"/>
        </p:nvCxnSpPr>
        <p:spPr>
          <a:xfrm>
            <a:off x="688146" y="476250"/>
            <a:ext cx="559629" cy="0"/>
          </a:xfrm>
          <a:prstGeom prst="line">
            <a:avLst/>
          </a:prstGeom>
          <a:ln w="76200">
            <a:solidFill>
              <a:srgbClr val="00713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378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Cap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92097" y="5255089"/>
            <a:ext cx="5975095" cy="1202161"/>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ítulo</a:t>
            </a:r>
            <a:endParaRPr lang="en-US" dirty="0"/>
          </a:p>
        </p:txBody>
      </p:sp>
      <p:pic>
        <p:nvPicPr>
          <p:cNvPr id="9" name="Picture 8">
            <a:extLst>
              <a:ext uri="{FF2B5EF4-FFF2-40B4-BE49-F238E27FC236}">
                <a16:creationId xmlns:a16="http://schemas.microsoft.com/office/drawing/2014/main" id="{75D2F87E-DA87-407C-B64F-C1BA24D7DAE5}"/>
              </a:ext>
            </a:extLst>
          </p:cNvPr>
          <p:cNvPicPr>
            <a:picLocks noChangeAspect="1"/>
          </p:cNvPicPr>
          <p:nvPr/>
        </p:nvPicPr>
        <p:blipFill rotWithShape="1">
          <a:blip r:embed="rId3">
            <a:extLst>
              <a:ext uri="{28A0092B-C50C-407E-A947-70E740481C1C}">
                <a14:useLocalDpi xmlns:a14="http://schemas.microsoft.com/office/drawing/2010/main" val="0"/>
              </a:ext>
            </a:extLst>
          </a:blip>
          <a:srcRect l="754" t="798" r="279" b="768"/>
          <a:stretch/>
        </p:blipFill>
        <p:spPr>
          <a:xfrm>
            <a:off x="1038022" y="4475423"/>
            <a:ext cx="1455976" cy="1448127"/>
          </a:xfrm>
          <a:prstGeom prst="rect">
            <a:avLst/>
          </a:prstGeom>
        </p:spPr>
      </p:pic>
      <p:cxnSp>
        <p:nvCxnSpPr>
          <p:cNvPr id="11" name="Straight Connector 10">
            <a:extLst>
              <a:ext uri="{FF2B5EF4-FFF2-40B4-BE49-F238E27FC236}">
                <a16:creationId xmlns:a16="http://schemas.microsoft.com/office/drawing/2014/main" id="{91AA9356-F507-4AA8-8C3C-96E59EDC69AA}"/>
              </a:ext>
            </a:extLst>
          </p:cNvPr>
          <p:cNvCxnSpPr>
            <a:cxnSpLocks/>
          </p:cNvCxnSpPr>
          <p:nvPr/>
        </p:nvCxnSpPr>
        <p:spPr>
          <a:xfrm>
            <a:off x="3217333" y="3874347"/>
            <a:ext cx="0" cy="265027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23A29184-568C-456D-9033-4C54522CA250}"/>
              </a:ext>
            </a:extLst>
          </p:cNvPr>
          <p:cNvSpPr>
            <a:spLocks noGrp="1"/>
          </p:cNvSpPr>
          <p:nvPr>
            <p:ph type="title" hasCustomPrompt="1"/>
          </p:nvPr>
        </p:nvSpPr>
        <p:spPr>
          <a:xfrm>
            <a:off x="3592097" y="4475423"/>
            <a:ext cx="7561874" cy="724487"/>
          </a:xfrm>
          <a:prstGeom prst="rect">
            <a:avLst/>
          </a:prstGeom>
        </p:spPr>
        <p:txBody>
          <a:bodyPr/>
          <a:lstStyle>
            <a:lvl1pPr>
              <a:defRPr b="1">
                <a:solidFill>
                  <a:schemeClr val="bg1"/>
                </a:solidFill>
              </a:defRPr>
            </a:lvl1pPr>
          </a:lstStyle>
          <a:p>
            <a:r>
              <a:rPr lang="en-US" dirty="0" err="1"/>
              <a:t>Título</a:t>
            </a:r>
            <a:r>
              <a:rPr lang="en-US" dirty="0"/>
              <a:t> da </a:t>
            </a:r>
            <a:r>
              <a:rPr lang="en-US" dirty="0" err="1"/>
              <a:t>apresentação</a:t>
            </a:r>
            <a:endParaRPr lang="pt-BR" dirty="0"/>
          </a:p>
        </p:txBody>
      </p:sp>
      <p:sp>
        <p:nvSpPr>
          <p:cNvPr id="6" name="Rectangle 5">
            <a:extLst>
              <a:ext uri="{FF2B5EF4-FFF2-40B4-BE49-F238E27FC236}">
                <a16:creationId xmlns:a16="http://schemas.microsoft.com/office/drawing/2014/main" id="{BD46A845-98B5-4C8D-A2AC-A786A5147E52}"/>
              </a:ext>
            </a:extLst>
          </p:cNvPr>
          <p:cNvSpPr/>
          <p:nvPr/>
        </p:nvSpPr>
        <p:spPr>
          <a:xfrm rot="5400000">
            <a:off x="2434610" y="5181487"/>
            <a:ext cx="1601445"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089238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7469">
          <p15:clr>
            <a:srgbClr val="FBAE40"/>
          </p15:clr>
        </p15:guide>
        <p15:guide id="3" pos="211">
          <p15:clr>
            <a:srgbClr val="FBAE40"/>
          </p15:clr>
        </p15:guide>
        <p15:guide id="4" orient="horz" pos="210">
          <p15:clr>
            <a:srgbClr val="FBAE40"/>
          </p15:clr>
        </p15:guide>
        <p15:guide id="5" orient="horz" pos="411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Índic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3C8C9A3D-86FC-4CDB-8C09-9C88E633D823}"/>
              </a:ext>
            </a:extLst>
          </p:cNvPr>
          <p:cNvCxnSpPr/>
          <p:nvPr/>
        </p:nvCxnSpPr>
        <p:spPr>
          <a:xfrm>
            <a:off x="329714" y="1986117"/>
            <a:ext cx="11532573" cy="0"/>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8F18D32-5677-4F19-84ED-5B6F5794FC6B}"/>
              </a:ext>
            </a:extLst>
          </p:cNvPr>
          <p:cNvSpPr/>
          <p:nvPr/>
        </p:nvSpPr>
        <p:spPr>
          <a:xfrm>
            <a:off x="4660491" y="1991035"/>
            <a:ext cx="2871019"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4A186724-2803-40CA-9520-E1AFCABA8CC4}"/>
              </a:ext>
            </a:extLst>
          </p:cNvPr>
          <p:cNvSpPr/>
          <p:nvPr/>
        </p:nvSpPr>
        <p:spPr>
          <a:xfrm>
            <a:off x="253478" y="209618"/>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ontent Placeholder 11">
            <a:extLst>
              <a:ext uri="{FF2B5EF4-FFF2-40B4-BE49-F238E27FC236}">
                <a16:creationId xmlns:a16="http://schemas.microsoft.com/office/drawing/2014/main" id="{0BD0ECDB-8F35-4EC7-8D9B-DA3AFDFF5563}"/>
              </a:ext>
            </a:extLst>
          </p:cNvPr>
          <p:cNvSpPr>
            <a:spLocks noGrp="1"/>
          </p:cNvSpPr>
          <p:nvPr>
            <p:ph sz="quarter" idx="11" hasCustomPrompt="1"/>
          </p:nvPr>
        </p:nvSpPr>
        <p:spPr>
          <a:xfrm>
            <a:off x="1403492" y="2487448"/>
            <a:ext cx="2552558" cy="451025"/>
          </a:xfrm>
          <a:prstGeom prst="rect">
            <a:avLst/>
          </a:prstGeom>
        </p:spPr>
        <p:txBody>
          <a:bodyPr/>
          <a:lstStyle>
            <a:lvl1pPr marL="0" indent="0">
              <a:buNone/>
              <a:defRPr b="0">
                <a:latin typeface="+mj-lt"/>
              </a:defRPr>
            </a:lvl1pPr>
          </a:lstStyle>
          <a:p>
            <a:pPr lvl="0"/>
            <a:r>
              <a:rPr lang="pt-BR" dirty="0"/>
              <a:t>Título 1</a:t>
            </a:r>
          </a:p>
        </p:txBody>
      </p:sp>
      <p:sp>
        <p:nvSpPr>
          <p:cNvPr id="15" name="Content Placeholder 11">
            <a:extLst>
              <a:ext uri="{FF2B5EF4-FFF2-40B4-BE49-F238E27FC236}">
                <a16:creationId xmlns:a16="http://schemas.microsoft.com/office/drawing/2014/main" id="{638CB928-C970-42C4-BC6E-81B214688A97}"/>
              </a:ext>
            </a:extLst>
          </p:cNvPr>
          <p:cNvSpPr>
            <a:spLocks noGrp="1"/>
          </p:cNvSpPr>
          <p:nvPr>
            <p:ph sz="quarter" idx="14" hasCustomPrompt="1"/>
          </p:nvPr>
        </p:nvSpPr>
        <p:spPr>
          <a:xfrm>
            <a:off x="838199" y="2331212"/>
            <a:ext cx="565293" cy="744248"/>
          </a:xfrm>
          <a:prstGeom prst="rect">
            <a:avLst/>
          </a:prstGeom>
        </p:spPr>
        <p:txBody>
          <a:bodyPr/>
          <a:lstStyle>
            <a:lvl1pPr marL="0" indent="0">
              <a:buNone/>
              <a:defRPr sz="5000" b="1">
                <a:solidFill>
                  <a:srgbClr val="00BC29"/>
                </a:solidFill>
                <a:latin typeface="+mn-lt"/>
              </a:defRPr>
            </a:lvl1pPr>
          </a:lstStyle>
          <a:p>
            <a:pPr lvl="0"/>
            <a:r>
              <a:rPr lang="pt-BR" dirty="0"/>
              <a:t>1</a:t>
            </a:r>
          </a:p>
        </p:txBody>
      </p:sp>
      <p:sp>
        <p:nvSpPr>
          <p:cNvPr id="16" name="Content Placeholder 11">
            <a:extLst>
              <a:ext uri="{FF2B5EF4-FFF2-40B4-BE49-F238E27FC236}">
                <a16:creationId xmlns:a16="http://schemas.microsoft.com/office/drawing/2014/main" id="{B6F284E3-03DF-47D0-B6DE-018D720E6ECF}"/>
              </a:ext>
            </a:extLst>
          </p:cNvPr>
          <p:cNvSpPr>
            <a:spLocks noGrp="1"/>
          </p:cNvSpPr>
          <p:nvPr>
            <p:ph sz="quarter" idx="15" hasCustomPrompt="1"/>
          </p:nvPr>
        </p:nvSpPr>
        <p:spPr>
          <a:xfrm>
            <a:off x="4943137" y="2487448"/>
            <a:ext cx="2552558" cy="451025"/>
          </a:xfrm>
          <a:prstGeom prst="rect">
            <a:avLst/>
          </a:prstGeom>
        </p:spPr>
        <p:txBody>
          <a:bodyPr/>
          <a:lstStyle>
            <a:lvl1pPr marL="0" indent="0">
              <a:buNone/>
              <a:defRPr b="0">
                <a:latin typeface="+mj-lt"/>
              </a:defRPr>
            </a:lvl1pPr>
          </a:lstStyle>
          <a:p>
            <a:pPr lvl="0"/>
            <a:r>
              <a:rPr lang="pt-BR" dirty="0"/>
              <a:t>Título 2</a:t>
            </a:r>
          </a:p>
        </p:txBody>
      </p:sp>
      <p:sp>
        <p:nvSpPr>
          <p:cNvPr id="17" name="Content Placeholder 11">
            <a:extLst>
              <a:ext uri="{FF2B5EF4-FFF2-40B4-BE49-F238E27FC236}">
                <a16:creationId xmlns:a16="http://schemas.microsoft.com/office/drawing/2014/main" id="{43B5A68F-47D8-43A1-868D-9FE4EF3ED048}"/>
              </a:ext>
            </a:extLst>
          </p:cNvPr>
          <p:cNvSpPr>
            <a:spLocks noGrp="1"/>
          </p:cNvSpPr>
          <p:nvPr>
            <p:ph sz="quarter" idx="16" hasCustomPrompt="1"/>
          </p:nvPr>
        </p:nvSpPr>
        <p:spPr>
          <a:xfrm>
            <a:off x="4377844" y="2331212"/>
            <a:ext cx="565293" cy="744248"/>
          </a:xfrm>
          <a:prstGeom prst="rect">
            <a:avLst/>
          </a:prstGeom>
        </p:spPr>
        <p:txBody>
          <a:bodyPr/>
          <a:lstStyle>
            <a:lvl1pPr marL="0" indent="0">
              <a:buNone/>
              <a:defRPr sz="5000" b="1">
                <a:solidFill>
                  <a:srgbClr val="00BC29"/>
                </a:solidFill>
                <a:latin typeface="+mn-lt"/>
              </a:defRPr>
            </a:lvl1pPr>
          </a:lstStyle>
          <a:p>
            <a:pPr lvl="0"/>
            <a:r>
              <a:rPr lang="pt-BR" dirty="0"/>
              <a:t>2</a:t>
            </a:r>
          </a:p>
        </p:txBody>
      </p:sp>
      <p:sp>
        <p:nvSpPr>
          <p:cNvPr id="18" name="Content Placeholder 11">
            <a:extLst>
              <a:ext uri="{FF2B5EF4-FFF2-40B4-BE49-F238E27FC236}">
                <a16:creationId xmlns:a16="http://schemas.microsoft.com/office/drawing/2014/main" id="{AF5A9043-A273-4D18-86C9-D93C396F1067}"/>
              </a:ext>
            </a:extLst>
          </p:cNvPr>
          <p:cNvSpPr>
            <a:spLocks noGrp="1"/>
          </p:cNvSpPr>
          <p:nvPr>
            <p:ph sz="quarter" idx="17" hasCustomPrompt="1"/>
          </p:nvPr>
        </p:nvSpPr>
        <p:spPr>
          <a:xfrm>
            <a:off x="8626281" y="2487448"/>
            <a:ext cx="2552558" cy="451025"/>
          </a:xfrm>
          <a:prstGeom prst="rect">
            <a:avLst/>
          </a:prstGeom>
        </p:spPr>
        <p:txBody>
          <a:bodyPr/>
          <a:lstStyle>
            <a:lvl1pPr marL="0" indent="0">
              <a:buNone/>
              <a:defRPr b="0">
                <a:latin typeface="+mj-lt"/>
              </a:defRPr>
            </a:lvl1pPr>
          </a:lstStyle>
          <a:p>
            <a:pPr lvl="0"/>
            <a:r>
              <a:rPr lang="pt-BR" dirty="0"/>
              <a:t>Título 3</a:t>
            </a:r>
          </a:p>
        </p:txBody>
      </p:sp>
      <p:sp>
        <p:nvSpPr>
          <p:cNvPr id="19" name="Content Placeholder 11">
            <a:extLst>
              <a:ext uri="{FF2B5EF4-FFF2-40B4-BE49-F238E27FC236}">
                <a16:creationId xmlns:a16="http://schemas.microsoft.com/office/drawing/2014/main" id="{4785B565-D981-4951-8737-56DE70DA976E}"/>
              </a:ext>
            </a:extLst>
          </p:cNvPr>
          <p:cNvSpPr>
            <a:spLocks noGrp="1"/>
          </p:cNvSpPr>
          <p:nvPr>
            <p:ph sz="quarter" idx="18" hasCustomPrompt="1"/>
          </p:nvPr>
        </p:nvSpPr>
        <p:spPr>
          <a:xfrm>
            <a:off x="8060988" y="2331212"/>
            <a:ext cx="565293" cy="744248"/>
          </a:xfrm>
          <a:prstGeom prst="rect">
            <a:avLst/>
          </a:prstGeom>
        </p:spPr>
        <p:txBody>
          <a:bodyPr/>
          <a:lstStyle>
            <a:lvl1pPr marL="0" indent="0">
              <a:buNone/>
              <a:defRPr sz="5000" b="1">
                <a:solidFill>
                  <a:srgbClr val="00BC29"/>
                </a:solidFill>
                <a:latin typeface="+mn-lt"/>
              </a:defRPr>
            </a:lvl1pPr>
          </a:lstStyle>
          <a:p>
            <a:pPr lvl="0"/>
            <a:r>
              <a:rPr lang="pt-BR" dirty="0"/>
              <a:t>3</a:t>
            </a:r>
          </a:p>
        </p:txBody>
      </p:sp>
      <p:sp>
        <p:nvSpPr>
          <p:cNvPr id="21" name="Text Placeholder 20">
            <a:extLst>
              <a:ext uri="{FF2B5EF4-FFF2-40B4-BE49-F238E27FC236}">
                <a16:creationId xmlns:a16="http://schemas.microsoft.com/office/drawing/2014/main" id="{E42AB251-C9B1-4376-ABCE-A2548D1E6563}"/>
              </a:ext>
            </a:extLst>
          </p:cNvPr>
          <p:cNvSpPr>
            <a:spLocks noGrp="1"/>
          </p:cNvSpPr>
          <p:nvPr>
            <p:ph type="body" sz="quarter" idx="19" hasCustomPrompt="1"/>
          </p:nvPr>
        </p:nvSpPr>
        <p:spPr>
          <a:xfrm>
            <a:off x="1403350" y="3167063"/>
            <a:ext cx="2552700" cy="2916237"/>
          </a:xfrm>
          <a:prstGeom prst="rect">
            <a:avLst/>
          </a:prstGeom>
        </p:spPr>
        <p:txBody>
          <a:bodyPr/>
          <a:lstStyle>
            <a:lvl1pPr>
              <a:defRPr sz="2000"/>
            </a:lvl1pPr>
          </a:lstStyle>
          <a:p>
            <a:pPr lvl="0"/>
            <a:r>
              <a:rPr lang="en-US" dirty="0" err="1"/>
              <a:t>Tópicos</a:t>
            </a:r>
            <a:r>
              <a:rPr lang="en-US" dirty="0"/>
              <a:t> do </a:t>
            </a:r>
            <a:r>
              <a:rPr lang="en-US" dirty="0" err="1"/>
              <a:t>assunto</a:t>
            </a:r>
            <a:r>
              <a:rPr lang="en-US" dirty="0"/>
              <a:t>;</a:t>
            </a:r>
          </a:p>
        </p:txBody>
      </p:sp>
      <p:sp>
        <p:nvSpPr>
          <p:cNvPr id="22" name="Text Placeholder 20">
            <a:extLst>
              <a:ext uri="{FF2B5EF4-FFF2-40B4-BE49-F238E27FC236}">
                <a16:creationId xmlns:a16="http://schemas.microsoft.com/office/drawing/2014/main" id="{72C21395-6BA4-4756-8A2F-A4B890986C0D}"/>
              </a:ext>
            </a:extLst>
          </p:cNvPr>
          <p:cNvSpPr>
            <a:spLocks noGrp="1"/>
          </p:cNvSpPr>
          <p:nvPr>
            <p:ph type="body" sz="quarter" idx="20" hasCustomPrompt="1"/>
          </p:nvPr>
        </p:nvSpPr>
        <p:spPr>
          <a:xfrm>
            <a:off x="4942995" y="3167063"/>
            <a:ext cx="2552700" cy="2916237"/>
          </a:xfrm>
          <a:prstGeom prst="rect">
            <a:avLst/>
          </a:prstGeom>
        </p:spPr>
        <p:txBody>
          <a:bodyPr/>
          <a:lstStyle>
            <a:lvl1pPr>
              <a:defRPr sz="2000"/>
            </a:lvl1pPr>
          </a:lstStyle>
          <a:p>
            <a:pPr lvl="0"/>
            <a:r>
              <a:rPr lang="en-US" dirty="0" err="1"/>
              <a:t>Tópicos</a:t>
            </a:r>
            <a:r>
              <a:rPr lang="en-US" dirty="0"/>
              <a:t> do </a:t>
            </a:r>
            <a:r>
              <a:rPr lang="en-US" dirty="0" err="1"/>
              <a:t>assunto</a:t>
            </a:r>
            <a:r>
              <a:rPr lang="en-US" dirty="0"/>
              <a:t>;</a:t>
            </a:r>
          </a:p>
        </p:txBody>
      </p:sp>
      <p:sp>
        <p:nvSpPr>
          <p:cNvPr id="23" name="Text Placeholder 20">
            <a:extLst>
              <a:ext uri="{FF2B5EF4-FFF2-40B4-BE49-F238E27FC236}">
                <a16:creationId xmlns:a16="http://schemas.microsoft.com/office/drawing/2014/main" id="{34AED7D4-851B-4E7B-80F2-40CA5D3D23D4}"/>
              </a:ext>
            </a:extLst>
          </p:cNvPr>
          <p:cNvSpPr>
            <a:spLocks noGrp="1"/>
          </p:cNvSpPr>
          <p:nvPr>
            <p:ph type="body" sz="quarter" idx="21" hasCustomPrompt="1"/>
          </p:nvPr>
        </p:nvSpPr>
        <p:spPr>
          <a:xfrm>
            <a:off x="8626281" y="3167063"/>
            <a:ext cx="2552700" cy="2916237"/>
          </a:xfrm>
          <a:prstGeom prst="rect">
            <a:avLst/>
          </a:prstGeom>
        </p:spPr>
        <p:txBody>
          <a:bodyPr/>
          <a:lstStyle>
            <a:lvl1pPr>
              <a:defRPr sz="2000"/>
            </a:lvl1pPr>
          </a:lstStyle>
          <a:p>
            <a:pPr lvl="0"/>
            <a:r>
              <a:rPr lang="en-US" dirty="0" err="1"/>
              <a:t>Tópicos</a:t>
            </a:r>
            <a:r>
              <a:rPr lang="en-US" dirty="0"/>
              <a:t> do </a:t>
            </a:r>
            <a:r>
              <a:rPr lang="en-US" dirty="0" err="1"/>
              <a:t>assunto</a:t>
            </a:r>
            <a:r>
              <a:rPr lang="en-US" dirty="0"/>
              <a:t>;</a:t>
            </a:r>
          </a:p>
        </p:txBody>
      </p:sp>
      <p:sp>
        <p:nvSpPr>
          <p:cNvPr id="25" name="Text Placeholder 24">
            <a:extLst>
              <a:ext uri="{FF2B5EF4-FFF2-40B4-BE49-F238E27FC236}">
                <a16:creationId xmlns:a16="http://schemas.microsoft.com/office/drawing/2014/main" id="{E3D961F0-DA82-4E28-A408-31A48709509F}"/>
              </a:ext>
            </a:extLst>
          </p:cNvPr>
          <p:cNvSpPr>
            <a:spLocks noGrp="1"/>
          </p:cNvSpPr>
          <p:nvPr>
            <p:ph type="body" sz="quarter" idx="22" hasCustomPrompt="1"/>
          </p:nvPr>
        </p:nvSpPr>
        <p:spPr>
          <a:xfrm>
            <a:off x="3164681" y="1270534"/>
            <a:ext cx="5862637" cy="623979"/>
          </a:xfrm>
          <a:prstGeom prst="rect">
            <a:avLst/>
          </a:prstGeom>
        </p:spPr>
        <p:txBody>
          <a:bodyPr/>
          <a:lstStyle>
            <a:lvl1pPr marL="0" indent="0" algn="ctr">
              <a:buNone/>
              <a:defRPr sz="4400" b="1">
                <a:solidFill>
                  <a:schemeClr val="tx1"/>
                </a:solidFill>
                <a:latin typeface="+mj-lt"/>
              </a:defRPr>
            </a:lvl1pPr>
          </a:lstStyle>
          <a:p>
            <a:pPr lvl="0"/>
            <a:r>
              <a:rPr lang="pt-BR" dirty="0"/>
              <a:t>Índice</a:t>
            </a:r>
          </a:p>
        </p:txBody>
      </p:sp>
      <p:sp>
        <p:nvSpPr>
          <p:cNvPr id="30" name="Cross 29">
            <a:extLst>
              <a:ext uri="{FF2B5EF4-FFF2-40B4-BE49-F238E27FC236}">
                <a16:creationId xmlns:a16="http://schemas.microsoft.com/office/drawing/2014/main" id="{9953AF97-C7FB-431E-8F40-FF33C9F6D745}"/>
              </a:ext>
            </a:extLst>
          </p:cNvPr>
          <p:cNvSpPr/>
          <p:nvPr/>
        </p:nvSpPr>
        <p:spPr>
          <a:xfrm>
            <a:off x="11780800" y="209618"/>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Cross 19">
            <a:extLst>
              <a:ext uri="{FF2B5EF4-FFF2-40B4-BE49-F238E27FC236}">
                <a16:creationId xmlns:a16="http://schemas.microsoft.com/office/drawing/2014/main" id="{08FACD1B-8A3B-4A2C-8C5F-C6FA88ECCC0A}"/>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182180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Capa Seção">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5310A37-0CD6-4459-8DCB-484C4B56CD7B}"/>
              </a:ext>
            </a:extLst>
          </p:cNvPr>
          <p:cNvPicPr>
            <a:picLocks noChangeAspect="1"/>
          </p:cNvPicPr>
          <p:nvPr/>
        </p:nvPicPr>
        <p:blipFill rotWithShape="1">
          <a:blip r:embed="rId2">
            <a:extLst>
              <a:ext uri="{28A0092B-C50C-407E-A947-70E740481C1C}">
                <a14:useLocalDpi xmlns:a14="http://schemas.microsoft.com/office/drawing/2010/main" val="0"/>
              </a:ext>
            </a:extLst>
          </a:blip>
          <a:srcRect r="50000"/>
          <a:stretch/>
        </p:blipFill>
        <p:spPr>
          <a:xfrm>
            <a:off x="0" y="0"/>
            <a:ext cx="6096000" cy="6858000"/>
          </a:xfrm>
          <a:prstGeom prst="rect">
            <a:avLst/>
          </a:prstGeom>
        </p:spPr>
      </p:pic>
      <p:sp>
        <p:nvSpPr>
          <p:cNvPr id="6" name="Text Placeholder 5">
            <a:extLst>
              <a:ext uri="{FF2B5EF4-FFF2-40B4-BE49-F238E27FC236}">
                <a16:creationId xmlns:a16="http://schemas.microsoft.com/office/drawing/2014/main" id="{4AE670C2-5823-42D4-95D8-F9CE5D2E2A3B}"/>
              </a:ext>
            </a:extLst>
          </p:cNvPr>
          <p:cNvSpPr>
            <a:spLocks noGrp="1"/>
          </p:cNvSpPr>
          <p:nvPr>
            <p:ph type="body" sz="quarter" idx="11" hasCustomPrompt="1"/>
          </p:nvPr>
        </p:nvSpPr>
        <p:spPr>
          <a:xfrm>
            <a:off x="2229928" y="2109964"/>
            <a:ext cx="1636144" cy="2638073"/>
          </a:xfrm>
          <a:prstGeom prst="rect">
            <a:avLst/>
          </a:prstGeom>
        </p:spPr>
        <p:txBody>
          <a:bodyPr/>
          <a:lstStyle>
            <a:lvl1pPr marL="0" indent="0">
              <a:buNone/>
              <a:defRPr sz="20000">
                <a:solidFill>
                  <a:schemeClr val="bg1"/>
                </a:solidFill>
              </a:defRPr>
            </a:lvl1pPr>
          </a:lstStyle>
          <a:p>
            <a:pPr lvl="0"/>
            <a:r>
              <a:rPr lang="en-US" dirty="0"/>
              <a:t>1</a:t>
            </a:r>
            <a:endParaRPr lang="pt-BR" dirty="0"/>
          </a:p>
        </p:txBody>
      </p:sp>
      <p:cxnSp>
        <p:nvCxnSpPr>
          <p:cNvPr id="7" name="Straight Connector 6">
            <a:extLst>
              <a:ext uri="{FF2B5EF4-FFF2-40B4-BE49-F238E27FC236}">
                <a16:creationId xmlns:a16="http://schemas.microsoft.com/office/drawing/2014/main" id="{EEBA6BBB-4B8E-4D88-94BE-2DEC3C342BCD}"/>
              </a:ext>
            </a:extLst>
          </p:cNvPr>
          <p:cNvCxnSpPr>
            <a:cxnSpLocks/>
          </p:cNvCxnSpPr>
          <p:nvPr/>
        </p:nvCxnSpPr>
        <p:spPr>
          <a:xfrm>
            <a:off x="4660491" y="3429000"/>
            <a:ext cx="7196547" cy="0"/>
          </a:xfrm>
          <a:prstGeom prst="line">
            <a:avLst/>
          </a:prstGeom>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1C1C9A4-0373-4BDE-8302-34D9CA5AB086}"/>
              </a:ext>
            </a:extLst>
          </p:cNvPr>
          <p:cNvSpPr/>
          <p:nvPr/>
        </p:nvSpPr>
        <p:spPr>
          <a:xfrm>
            <a:off x="9962072" y="3429000"/>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Text Placeholder 13">
            <a:extLst>
              <a:ext uri="{FF2B5EF4-FFF2-40B4-BE49-F238E27FC236}">
                <a16:creationId xmlns:a16="http://schemas.microsoft.com/office/drawing/2014/main" id="{1273A6F0-F8D7-4798-BEA2-979C965A1549}"/>
              </a:ext>
            </a:extLst>
          </p:cNvPr>
          <p:cNvSpPr>
            <a:spLocks noGrp="1"/>
          </p:cNvSpPr>
          <p:nvPr>
            <p:ph type="body" sz="quarter" idx="12" hasCustomPrompt="1"/>
          </p:nvPr>
        </p:nvSpPr>
        <p:spPr>
          <a:xfrm>
            <a:off x="6845300" y="2582569"/>
            <a:ext cx="5011738" cy="754356"/>
          </a:xfrm>
          <a:prstGeom prst="rect">
            <a:avLst/>
          </a:prstGeom>
        </p:spPr>
        <p:txBody>
          <a:bodyPr/>
          <a:lstStyle>
            <a:lvl1pPr marL="0" indent="0" algn="r">
              <a:buNone/>
              <a:defRPr sz="4800" b="1">
                <a:solidFill>
                  <a:schemeClr val="tx1"/>
                </a:solidFill>
                <a:latin typeface="+mj-lt"/>
              </a:defRPr>
            </a:lvl1pPr>
          </a:lstStyle>
          <a:p>
            <a:pPr lvl="0"/>
            <a:r>
              <a:rPr lang="pt-BR" dirty="0"/>
              <a:t>Título</a:t>
            </a:r>
          </a:p>
        </p:txBody>
      </p:sp>
      <p:sp>
        <p:nvSpPr>
          <p:cNvPr id="15" name="Text Placeholder 13">
            <a:extLst>
              <a:ext uri="{FF2B5EF4-FFF2-40B4-BE49-F238E27FC236}">
                <a16:creationId xmlns:a16="http://schemas.microsoft.com/office/drawing/2014/main" id="{49C95B84-6127-495C-9A4A-367914C40D0E}"/>
              </a:ext>
            </a:extLst>
          </p:cNvPr>
          <p:cNvSpPr>
            <a:spLocks noGrp="1"/>
          </p:cNvSpPr>
          <p:nvPr>
            <p:ph type="body" sz="quarter" idx="13" hasCustomPrompt="1"/>
          </p:nvPr>
        </p:nvSpPr>
        <p:spPr>
          <a:xfrm>
            <a:off x="7531768" y="3521084"/>
            <a:ext cx="4325270" cy="754356"/>
          </a:xfrm>
          <a:prstGeom prst="rect">
            <a:avLst/>
          </a:prstGeom>
        </p:spPr>
        <p:txBody>
          <a:bodyPr/>
          <a:lstStyle>
            <a:lvl1pPr marL="0" indent="0" algn="r">
              <a:buNone/>
              <a:defRPr sz="2000">
                <a:solidFill>
                  <a:schemeClr val="tx1"/>
                </a:solidFill>
                <a:latin typeface="+mn-lt"/>
              </a:defRPr>
            </a:lvl1pPr>
          </a:lstStyle>
          <a:p>
            <a:pPr lvl="0"/>
            <a:r>
              <a:rPr lang="pt-BR" dirty="0"/>
              <a:t>Texto introdutório</a:t>
            </a:r>
          </a:p>
        </p:txBody>
      </p:sp>
      <p:sp>
        <p:nvSpPr>
          <p:cNvPr id="18" name="Cross 17">
            <a:extLst>
              <a:ext uri="{FF2B5EF4-FFF2-40B4-BE49-F238E27FC236}">
                <a16:creationId xmlns:a16="http://schemas.microsoft.com/office/drawing/2014/main" id="{C258779F-18A1-43A5-9402-7501C7BB20E3}"/>
              </a:ext>
            </a:extLst>
          </p:cNvPr>
          <p:cNvSpPr/>
          <p:nvPr/>
        </p:nvSpPr>
        <p:spPr>
          <a:xfrm>
            <a:off x="253478" y="209618"/>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Cross 18">
            <a:extLst>
              <a:ext uri="{FF2B5EF4-FFF2-40B4-BE49-F238E27FC236}">
                <a16:creationId xmlns:a16="http://schemas.microsoft.com/office/drawing/2014/main" id="{83626030-E27D-4CD1-BCCE-AA603745A126}"/>
              </a:ext>
            </a:extLst>
          </p:cNvPr>
          <p:cNvSpPr/>
          <p:nvPr/>
        </p:nvSpPr>
        <p:spPr>
          <a:xfrm>
            <a:off x="11780800" y="209618"/>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946780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Layout 1 Vazio">
    <p:spTree>
      <p:nvGrpSpPr>
        <p:cNvPr id="1" name=""/>
        <p:cNvGrpSpPr/>
        <p:nvPr/>
      </p:nvGrpSpPr>
      <p:grpSpPr>
        <a:xfrm>
          <a:off x="0" y="0"/>
          <a:ext cx="0" cy="0"/>
          <a:chOff x="0" y="0"/>
          <a:chExt cx="0" cy="0"/>
        </a:xfrm>
      </p:grpSpPr>
      <p:sp>
        <p:nvSpPr>
          <p:cNvPr id="9" name="Cross 8">
            <a:extLst>
              <a:ext uri="{FF2B5EF4-FFF2-40B4-BE49-F238E27FC236}">
                <a16:creationId xmlns:a16="http://schemas.microsoft.com/office/drawing/2014/main" id="{4A186724-2803-40CA-9520-E1AFCABA8CC4}"/>
              </a:ext>
            </a:extLst>
          </p:cNvPr>
          <p:cNvSpPr/>
          <p:nvPr/>
        </p:nvSpPr>
        <p:spPr>
          <a:xfrm>
            <a:off x="253478" y="209618"/>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Cross 29">
            <a:extLst>
              <a:ext uri="{FF2B5EF4-FFF2-40B4-BE49-F238E27FC236}">
                <a16:creationId xmlns:a16="http://schemas.microsoft.com/office/drawing/2014/main" id="{9953AF97-C7FB-431E-8F40-FF33C9F6D745}"/>
              </a:ext>
            </a:extLst>
          </p:cNvPr>
          <p:cNvSpPr/>
          <p:nvPr/>
        </p:nvSpPr>
        <p:spPr>
          <a:xfrm>
            <a:off x="11780800" y="209618"/>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872697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645512DE-CB1D-4630-AD41-1644F213BA8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954" t="8845"/>
          <a:stretch/>
        </p:blipFill>
        <p:spPr bwMode="black">
          <a:xfrm rot="10800000">
            <a:off x="1268730" y="2957706"/>
            <a:ext cx="10923270" cy="3900295"/>
          </a:xfrm>
          <a:prstGeom prst="rect">
            <a:avLst/>
          </a:prstGeom>
        </p:spPr>
      </p:pic>
    </p:spTree>
    <p:extLst>
      <p:ext uri="{BB962C8B-B14F-4D97-AF65-F5344CB8AC3E}">
        <p14:creationId xmlns:p14="http://schemas.microsoft.com/office/powerpoint/2010/main" val="106971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Layout 1">
    <p:spTree>
      <p:nvGrpSpPr>
        <p:cNvPr id="1" name=""/>
        <p:cNvGrpSpPr/>
        <p:nvPr/>
      </p:nvGrpSpPr>
      <p:grpSpPr>
        <a:xfrm>
          <a:off x="0" y="0"/>
          <a:ext cx="0" cy="0"/>
          <a:chOff x="0" y="0"/>
          <a:chExt cx="0" cy="0"/>
        </a:xfrm>
      </p:grpSpPr>
      <p:sp>
        <p:nvSpPr>
          <p:cNvPr id="9" name="Cross 8">
            <a:extLst>
              <a:ext uri="{FF2B5EF4-FFF2-40B4-BE49-F238E27FC236}">
                <a16:creationId xmlns:a16="http://schemas.microsoft.com/office/drawing/2014/main" id="{4A186724-2803-40CA-9520-E1AFCABA8CC4}"/>
              </a:ext>
            </a:extLst>
          </p:cNvPr>
          <p:cNvSpPr/>
          <p:nvPr/>
        </p:nvSpPr>
        <p:spPr>
          <a:xfrm>
            <a:off x="253478" y="209618"/>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Cross 29">
            <a:extLst>
              <a:ext uri="{FF2B5EF4-FFF2-40B4-BE49-F238E27FC236}">
                <a16:creationId xmlns:a16="http://schemas.microsoft.com/office/drawing/2014/main" id="{9953AF97-C7FB-431E-8F40-FF33C9F6D745}"/>
              </a:ext>
            </a:extLst>
          </p:cNvPr>
          <p:cNvSpPr/>
          <p:nvPr/>
        </p:nvSpPr>
        <p:spPr>
          <a:xfrm>
            <a:off x="11780800" y="209618"/>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itle 1">
            <a:extLst>
              <a:ext uri="{FF2B5EF4-FFF2-40B4-BE49-F238E27FC236}">
                <a16:creationId xmlns:a16="http://schemas.microsoft.com/office/drawing/2014/main" id="{83E325B4-F8F6-4876-B8F4-7813F767F3FA}"/>
              </a:ext>
            </a:extLst>
          </p:cNvPr>
          <p:cNvSpPr>
            <a:spLocks noGrp="1"/>
          </p:cNvSpPr>
          <p:nvPr>
            <p:ph type="title" hasCustomPrompt="1"/>
          </p:nvPr>
        </p:nvSpPr>
        <p:spPr>
          <a:xfrm>
            <a:off x="891138" y="648677"/>
            <a:ext cx="4704348" cy="830457"/>
          </a:xfrm>
          <a:prstGeom prst="rect">
            <a:avLst/>
          </a:prstGeom>
        </p:spPr>
        <p:txBody>
          <a:bodyPr/>
          <a:lstStyle>
            <a:lvl1pPr algn="l">
              <a:defRPr b="1">
                <a:solidFill>
                  <a:schemeClr val="tx1"/>
                </a:solidFill>
              </a:defRPr>
            </a:lvl1pPr>
          </a:lstStyle>
          <a:p>
            <a:r>
              <a:rPr lang="en-US" dirty="0" err="1"/>
              <a:t>Título</a:t>
            </a:r>
            <a:endParaRPr lang="pt-BR" dirty="0"/>
          </a:p>
        </p:txBody>
      </p:sp>
      <p:sp>
        <p:nvSpPr>
          <p:cNvPr id="5" name="Text Placeholder 11">
            <a:extLst>
              <a:ext uri="{FF2B5EF4-FFF2-40B4-BE49-F238E27FC236}">
                <a16:creationId xmlns:a16="http://schemas.microsoft.com/office/drawing/2014/main" id="{3C1CB2E5-2243-4392-B725-9ACBB822B85E}"/>
              </a:ext>
            </a:extLst>
          </p:cNvPr>
          <p:cNvSpPr>
            <a:spLocks noGrp="1"/>
          </p:cNvSpPr>
          <p:nvPr>
            <p:ph type="body" sz="quarter" idx="10" hasCustomPrompt="1"/>
          </p:nvPr>
        </p:nvSpPr>
        <p:spPr>
          <a:xfrm>
            <a:off x="891138" y="1973263"/>
            <a:ext cx="10967782"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Tree>
    <p:extLst>
      <p:ext uri="{BB962C8B-B14F-4D97-AF65-F5344CB8AC3E}">
        <p14:creationId xmlns:p14="http://schemas.microsoft.com/office/powerpoint/2010/main" val="3517300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Layout Simple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91AED4-6441-408B-9153-2DD8B5E2339B}"/>
              </a:ext>
            </a:extLst>
          </p:cNvPr>
          <p:cNvSpPr/>
          <p:nvPr/>
        </p:nvSpPr>
        <p:spPr>
          <a:xfrm>
            <a:off x="-1400"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648305" y="648677"/>
            <a:ext cx="4704348" cy="830457"/>
          </a:xfrm>
          <a:prstGeom prst="rect">
            <a:avLst/>
          </a:prstGeom>
        </p:spPr>
        <p:txBody>
          <a:bodyPr/>
          <a:lstStyle>
            <a:lvl1pPr algn="r">
              <a:defRPr b="1">
                <a:solidFill>
                  <a:schemeClr val="tx1"/>
                </a:solidFill>
              </a:defRPr>
            </a:lvl1pPr>
          </a:lstStyle>
          <a:p>
            <a:r>
              <a:rPr lang="en-US" dirty="0" err="1"/>
              <a:t>Título</a:t>
            </a:r>
            <a:endParaRPr lang="pt-BR" dirty="0"/>
          </a:p>
        </p:txBody>
      </p:sp>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a:off x="5595486" y="1027906"/>
            <a:ext cx="6596514" cy="0"/>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a:off x="5595486" y="1027906"/>
            <a:ext cx="1894966"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D71AD525-0D8B-47E4-88DF-38DDA543BD3A}"/>
              </a:ext>
            </a:extLst>
          </p:cNvPr>
          <p:cNvSpPr/>
          <p:nvPr/>
        </p:nvSpPr>
        <p:spPr>
          <a:xfrm>
            <a:off x="247216"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2" name="Text Placeholder 11">
            <a:extLst>
              <a:ext uri="{FF2B5EF4-FFF2-40B4-BE49-F238E27FC236}">
                <a16:creationId xmlns:a16="http://schemas.microsoft.com/office/drawing/2014/main" id="{92449796-E344-43BB-8C83-4A04C94BD7BE}"/>
              </a:ext>
            </a:extLst>
          </p:cNvPr>
          <p:cNvSpPr>
            <a:spLocks noGrp="1"/>
          </p:cNvSpPr>
          <p:nvPr>
            <p:ph type="body" sz="quarter" idx="10" hasCustomPrompt="1"/>
          </p:nvPr>
        </p:nvSpPr>
        <p:spPr>
          <a:xfrm>
            <a:off x="5595486" y="1973263"/>
            <a:ext cx="5918735"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8" name="Date Placeholder 3">
            <a:extLst>
              <a:ext uri="{FF2B5EF4-FFF2-40B4-BE49-F238E27FC236}">
                <a16:creationId xmlns:a16="http://schemas.microsoft.com/office/drawing/2014/main" id="{C41DFF86-929B-4176-9AF5-2DCE518A4926}"/>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solidFill>
              </a:rPr>
              <a:t>www.fit-tecnologia.org.br</a:t>
            </a:r>
            <a:endParaRPr lang="pt-BR" dirty="0">
              <a:solidFill>
                <a:schemeClr val="bg1"/>
              </a:solidFill>
            </a:endParaRPr>
          </a:p>
        </p:txBody>
      </p:sp>
    </p:spTree>
    <p:extLst>
      <p:ext uri="{BB962C8B-B14F-4D97-AF65-F5344CB8AC3E}">
        <p14:creationId xmlns:p14="http://schemas.microsoft.com/office/powerpoint/2010/main" val="40269964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Layout Simples Vazi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91AED4-6441-408B-9153-2DD8B5E2339B}"/>
              </a:ext>
            </a:extLst>
          </p:cNvPr>
          <p:cNvSpPr/>
          <p:nvPr/>
        </p:nvSpPr>
        <p:spPr>
          <a:xfrm>
            <a:off x="-1400"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D71AD525-0D8B-47E4-88DF-38DDA543BD3A}"/>
              </a:ext>
            </a:extLst>
          </p:cNvPr>
          <p:cNvSpPr/>
          <p:nvPr/>
        </p:nvSpPr>
        <p:spPr>
          <a:xfrm>
            <a:off x="247216"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Date Placeholder 3">
            <a:extLst>
              <a:ext uri="{FF2B5EF4-FFF2-40B4-BE49-F238E27FC236}">
                <a16:creationId xmlns:a16="http://schemas.microsoft.com/office/drawing/2014/main" id="{C41DFF86-929B-4176-9AF5-2DCE518A4926}"/>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solidFill>
              </a:rPr>
              <a:t>www.fit-tecnologia.org.br</a:t>
            </a:r>
            <a:endParaRPr lang="pt-BR" dirty="0">
              <a:solidFill>
                <a:schemeClr val="bg1"/>
              </a:solidFill>
            </a:endParaRPr>
          </a:p>
        </p:txBody>
      </p:sp>
    </p:spTree>
    <p:extLst>
      <p:ext uri="{BB962C8B-B14F-4D97-AF65-F5344CB8AC3E}">
        <p14:creationId xmlns:p14="http://schemas.microsoft.com/office/powerpoint/2010/main" val="1579365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Layout 1.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91AED4-6441-408B-9153-2DD8B5E2339B}"/>
              </a:ext>
            </a:extLst>
          </p:cNvPr>
          <p:cNvSpPr/>
          <p:nvPr/>
        </p:nvSpPr>
        <p:spPr>
          <a:xfrm>
            <a:off x="-1400"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D71AD525-0D8B-47E4-88DF-38DDA543BD3A}"/>
              </a:ext>
            </a:extLst>
          </p:cNvPr>
          <p:cNvSpPr/>
          <p:nvPr/>
        </p:nvSpPr>
        <p:spPr>
          <a:xfrm>
            <a:off x="247216"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Date Placeholder 3">
            <a:extLst>
              <a:ext uri="{FF2B5EF4-FFF2-40B4-BE49-F238E27FC236}">
                <a16:creationId xmlns:a16="http://schemas.microsoft.com/office/drawing/2014/main" id="{C41DFF86-929B-4176-9AF5-2DCE518A4926}"/>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solidFill>
              </a:rPr>
              <a:t>www.fit-tecnologia.org.br</a:t>
            </a:r>
            <a:endParaRPr lang="pt-BR" dirty="0">
              <a:solidFill>
                <a:schemeClr val="bg1"/>
              </a:solidFill>
            </a:endParaRPr>
          </a:p>
        </p:txBody>
      </p:sp>
      <p:sp>
        <p:nvSpPr>
          <p:cNvPr id="5" name="Title 1">
            <a:extLst>
              <a:ext uri="{FF2B5EF4-FFF2-40B4-BE49-F238E27FC236}">
                <a16:creationId xmlns:a16="http://schemas.microsoft.com/office/drawing/2014/main" id="{A48D8B10-6C84-4E33-AA55-6F5403136EA2}"/>
              </a:ext>
            </a:extLst>
          </p:cNvPr>
          <p:cNvSpPr>
            <a:spLocks noGrp="1"/>
          </p:cNvSpPr>
          <p:nvPr>
            <p:ph type="title" hasCustomPrompt="1"/>
          </p:nvPr>
        </p:nvSpPr>
        <p:spPr>
          <a:xfrm>
            <a:off x="891138" y="648677"/>
            <a:ext cx="4704348" cy="830457"/>
          </a:xfrm>
          <a:prstGeom prst="rect">
            <a:avLst/>
          </a:prstGeom>
        </p:spPr>
        <p:txBody>
          <a:bodyPr/>
          <a:lstStyle>
            <a:lvl1pPr algn="l">
              <a:defRPr b="1">
                <a:solidFill>
                  <a:schemeClr val="tx1"/>
                </a:solidFill>
              </a:defRPr>
            </a:lvl1pPr>
          </a:lstStyle>
          <a:p>
            <a:r>
              <a:rPr lang="en-US" dirty="0" err="1"/>
              <a:t>Título</a:t>
            </a:r>
            <a:endParaRPr lang="pt-BR" dirty="0"/>
          </a:p>
        </p:txBody>
      </p:sp>
      <p:sp>
        <p:nvSpPr>
          <p:cNvPr id="6" name="Text Placeholder 11">
            <a:extLst>
              <a:ext uri="{FF2B5EF4-FFF2-40B4-BE49-F238E27FC236}">
                <a16:creationId xmlns:a16="http://schemas.microsoft.com/office/drawing/2014/main" id="{C70601BF-195F-4FA0-8931-FF1A40CBF8C2}"/>
              </a:ext>
            </a:extLst>
          </p:cNvPr>
          <p:cNvSpPr>
            <a:spLocks noGrp="1"/>
          </p:cNvSpPr>
          <p:nvPr>
            <p:ph type="body" sz="quarter" idx="10" hasCustomPrompt="1"/>
          </p:nvPr>
        </p:nvSpPr>
        <p:spPr>
          <a:xfrm>
            <a:off x="891138" y="1973263"/>
            <a:ext cx="10967782"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Tree>
    <p:extLst>
      <p:ext uri="{BB962C8B-B14F-4D97-AF65-F5344CB8AC3E}">
        <p14:creationId xmlns:p14="http://schemas.microsoft.com/office/powerpoint/2010/main" val="22049041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Layou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CFD0573-7532-4A40-95CD-2396A657954D}"/>
              </a:ext>
            </a:extLst>
          </p:cNvPr>
          <p:cNvSpPr/>
          <p:nvPr/>
        </p:nvSpPr>
        <p:spPr>
          <a:xfrm>
            <a:off x="0" y="0"/>
            <a:ext cx="12192000" cy="1792705"/>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337686" y="365125"/>
            <a:ext cx="5016367" cy="1162877"/>
          </a:xfrm>
          <a:prstGeom prst="rect">
            <a:avLst/>
          </a:prstGeom>
        </p:spPr>
        <p:txBody>
          <a:bodyPr/>
          <a:lstStyle>
            <a:lvl1pPr algn="r">
              <a:defRPr b="1">
                <a:solidFill>
                  <a:schemeClr val="bg1"/>
                </a:solidFill>
              </a:defRPr>
            </a:lvl1pPr>
          </a:lstStyle>
          <a:p>
            <a:r>
              <a:rPr lang="en-US" dirty="0" err="1"/>
              <a:t>Título</a:t>
            </a:r>
            <a:r>
              <a:rPr lang="en-US" dirty="0"/>
              <a:t> com </a:t>
            </a:r>
            <a:r>
              <a:rPr lang="en-US" dirty="0" err="1"/>
              <a:t>até</a:t>
            </a:r>
            <a:br>
              <a:rPr lang="en-US" dirty="0"/>
            </a:br>
            <a:r>
              <a:rPr lang="en-US" dirty="0" err="1"/>
              <a:t>duas</a:t>
            </a:r>
            <a:r>
              <a:rPr lang="en-US" dirty="0"/>
              <a:t> </a:t>
            </a:r>
            <a:r>
              <a:rPr lang="en-US" dirty="0" err="1"/>
              <a:t>linhas</a:t>
            </a:r>
            <a:endParaRPr lang="pt-BR" dirty="0"/>
          </a:p>
        </p:txBody>
      </p:sp>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a:off x="5595486" y="943684"/>
            <a:ext cx="65965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a:off x="5595486" y="943684"/>
            <a:ext cx="1894966"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Text Placeholder 11">
            <a:extLst>
              <a:ext uri="{FF2B5EF4-FFF2-40B4-BE49-F238E27FC236}">
                <a16:creationId xmlns:a16="http://schemas.microsoft.com/office/drawing/2014/main" id="{63E9BCFF-20CD-493A-9A86-828C7EEDEBB2}"/>
              </a:ext>
            </a:extLst>
          </p:cNvPr>
          <p:cNvSpPr>
            <a:spLocks noGrp="1"/>
          </p:cNvSpPr>
          <p:nvPr>
            <p:ph type="body" sz="quarter" idx="10" hasCustomPrompt="1"/>
          </p:nvPr>
        </p:nvSpPr>
        <p:spPr>
          <a:xfrm>
            <a:off x="5595485" y="2362367"/>
            <a:ext cx="5918735" cy="3653889"/>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0" name="Cross 9">
            <a:extLst>
              <a:ext uri="{FF2B5EF4-FFF2-40B4-BE49-F238E27FC236}">
                <a16:creationId xmlns:a16="http://schemas.microsoft.com/office/drawing/2014/main" id="{0E909C6A-5397-4FC5-904F-DD4410DC2110}"/>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3548370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Layour simples com fot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8C7AAE8-B503-42CC-984F-2FA858F2D5B9}"/>
              </a:ext>
            </a:extLst>
          </p:cNvPr>
          <p:cNvSpPr>
            <a:spLocks noGrp="1"/>
          </p:cNvSpPr>
          <p:nvPr>
            <p:ph type="pic" sz="quarter" idx="10" hasCustomPrompt="1"/>
          </p:nvPr>
        </p:nvSpPr>
        <p:spPr>
          <a:xfrm>
            <a:off x="6834188" y="0"/>
            <a:ext cx="5357812" cy="6858000"/>
          </a:xfrm>
          <a:prstGeom prst="rect">
            <a:avLst/>
          </a:prstGeom>
          <a:solidFill>
            <a:srgbClr val="000532"/>
          </a:solidFill>
        </p:spPr>
        <p:txBody>
          <a:bodyPr/>
          <a:lstStyle>
            <a:lvl1pPr marL="0" indent="0">
              <a:buNone/>
              <a:defRPr sz="2000">
                <a:solidFill>
                  <a:schemeClr val="bg1"/>
                </a:solidFill>
              </a:defRPr>
            </a:lvl1pPr>
          </a:lstStyle>
          <a:p>
            <a:r>
              <a:rPr lang="pt-BR" dirty="0"/>
              <a:t>Clique no ícone para adicionar uma imagem</a:t>
            </a:r>
          </a:p>
        </p:txBody>
      </p:sp>
      <p:sp>
        <p:nvSpPr>
          <p:cNvPr id="2" name="Title 1">
            <a:extLst>
              <a:ext uri="{FF2B5EF4-FFF2-40B4-BE49-F238E27FC236}">
                <a16:creationId xmlns:a16="http://schemas.microsoft.com/office/drawing/2014/main" id="{E543A09A-6C4B-4EBB-B857-2E98FBF49257}"/>
              </a:ext>
            </a:extLst>
          </p:cNvPr>
          <p:cNvSpPr>
            <a:spLocks noGrp="1"/>
          </p:cNvSpPr>
          <p:nvPr>
            <p:ph type="title" hasCustomPrompt="1"/>
          </p:nvPr>
        </p:nvSpPr>
        <p:spPr>
          <a:xfrm>
            <a:off x="838200" y="2923674"/>
            <a:ext cx="5257800" cy="613610"/>
          </a:xfrm>
          <a:prstGeom prst="rect">
            <a:avLst/>
          </a:prstGeom>
        </p:spPr>
        <p:txBody>
          <a:bodyPr/>
          <a:lstStyle>
            <a:lvl1pPr>
              <a:defRPr b="1"/>
            </a:lvl1pPr>
          </a:lstStyle>
          <a:p>
            <a:r>
              <a:rPr lang="en-US" dirty="0" err="1"/>
              <a:t>Título</a:t>
            </a:r>
            <a:r>
              <a:rPr lang="en-US" dirty="0"/>
              <a:t> do slide</a:t>
            </a:r>
            <a:endParaRPr lang="pt-BR" dirty="0"/>
          </a:p>
        </p:txBody>
      </p:sp>
      <p:cxnSp>
        <p:nvCxnSpPr>
          <p:cNvPr id="3" name="Straight Connector 2">
            <a:extLst>
              <a:ext uri="{FF2B5EF4-FFF2-40B4-BE49-F238E27FC236}">
                <a16:creationId xmlns:a16="http://schemas.microsoft.com/office/drawing/2014/main" id="{A38BF1E0-180B-4A4B-81E6-0C3CFD5859EF}"/>
              </a:ext>
            </a:extLst>
          </p:cNvPr>
          <p:cNvCxnSpPr>
            <a:cxnSpLocks/>
          </p:cNvCxnSpPr>
          <p:nvPr/>
        </p:nvCxnSpPr>
        <p:spPr>
          <a:xfrm>
            <a:off x="642486" y="0"/>
            <a:ext cx="0" cy="3537284"/>
          </a:xfrm>
          <a:prstGeom prst="line">
            <a:avLst/>
          </a:prstGeom>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26A7B54-4468-45DC-8873-9BCFB625B381}"/>
              </a:ext>
            </a:extLst>
          </p:cNvPr>
          <p:cNvSpPr/>
          <p:nvPr/>
        </p:nvSpPr>
        <p:spPr>
          <a:xfrm rot="5400000">
            <a:off x="-286997" y="2571801"/>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F0885524-DEE6-4687-BBD8-55EE9015E95A}"/>
              </a:ext>
            </a:extLst>
          </p:cNvPr>
          <p:cNvSpPr/>
          <p:nvPr/>
        </p:nvSpPr>
        <p:spPr>
          <a:xfrm>
            <a:off x="11780800" y="209618"/>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Text Placeholder 11">
            <a:extLst>
              <a:ext uri="{FF2B5EF4-FFF2-40B4-BE49-F238E27FC236}">
                <a16:creationId xmlns:a16="http://schemas.microsoft.com/office/drawing/2014/main" id="{A435F0A6-76D3-4EEB-ACDC-F1E31BBCC7C2}"/>
              </a:ext>
            </a:extLst>
          </p:cNvPr>
          <p:cNvSpPr>
            <a:spLocks noGrp="1"/>
          </p:cNvSpPr>
          <p:nvPr>
            <p:ph type="body" sz="quarter" idx="11" hasCustomPrompt="1"/>
          </p:nvPr>
        </p:nvSpPr>
        <p:spPr>
          <a:xfrm>
            <a:off x="838201" y="3697872"/>
            <a:ext cx="5257800" cy="2318383"/>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2" name="Cross 11">
            <a:extLst>
              <a:ext uri="{FF2B5EF4-FFF2-40B4-BE49-F238E27FC236}">
                <a16:creationId xmlns:a16="http://schemas.microsoft.com/office/drawing/2014/main" id="{A4294596-0225-4BFB-8531-311083773819}"/>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3177657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Layout simples com 3 foto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8C7AAE8-B503-42CC-984F-2FA858F2D5B9}"/>
              </a:ext>
            </a:extLst>
          </p:cNvPr>
          <p:cNvSpPr>
            <a:spLocks noGrp="1"/>
          </p:cNvSpPr>
          <p:nvPr>
            <p:ph type="pic" sz="quarter" idx="10" hasCustomPrompt="1"/>
          </p:nvPr>
        </p:nvSpPr>
        <p:spPr>
          <a:xfrm>
            <a:off x="7619256" y="2286000"/>
            <a:ext cx="4572743" cy="4572000"/>
          </a:xfrm>
          <a:prstGeom prst="rect">
            <a:avLst/>
          </a:prstGeom>
          <a:solidFill>
            <a:srgbClr val="000532"/>
          </a:solidFill>
          <a:ln>
            <a:noFill/>
          </a:ln>
        </p:spPr>
        <p:txBody>
          <a:bodyPr/>
          <a:lstStyle>
            <a:lvl1pPr marL="0" indent="0">
              <a:buNone/>
              <a:defRPr sz="2000">
                <a:solidFill>
                  <a:schemeClr val="bg1"/>
                </a:solidFill>
              </a:defRPr>
            </a:lvl1pPr>
          </a:lstStyle>
          <a:p>
            <a:r>
              <a:rPr lang="pt-BR" dirty="0"/>
              <a:t>Clique no ícone para adicionar uma imagem</a:t>
            </a:r>
          </a:p>
        </p:txBody>
      </p:sp>
      <p:sp>
        <p:nvSpPr>
          <p:cNvPr id="2" name="Title 1">
            <a:extLst>
              <a:ext uri="{FF2B5EF4-FFF2-40B4-BE49-F238E27FC236}">
                <a16:creationId xmlns:a16="http://schemas.microsoft.com/office/drawing/2014/main" id="{E543A09A-6C4B-4EBB-B857-2E98FBF49257}"/>
              </a:ext>
            </a:extLst>
          </p:cNvPr>
          <p:cNvSpPr>
            <a:spLocks noGrp="1"/>
          </p:cNvSpPr>
          <p:nvPr>
            <p:ph type="title" hasCustomPrompt="1"/>
          </p:nvPr>
        </p:nvSpPr>
        <p:spPr>
          <a:xfrm>
            <a:off x="838200" y="865524"/>
            <a:ext cx="5257800" cy="613610"/>
          </a:xfrm>
          <a:prstGeom prst="rect">
            <a:avLst/>
          </a:prstGeom>
        </p:spPr>
        <p:txBody>
          <a:bodyPr/>
          <a:lstStyle>
            <a:lvl1pPr>
              <a:defRPr b="1"/>
            </a:lvl1pPr>
          </a:lstStyle>
          <a:p>
            <a:r>
              <a:rPr lang="en-US" dirty="0" err="1"/>
              <a:t>Título</a:t>
            </a:r>
            <a:r>
              <a:rPr lang="en-US" dirty="0"/>
              <a:t> do slide</a:t>
            </a:r>
            <a:endParaRPr lang="pt-BR" dirty="0"/>
          </a:p>
        </p:txBody>
      </p:sp>
      <p:cxnSp>
        <p:nvCxnSpPr>
          <p:cNvPr id="3" name="Straight Connector 2">
            <a:extLst>
              <a:ext uri="{FF2B5EF4-FFF2-40B4-BE49-F238E27FC236}">
                <a16:creationId xmlns:a16="http://schemas.microsoft.com/office/drawing/2014/main" id="{A38BF1E0-180B-4A4B-81E6-0C3CFD5859EF}"/>
              </a:ext>
            </a:extLst>
          </p:cNvPr>
          <p:cNvCxnSpPr>
            <a:cxnSpLocks/>
          </p:cNvCxnSpPr>
          <p:nvPr/>
        </p:nvCxnSpPr>
        <p:spPr>
          <a:xfrm>
            <a:off x="642486" y="0"/>
            <a:ext cx="0" cy="1479134"/>
          </a:xfrm>
          <a:prstGeom prst="line">
            <a:avLst/>
          </a:prstGeom>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26A7B54-4468-45DC-8873-9BCFB625B381}"/>
              </a:ext>
            </a:extLst>
          </p:cNvPr>
          <p:cNvSpPr/>
          <p:nvPr/>
        </p:nvSpPr>
        <p:spPr>
          <a:xfrm rot="5400000">
            <a:off x="192563" y="987393"/>
            <a:ext cx="947483"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F0885524-DEE6-4687-BBD8-55EE9015E95A}"/>
              </a:ext>
            </a:extLst>
          </p:cNvPr>
          <p:cNvSpPr/>
          <p:nvPr/>
        </p:nvSpPr>
        <p:spPr>
          <a:xfrm>
            <a:off x="11780800" y="209618"/>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Text Placeholder 11">
            <a:extLst>
              <a:ext uri="{FF2B5EF4-FFF2-40B4-BE49-F238E27FC236}">
                <a16:creationId xmlns:a16="http://schemas.microsoft.com/office/drawing/2014/main" id="{A435F0A6-76D3-4EEB-ACDC-F1E31BBCC7C2}"/>
              </a:ext>
            </a:extLst>
          </p:cNvPr>
          <p:cNvSpPr>
            <a:spLocks noGrp="1"/>
          </p:cNvSpPr>
          <p:nvPr>
            <p:ph type="body" sz="quarter" idx="11" hasCustomPrompt="1"/>
          </p:nvPr>
        </p:nvSpPr>
        <p:spPr>
          <a:xfrm>
            <a:off x="838201" y="1639723"/>
            <a:ext cx="5257800" cy="1789278"/>
          </a:xfrm>
          <a:prstGeom prst="rect">
            <a:avLst/>
          </a:prstGeom>
        </p:spPr>
        <p:txBody>
          <a:bodyPr/>
          <a:lstStyle>
            <a:lvl1pPr marL="342900" indent="-342900">
              <a:buFont typeface="Arial" panose="020B0604020202020204" pitchFamily="34" charset="0"/>
              <a:buChar char="•"/>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endParaRPr lang="en-US" dirty="0"/>
          </a:p>
        </p:txBody>
      </p:sp>
      <p:sp>
        <p:nvSpPr>
          <p:cNvPr id="12" name="Cross 11">
            <a:extLst>
              <a:ext uri="{FF2B5EF4-FFF2-40B4-BE49-F238E27FC236}">
                <a16:creationId xmlns:a16="http://schemas.microsoft.com/office/drawing/2014/main" id="{A4294596-0225-4BFB-8531-311083773819}"/>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4" name="Text Placeholder 11">
            <a:extLst>
              <a:ext uri="{FF2B5EF4-FFF2-40B4-BE49-F238E27FC236}">
                <a16:creationId xmlns:a16="http://schemas.microsoft.com/office/drawing/2014/main" id="{254845E0-F3BD-41CC-B165-AD600CF3DF03}"/>
              </a:ext>
            </a:extLst>
          </p:cNvPr>
          <p:cNvSpPr>
            <a:spLocks noGrp="1"/>
          </p:cNvSpPr>
          <p:nvPr>
            <p:ph type="body" sz="quarter" idx="12" hasCustomPrompt="1"/>
          </p:nvPr>
        </p:nvSpPr>
        <p:spPr>
          <a:xfrm>
            <a:off x="838201" y="3589590"/>
            <a:ext cx="5257800" cy="1789278"/>
          </a:xfrm>
          <a:prstGeom prst="rect">
            <a:avLst/>
          </a:prstGeom>
        </p:spPr>
        <p:txBody>
          <a:bodyPr/>
          <a:lstStyle>
            <a:lvl1pPr marL="342900" indent="-342900">
              <a:buFont typeface="Arial" panose="020B0604020202020204" pitchFamily="34" charset="0"/>
              <a:buChar char="•"/>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endParaRPr lang="en-US" dirty="0"/>
          </a:p>
        </p:txBody>
      </p:sp>
      <p:sp>
        <p:nvSpPr>
          <p:cNvPr id="17" name="Picture Placeholder 16">
            <a:extLst>
              <a:ext uri="{FF2B5EF4-FFF2-40B4-BE49-F238E27FC236}">
                <a16:creationId xmlns:a16="http://schemas.microsoft.com/office/drawing/2014/main" id="{697D7883-5525-48D9-8AC8-E5447E69D9F6}"/>
              </a:ext>
            </a:extLst>
          </p:cNvPr>
          <p:cNvSpPr>
            <a:spLocks noGrp="1"/>
          </p:cNvSpPr>
          <p:nvPr>
            <p:ph type="pic" sz="quarter" idx="13"/>
          </p:nvPr>
        </p:nvSpPr>
        <p:spPr>
          <a:xfrm>
            <a:off x="9906000" y="0"/>
            <a:ext cx="2286000" cy="2286000"/>
          </a:xfrm>
          <a:prstGeom prst="rect">
            <a:avLst/>
          </a:prstGeom>
          <a:solidFill>
            <a:srgbClr val="009ADD"/>
          </a:solidFill>
        </p:spPr>
        <p:txBody>
          <a:bodyPr/>
          <a:lstStyle/>
          <a:p>
            <a:r>
              <a:rPr lang="en-US"/>
              <a:t>Click icon to add picture</a:t>
            </a:r>
            <a:endParaRPr lang="pt-BR"/>
          </a:p>
        </p:txBody>
      </p:sp>
      <p:sp>
        <p:nvSpPr>
          <p:cNvPr id="19" name="Picture Placeholder 16">
            <a:extLst>
              <a:ext uri="{FF2B5EF4-FFF2-40B4-BE49-F238E27FC236}">
                <a16:creationId xmlns:a16="http://schemas.microsoft.com/office/drawing/2014/main" id="{CEF36557-E34E-425A-8EB9-026AAAAA8F86}"/>
              </a:ext>
            </a:extLst>
          </p:cNvPr>
          <p:cNvSpPr>
            <a:spLocks noGrp="1"/>
          </p:cNvSpPr>
          <p:nvPr>
            <p:ph type="pic" sz="quarter" idx="15"/>
          </p:nvPr>
        </p:nvSpPr>
        <p:spPr>
          <a:xfrm>
            <a:off x="7619257" y="0"/>
            <a:ext cx="2286000" cy="2286000"/>
          </a:xfrm>
          <a:prstGeom prst="rect">
            <a:avLst/>
          </a:prstGeom>
          <a:solidFill>
            <a:srgbClr val="00BC29"/>
          </a:solidFill>
        </p:spPr>
        <p:txBody>
          <a:bodyPr/>
          <a:lstStyle/>
          <a:p>
            <a:r>
              <a:rPr lang="en-US"/>
              <a:t>Click icon to add picture</a:t>
            </a:r>
            <a:endParaRPr lang="pt-BR"/>
          </a:p>
        </p:txBody>
      </p:sp>
    </p:spTree>
    <p:extLst>
      <p:ext uri="{BB962C8B-B14F-4D97-AF65-F5344CB8AC3E}">
        <p14:creationId xmlns:p14="http://schemas.microsoft.com/office/powerpoint/2010/main" val="38005788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Layout com tópico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F1ACF8-845B-4F78-B0DD-C2CE8E6122A7}"/>
              </a:ext>
            </a:extLst>
          </p:cNvPr>
          <p:cNvSpPr/>
          <p:nvPr/>
        </p:nvSpPr>
        <p:spPr>
          <a:xfrm>
            <a:off x="6096000" y="0"/>
            <a:ext cx="6096000"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E543A09A-6C4B-4EBB-B857-2E98FBF49257}"/>
              </a:ext>
            </a:extLst>
          </p:cNvPr>
          <p:cNvSpPr>
            <a:spLocks noGrp="1"/>
          </p:cNvSpPr>
          <p:nvPr>
            <p:ph type="title" hasCustomPrompt="1"/>
          </p:nvPr>
        </p:nvSpPr>
        <p:spPr>
          <a:xfrm>
            <a:off x="838200" y="2923674"/>
            <a:ext cx="4518601" cy="613610"/>
          </a:xfrm>
          <a:prstGeom prst="rect">
            <a:avLst/>
          </a:prstGeom>
        </p:spPr>
        <p:txBody>
          <a:bodyPr/>
          <a:lstStyle>
            <a:lvl1pPr>
              <a:defRPr b="1"/>
            </a:lvl1pPr>
          </a:lstStyle>
          <a:p>
            <a:r>
              <a:rPr lang="en-US" dirty="0" err="1"/>
              <a:t>Título</a:t>
            </a:r>
            <a:r>
              <a:rPr lang="en-US" dirty="0"/>
              <a:t> do slide</a:t>
            </a:r>
            <a:endParaRPr lang="pt-BR" dirty="0"/>
          </a:p>
        </p:txBody>
      </p:sp>
      <p:cxnSp>
        <p:nvCxnSpPr>
          <p:cNvPr id="3" name="Straight Connector 2">
            <a:extLst>
              <a:ext uri="{FF2B5EF4-FFF2-40B4-BE49-F238E27FC236}">
                <a16:creationId xmlns:a16="http://schemas.microsoft.com/office/drawing/2014/main" id="{A38BF1E0-180B-4A4B-81E6-0C3CFD5859EF}"/>
              </a:ext>
            </a:extLst>
          </p:cNvPr>
          <p:cNvCxnSpPr>
            <a:cxnSpLocks/>
          </p:cNvCxnSpPr>
          <p:nvPr/>
        </p:nvCxnSpPr>
        <p:spPr>
          <a:xfrm>
            <a:off x="642486" y="0"/>
            <a:ext cx="0" cy="3537284"/>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26A7B54-4468-45DC-8873-9BCFB625B381}"/>
              </a:ext>
            </a:extLst>
          </p:cNvPr>
          <p:cNvSpPr/>
          <p:nvPr/>
        </p:nvSpPr>
        <p:spPr>
          <a:xfrm rot="5400000">
            <a:off x="-286997" y="2571801"/>
            <a:ext cx="1894966"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F0885524-DEE6-4687-BBD8-55EE9015E95A}"/>
              </a:ext>
            </a:extLst>
          </p:cNvPr>
          <p:cNvSpPr/>
          <p:nvPr/>
        </p:nvSpPr>
        <p:spPr>
          <a:xfrm>
            <a:off x="11780800" y="209618"/>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Text Placeholder 11">
            <a:extLst>
              <a:ext uri="{FF2B5EF4-FFF2-40B4-BE49-F238E27FC236}">
                <a16:creationId xmlns:a16="http://schemas.microsoft.com/office/drawing/2014/main" id="{A435F0A6-76D3-4EEB-ACDC-F1E31BBCC7C2}"/>
              </a:ext>
            </a:extLst>
          </p:cNvPr>
          <p:cNvSpPr>
            <a:spLocks noGrp="1"/>
          </p:cNvSpPr>
          <p:nvPr>
            <p:ph type="body" sz="quarter" idx="11" hasCustomPrompt="1"/>
          </p:nvPr>
        </p:nvSpPr>
        <p:spPr>
          <a:xfrm>
            <a:off x="838201" y="3697872"/>
            <a:ext cx="4518600" cy="2318383"/>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2" name="Cross 11">
            <a:extLst>
              <a:ext uri="{FF2B5EF4-FFF2-40B4-BE49-F238E27FC236}">
                <a16:creationId xmlns:a16="http://schemas.microsoft.com/office/drawing/2014/main" id="{A4294596-0225-4BFB-8531-311083773819}"/>
              </a:ext>
            </a:extLst>
          </p:cNvPr>
          <p:cNvSpPr/>
          <p:nvPr/>
        </p:nvSpPr>
        <p:spPr>
          <a:xfrm>
            <a:off x="247216" y="6493565"/>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8" name="Text Placeholder 17">
            <a:extLst>
              <a:ext uri="{FF2B5EF4-FFF2-40B4-BE49-F238E27FC236}">
                <a16:creationId xmlns:a16="http://schemas.microsoft.com/office/drawing/2014/main" id="{9E5E7184-EA1C-4038-ABA0-9A679D21C128}"/>
              </a:ext>
            </a:extLst>
          </p:cNvPr>
          <p:cNvSpPr>
            <a:spLocks noGrp="1"/>
          </p:cNvSpPr>
          <p:nvPr>
            <p:ph type="body" sz="quarter" idx="12" hasCustomPrompt="1"/>
          </p:nvPr>
        </p:nvSpPr>
        <p:spPr>
          <a:xfrm>
            <a:off x="7635009" y="584460"/>
            <a:ext cx="2668587" cy="396433"/>
          </a:xfrm>
          <a:prstGeom prst="rect">
            <a:avLst/>
          </a:prstGeom>
        </p:spPr>
        <p:txBody>
          <a:bodyPr/>
          <a:lstStyle>
            <a:lvl1pPr marL="0" indent="0">
              <a:buNone/>
              <a:defRPr sz="2400" b="1">
                <a:solidFill>
                  <a:schemeClr val="bg1"/>
                </a:solidFill>
                <a:latin typeface="+mj-lt"/>
              </a:defRPr>
            </a:lvl1pPr>
          </a:lstStyle>
          <a:p>
            <a:pPr lvl="0"/>
            <a:r>
              <a:rPr lang="pt-BR" dirty="0"/>
              <a:t>Título</a:t>
            </a:r>
          </a:p>
        </p:txBody>
      </p:sp>
      <p:sp>
        <p:nvSpPr>
          <p:cNvPr id="23" name="Text Placeholder 17">
            <a:extLst>
              <a:ext uri="{FF2B5EF4-FFF2-40B4-BE49-F238E27FC236}">
                <a16:creationId xmlns:a16="http://schemas.microsoft.com/office/drawing/2014/main" id="{EA97A275-0689-4B05-AC72-170A7D8B0AE1}"/>
              </a:ext>
            </a:extLst>
          </p:cNvPr>
          <p:cNvSpPr>
            <a:spLocks noGrp="1"/>
          </p:cNvSpPr>
          <p:nvPr>
            <p:ph type="body" sz="quarter" idx="17" hasCustomPrompt="1"/>
          </p:nvPr>
        </p:nvSpPr>
        <p:spPr>
          <a:xfrm>
            <a:off x="7635008" y="1027266"/>
            <a:ext cx="4145792" cy="396433"/>
          </a:xfrm>
          <a:prstGeom prst="rect">
            <a:avLst/>
          </a:prstGeom>
        </p:spPr>
        <p:txBody>
          <a:bodyPr/>
          <a:lstStyle>
            <a:lvl1pPr marL="0" indent="0">
              <a:buNone/>
              <a:defRPr sz="2000" b="0">
                <a:solidFill>
                  <a:schemeClr val="bg1"/>
                </a:solidFill>
                <a:latin typeface="+mn-lt"/>
              </a:defRPr>
            </a:lvl1pPr>
          </a:lstStyle>
          <a:p>
            <a:pPr lvl="0"/>
            <a:r>
              <a:rPr lang="pt-BR" dirty="0"/>
              <a:t>Descrição do tópico</a:t>
            </a:r>
          </a:p>
        </p:txBody>
      </p:sp>
      <p:sp>
        <p:nvSpPr>
          <p:cNvPr id="29" name="Text Placeholder 17">
            <a:extLst>
              <a:ext uri="{FF2B5EF4-FFF2-40B4-BE49-F238E27FC236}">
                <a16:creationId xmlns:a16="http://schemas.microsoft.com/office/drawing/2014/main" id="{08ECB6EF-DC38-4C52-A11E-B4C683E5C670}"/>
              </a:ext>
            </a:extLst>
          </p:cNvPr>
          <p:cNvSpPr>
            <a:spLocks noGrp="1"/>
          </p:cNvSpPr>
          <p:nvPr>
            <p:ph type="body" sz="quarter" idx="18" hasCustomPrompt="1"/>
          </p:nvPr>
        </p:nvSpPr>
        <p:spPr>
          <a:xfrm>
            <a:off x="7635009" y="1768616"/>
            <a:ext cx="2668587" cy="396433"/>
          </a:xfrm>
          <a:prstGeom prst="rect">
            <a:avLst/>
          </a:prstGeom>
        </p:spPr>
        <p:txBody>
          <a:bodyPr/>
          <a:lstStyle>
            <a:lvl1pPr marL="0" indent="0">
              <a:buNone/>
              <a:defRPr sz="2400" b="1">
                <a:solidFill>
                  <a:schemeClr val="bg1"/>
                </a:solidFill>
                <a:latin typeface="+mj-lt"/>
              </a:defRPr>
            </a:lvl1pPr>
          </a:lstStyle>
          <a:p>
            <a:pPr lvl="0"/>
            <a:r>
              <a:rPr lang="pt-BR" dirty="0"/>
              <a:t>Título</a:t>
            </a:r>
          </a:p>
        </p:txBody>
      </p:sp>
      <p:sp>
        <p:nvSpPr>
          <p:cNvPr id="30" name="Text Placeholder 17">
            <a:extLst>
              <a:ext uri="{FF2B5EF4-FFF2-40B4-BE49-F238E27FC236}">
                <a16:creationId xmlns:a16="http://schemas.microsoft.com/office/drawing/2014/main" id="{D421792E-994F-4665-A6ED-D02A6CA6556A}"/>
              </a:ext>
            </a:extLst>
          </p:cNvPr>
          <p:cNvSpPr>
            <a:spLocks noGrp="1"/>
          </p:cNvSpPr>
          <p:nvPr>
            <p:ph type="body" sz="quarter" idx="19" hasCustomPrompt="1"/>
          </p:nvPr>
        </p:nvSpPr>
        <p:spPr>
          <a:xfrm>
            <a:off x="7635008" y="2211422"/>
            <a:ext cx="4145792" cy="396433"/>
          </a:xfrm>
          <a:prstGeom prst="rect">
            <a:avLst/>
          </a:prstGeom>
        </p:spPr>
        <p:txBody>
          <a:bodyPr/>
          <a:lstStyle>
            <a:lvl1pPr marL="0" indent="0">
              <a:buNone/>
              <a:defRPr sz="2000" b="0">
                <a:solidFill>
                  <a:schemeClr val="bg1"/>
                </a:solidFill>
                <a:latin typeface="+mn-lt"/>
              </a:defRPr>
            </a:lvl1pPr>
          </a:lstStyle>
          <a:p>
            <a:pPr lvl="0"/>
            <a:r>
              <a:rPr lang="pt-BR" dirty="0"/>
              <a:t>Descrição do tópico</a:t>
            </a:r>
          </a:p>
        </p:txBody>
      </p:sp>
      <p:sp>
        <p:nvSpPr>
          <p:cNvPr id="31" name="Text Placeholder 17">
            <a:extLst>
              <a:ext uri="{FF2B5EF4-FFF2-40B4-BE49-F238E27FC236}">
                <a16:creationId xmlns:a16="http://schemas.microsoft.com/office/drawing/2014/main" id="{5FA99DEC-C8B1-4BE9-B759-A4103134DFA6}"/>
              </a:ext>
            </a:extLst>
          </p:cNvPr>
          <p:cNvSpPr>
            <a:spLocks noGrp="1"/>
          </p:cNvSpPr>
          <p:nvPr>
            <p:ph type="body" sz="quarter" idx="20" hasCustomPrompt="1"/>
          </p:nvPr>
        </p:nvSpPr>
        <p:spPr>
          <a:xfrm>
            <a:off x="7635009" y="2949149"/>
            <a:ext cx="2668587" cy="396433"/>
          </a:xfrm>
          <a:prstGeom prst="rect">
            <a:avLst/>
          </a:prstGeom>
        </p:spPr>
        <p:txBody>
          <a:bodyPr/>
          <a:lstStyle>
            <a:lvl1pPr marL="0" indent="0">
              <a:buNone/>
              <a:defRPr sz="2400" b="1">
                <a:solidFill>
                  <a:schemeClr val="bg1"/>
                </a:solidFill>
                <a:latin typeface="+mj-lt"/>
              </a:defRPr>
            </a:lvl1pPr>
          </a:lstStyle>
          <a:p>
            <a:pPr lvl="0"/>
            <a:r>
              <a:rPr lang="pt-BR" dirty="0"/>
              <a:t>Título</a:t>
            </a:r>
          </a:p>
        </p:txBody>
      </p:sp>
      <p:sp>
        <p:nvSpPr>
          <p:cNvPr id="32" name="Text Placeholder 17">
            <a:extLst>
              <a:ext uri="{FF2B5EF4-FFF2-40B4-BE49-F238E27FC236}">
                <a16:creationId xmlns:a16="http://schemas.microsoft.com/office/drawing/2014/main" id="{DE8F63C0-8C64-44DC-A815-9F3A73E7AE70}"/>
              </a:ext>
            </a:extLst>
          </p:cNvPr>
          <p:cNvSpPr>
            <a:spLocks noGrp="1"/>
          </p:cNvSpPr>
          <p:nvPr>
            <p:ph type="body" sz="quarter" idx="21" hasCustomPrompt="1"/>
          </p:nvPr>
        </p:nvSpPr>
        <p:spPr>
          <a:xfrm>
            <a:off x="7635008" y="3391955"/>
            <a:ext cx="4145792" cy="396433"/>
          </a:xfrm>
          <a:prstGeom prst="rect">
            <a:avLst/>
          </a:prstGeom>
        </p:spPr>
        <p:txBody>
          <a:bodyPr/>
          <a:lstStyle>
            <a:lvl1pPr marL="0" indent="0">
              <a:buNone/>
              <a:defRPr sz="2000" b="0">
                <a:solidFill>
                  <a:schemeClr val="bg1"/>
                </a:solidFill>
                <a:latin typeface="+mn-lt"/>
              </a:defRPr>
            </a:lvl1pPr>
          </a:lstStyle>
          <a:p>
            <a:pPr lvl="0"/>
            <a:r>
              <a:rPr lang="pt-BR" dirty="0"/>
              <a:t>Descrição do tópico</a:t>
            </a:r>
          </a:p>
        </p:txBody>
      </p:sp>
      <p:sp>
        <p:nvSpPr>
          <p:cNvPr id="33" name="Text Placeholder 17">
            <a:extLst>
              <a:ext uri="{FF2B5EF4-FFF2-40B4-BE49-F238E27FC236}">
                <a16:creationId xmlns:a16="http://schemas.microsoft.com/office/drawing/2014/main" id="{2CCE3E19-6FB2-4AD3-B345-92A1F084079C}"/>
              </a:ext>
            </a:extLst>
          </p:cNvPr>
          <p:cNvSpPr>
            <a:spLocks noGrp="1"/>
          </p:cNvSpPr>
          <p:nvPr>
            <p:ph type="body" sz="quarter" idx="22" hasCustomPrompt="1"/>
          </p:nvPr>
        </p:nvSpPr>
        <p:spPr>
          <a:xfrm>
            <a:off x="7635009" y="4136928"/>
            <a:ext cx="2668587" cy="396433"/>
          </a:xfrm>
          <a:prstGeom prst="rect">
            <a:avLst/>
          </a:prstGeom>
        </p:spPr>
        <p:txBody>
          <a:bodyPr/>
          <a:lstStyle>
            <a:lvl1pPr marL="0" indent="0">
              <a:buNone/>
              <a:defRPr sz="2400" b="1">
                <a:solidFill>
                  <a:schemeClr val="bg1"/>
                </a:solidFill>
                <a:latin typeface="+mj-lt"/>
              </a:defRPr>
            </a:lvl1pPr>
          </a:lstStyle>
          <a:p>
            <a:pPr lvl="0"/>
            <a:r>
              <a:rPr lang="pt-BR" dirty="0"/>
              <a:t>Título</a:t>
            </a:r>
          </a:p>
        </p:txBody>
      </p:sp>
      <p:sp>
        <p:nvSpPr>
          <p:cNvPr id="34" name="Text Placeholder 17">
            <a:extLst>
              <a:ext uri="{FF2B5EF4-FFF2-40B4-BE49-F238E27FC236}">
                <a16:creationId xmlns:a16="http://schemas.microsoft.com/office/drawing/2014/main" id="{FA8BBBBA-48E0-44CF-B676-CC24CD29C2B9}"/>
              </a:ext>
            </a:extLst>
          </p:cNvPr>
          <p:cNvSpPr>
            <a:spLocks noGrp="1"/>
          </p:cNvSpPr>
          <p:nvPr>
            <p:ph type="body" sz="quarter" idx="23" hasCustomPrompt="1"/>
          </p:nvPr>
        </p:nvSpPr>
        <p:spPr>
          <a:xfrm>
            <a:off x="7635008" y="4579734"/>
            <a:ext cx="4145792" cy="396433"/>
          </a:xfrm>
          <a:prstGeom prst="rect">
            <a:avLst/>
          </a:prstGeom>
        </p:spPr>
        <p:txBody>
          <a:bodyPr/>
          <a:lstStyle>
            <a:lvl1pPr marL="0" indent="0">
              <a:buNone/>
              <a:defRPr sz="2000" b="0">
                <a:solidFill>
                  <a:schemeClr val="bg1"/>
                </a:solidFill>
                <a:latin typeface="+mn-lt"/>
              </a:defRPr>
            </a:lvl1pPr>
          </a:lstStyle>
          <a:p>
            <a:pPr lvl="0"/>
            <a:r>
              <a:rPr lang="pt-BR" dirty="0"/>
              <a:t>Descrição do tópico</a:t>
            </a:r>
          </a:p>
        </p:txBody>
      </p:sp>
      <p:sp>
        <p:nvSpPr>
          <p:cNvPr id="35" name="Text Placeholder 17">
            <a:extLst>
              <a:ext uri="{FF2B5EF4-FFF2-40B4-BE49-F238E27FC236}">
                <a16:creationId xmlns:a16="http://schemas.microsoft.com/office/drawing/2014/main" id="{6A198CAA-4F1F-42D6-99B2-53AE7A99145F}"/>
              </a:ext>
            </a:extLst>
          </p:cNvPr>
          <p:cNvSpPr>
            <a:spLocks noGrp="1"/>
          </p:cNvSpPr>
          <p:nvPr>
            <p:ph type="body" sz="quarter" idx="24" hasCustomPrompt="1"/>
          </p:nvPr>
        </p:nvSpPr>
        <p:spPr>
          <a:xfrm>
            <a:off x="7635009" y="5321825"/>
            <a:ext cx="2668587" cy="396433"/>
          </a:xfrm>
          <a:prstGeom prst="rect">
            <a:avLst/>
          </a:prstGeom>
        </p:spPr>
        <p:txBody>
          <a:bodyPr/>
          <a:lstStyle>
            <a:lvl1pPr marL="0" indent="0">
              <a:buNone/>
              <a:defRPr sz="2400" b="1">
                <a:solidFill>
                  <a:schemeClr val="bg1"/>
                </a:solidFill>
                <a:latin typeface="+mj-lt"/>
              </a:defRPr>
            </a:lvl1pPr>
          </a:lstStyle>
          <a:p>
            <a:pPr lvl="0"/>
            <a:r>
              <a:rPr lang="pt-BR" dirty="0"/>
              <a:t>Título</a:t>
            </a:r>
          </a:p>
        </p:txBody>
      </p:sp>
      <p:sp>
        <p:nvSpPr>
          <p:cNvPr id="36" name="Text Placeholder 17">
            <a:extLst>
              <a:ext uri="{FF2B5EF4-FFF2-40B4-BE49-F238E27FC236}">
                <a16:creationId xmlns:a16="http://schemas.microsoft.com/office/drawing/2014/main" id="{70CF8BFB-D14E-4479-ADDB-160E8AF1CC53}"/>
              </a:ext>
            </a:extLst>
          </p:cNvPr>
          <p:cNvSpPr>
            <a:spLocks noGrp="1"/>
          </p:cNvSpPr>
          <p:nvPr>
            <p:ph type="body" sz="quarter" idx="25" hasCustomPrompt="1"/>
          </p:nvPr>
        </p:nvSpPr>
        <p:spPr>
          <a:xfrm>
            <a:off x="7635008" y="5764631"/>
            <a:ext cx="4145792" cy="396433"/>
          </a:xfrm>
          <a:prstGeom prst="rect">
            <a:avLst/>
          </a:prstGeom>
        </p:spPr>
        <p:txBody>
          <a:bodyPr/>
          <a:lstStyle>
            <a:lvl1pPr marL="0" indent="0">
              <a:buNone/>
              <a:defRPr sz="2000" b="0">
                <a:solidFill>
                  <a:schemeClr val="bg1"/>
                </a:solidFill>
                <a:latin typeface="+mn-lt"/>
              </a:defRPr>
            </a:lvl1pPr>
          </a:lstStyle>
          <a:p>
            <a:pPr lvl="0"/>
            <a:r>
              <a:rPr lang="pt-BR" dirty="0"/>
              <a:t>Descrição do tópico</a:t>
            </a:r>
          </a:p>
        </p:txBody>
      </p:sp>
    </p:spTree>
    <p:extLst>
      <p:ext uri="{BB962C8B-B14F-4D97-AF65-F5344CB8AC3E}">
        <p14:creationId xmlns:p14="http://schemas.microsoft.com/office/powerpoint/2010/main" val="2823488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Layout dup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5821912" y="365125"/>
            <a:ext cx="5716766" cy="1162877"/>
          </a:xfrm>
          <a:prstGeom prst="rect">
            <a:avLst/>
          </a:prstGeom>
        </p:spPr>
        <p:txBody>
          <a:bodyPr/>
          <a:lstStyle>
            <a:lvl1pPr algn="l">
              <a:defRPr b="1">
                <a:solidFill>
                  <a:schemeClr val="tx1"/>
                </a:solidFill>
              </a:defRPr>
            </a:lvl1pPr>
          </a:lstStyle>
          <a:p>
            <a:r>
              <a:rPr lang="en-US" dirty="0" err="1"/>
              <a:t>Título</a:t>
            </a:r>
            <a:r>
              <a:rPr lang="en-US" dirty="0"/>
              <a:t> com </a:t>
            </a:r>
            <a:r>
              <a:rPr lang="en-US" dirty="0" err="1"/>
              <a:t>até</a:t>
            </a:r>
            <a:br>
              <a:rPr lang="en-US" dirty="0"/>
            </a:br>
            <a:r>
              <a:rPr lang="en-US" dirty="0" err="1"/>
              <a:t>duas</a:t>
            </a:r>
            <a:r>
              <a:rPr lang="en-US" dirty="0"/>
              <a:t> </a:t>
            </a:r>
            <a:r>
              <a:rPr lang="en-US" dirty="0" err="1"/>
              <a:t>linhas</a:t>
            </a:r>
            <a:endParaRPr lang="pt-BR" dirty="0"/>
          </a:p>
        </p:txBody>
      </p:sp>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flipH="1">
            <a:off x="0" y="943684"/>
            <a:ext cx="5357091" cy="0"/>
          </a:xfrm>
          <a:prstGeom prst="line">
            <a:avLst/>
          </a:prstGeom>
          <a:solidFill>
            <a:srgbClr val="009ADD"/>
          </a:solidFill>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flipH="1">
            <a:off x="3463934" y="943684"/>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ross 9">
            <a:extLst>
              <a:ext uri="{FF2B5EF4-FFF2-40B4-BE49-F238E27FC236}">
                <a16:creationId xmlns:a16="http://schemas.microsoft.com/office/drawing/2014/main" id="{0E909C6A-5397-4FC5-904F-DD4410DC2110}"/>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Rectangle 8">
            <a:extLst>
              <a:ext uri="{FF2B5EF4-FFF2-40B4-BE49-F238E27FC236}">
                <a16:creationId xmlns:a16="http://schemas.microsoft.com/office/drawing/2014/main" id="{4FC03788-24AE-45DB-A56D-04E43C645E62}"/>
              </a:ext>
            </a:extLst>
          </p:cNvPr>
          <p:cNvSpPr/>
          <p:nvPr/>
        </p:nvSpPr>
        <p:spPr>
          <a:xfrm>
            <a:off x="11542295"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10">
            <a:extLst>
              <a:ext uri="{FF2B5EF4-FFF2-40B4-BE49-F238E27FC236}">
                <a16:creationId xmlns:a16="http://schemas.microsoft.com/office/drawing/2014/main" id="{339EA585-583E-4E38-BD2F-4313598349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5" name="Text Placeholder 11">
            <a:extLst>
              <a:ext uri="{FF2B5EF4-FFF2-40B4-BE49-F238E27FC236}">
                <a16:creationId xmlns:a16="http://schemas.microsoft.com/office/drawing/2014/main" id="{AB535AA4-5463-4092-ACC2-299F864FF474}"/>
              </a:ext>
            </a:extLst>
          </p:cNvPr>
          <p:cNvSpPr>
            <a:spLocks noGrp="1"/>
          </p:cNvSpPr>
          <p:nvPr>
            <p:ph type="body" sz="quarter" idx="11" hasCustomPrompt="1"/>
          </p:nvPr>
        </p:nvSpPr>
        <p:spPr>
          <a:xfrm>
            <a:off x="821017" y="1973263"/>
            <a:ext cx="4726807"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6" name="Text Placeholder 11">
            <a:extLst>
              <a:ext uri="{FF2B5EF4-FFF2-40B4-BE49-F238E27FC236}">
                <a16:creationId xmlns:a16="http://schemas.microsoft.com/office/drawing/2014/main" id="{F94A6109-5BEF-4390-8DF4-F59AE16F75B7}"/>
              </a:ext>
            </a:extLst>
          </p:cNvPr>
          <p:cNvSpPr>
            <a:spLocks noGrp="1"/>
          </p:cNvSpPr>
          <p:nvPr>
            <p:ph type="body" sz="quarter" idx="12" hasCustomPrompt="1"/>
          </p:nvPr>
        </p:nvSpPr>
        <p:spPr>
          <a:xfrm>
            <a:off x="5821912" y="1973263"/>
            <a:ext cx="4726807"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Tree>
    <p:extLst>
      <p:ext uri="{BB962C8B-B14F-4D97-AF65-F5344CB8AC3E}">
        <p14:creationId xmlns:p14="http://schemas.microsoft.com/office/powerpoint/2010/main" val="2573952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Layout Duplo com fot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flipH="1">
            <a:off x="0" y="943684"/>
            <a:ext cx="5357091" cy="0"/>
          </a:xfrm>
          <a:prstGeom prst="line">
            <a:avLst/>
          </a:prstGeom>
          <a:solidFill>
            <a:srgbClr val="009ADD"/>
          </a:solidFill>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flipH="1">
            <a:off x="3463934" y="943684"/>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ross 9">
            <a:extLst>
              <a:ext uri="{FF2B5EF4-FFF2-40B4-BE49-F238E27FC236}">
                <a16:creationId xmlns:a16="http://schemas.microsoft.com/office/drawing/2014/main" id="{0E909C6A-5397-4FC5-904F-DD4410DC2110}"/>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Rectangle 8">
            <a:extLst>
              <a:ext uri="{FF2B5EF4-FFF2-40B4-BE49-F238E27FC236}">
                <a16:creationId xmlns:a16="http://schemas.microsoft.com/office/drawing/2014/main" id="{4FC03788-24AE-45DB-A56D-04E43C645E62}"/>
              </a:ext>
            </a:extLst>
          </p:cNvPr>
          <p:cNvSpPr/>
          <p:nvPr/>
        </p:nvSpPr>
        <p:spPr>
          <a:xfrm>
            <a:off x="11542295"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10">
            <a:extLst>
              <a:ext uri="{FF2B5EF4-FFF2-40B4-BE49-F238E27FC236}">
                <a16:creationId xmlns:a16="http://schemas.microsoft.com/office/drawing/2014/main" id="{339EA585-583E-4E38-BD2F-4313598349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5" name="Text Placeholder 11">
            <a:extLst>
              <a:ext uri="{FF2B5EF4-FFF2-40B4-BE49-F238E27FC236}">
                <a16:creationId xmlns:a16="http://schemas.microsoft.com/office/drawing/2014/main" id="{AB535AA4-5463-4092-ACC2-299F864FF474}"/>
              </a:ext>
            </a:extLst>
          </p:cNvPr>
          <p:cNvSpPr>
            <a:spLocks noGrp="1"/>
          </p:cNvSpPr>
          <p:nvPr>
            <p:ph type="body" sz="quarter" idx="11" hasCustomPrompt="1"/>
          </p:nvPr>
        </p:nvSpPr>
        <p:spPr>
          <a:xfrm>
            <a:off x="821017" y="5580667"/>
            <a:ext cx="4726807" cy="435589"/>
          </a:xfrm>
          <a:prstGeom prst="rect">
            <a:avLst/>
          </a:prstGeom>
        </p:spPr>
        <p:txBody>
          <a:bodyPr/>
          <a:lstStyle>
            <a:lvl1pPr marL="0" indent="0">
              <a:buNone/>
              <a:defRPr sz="1800"/>
            </a:lvl1pPr>
            <a:lvl2pPr marL="457200" indent="0">
              <a:buNone/>
              <a:defRPr/>
            </a:lvl2pPr>
            <a:lvl5pPr marL="1828800" indent="0">
              <a:buNone/>
              <a:defRPr/>
            </a:lvl5pPr>
          </a:lstStyle>
          <a:p>
            <a:pPr lvl="0"/>
            <a:r>
              <a:rPr lang="en-US" dirty="0" err="1"/>
              <a:t>Legenda</a:t>
            </a:r>
            <a:endParaRPr lang="en-US" dirty="0"/>
          </a:p>
        </p:txBody>
      </p:sp>
      <p:sp>
        <p:nvSpPr>
          <p:cNvPr id="16" name="Text Placeholder 11">
            <a:extLst>
              <a:ext uri="{FF2B5EF4-FFF2-40B4-BE49-F238E27FC236}">
                <a16:creationId xmlns:a16="http://schemas.microsoft.com/office/drawing/2014/main" id="{F94A6109-5BEF-4390-8DF4-F59AE16F75B7}"/>
              </a:ext>
            </a:extLst>
          </p:cNvPr>
          <p:cNvSpPr>
            <a:spLocks noGrp="1"/>
          </p:cNvSpPr>
          <p:nvPr>
            <p:ph type="body" sz="quarter" idx="12" hasCustomPrompt="1"/>
          </p:nvPr>
        </p:nvSpPr>
        <p:spPr>
          <a:xfrm>
            <a:off x="5821912" y="5580667"/>
            <a:ext cx="4726807" cy="43558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vl2pPr marL="457200" indent="0">
              <a:buNone/>
              <a:defRPr/>
            </a:lvl2pPr>
            <a:lvl5pPr marL="1828800" indent="0">
              <a:buNone/>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err="1"/>
              <a:t>Legenda</a:t>
            </a:r>
            <a:endParaRPr lang="en-US" dirty="0"/>
          </a:p>
        </p:txBody>
      </p:sp>
      <p:sp>
        <p:nvSpPr>
          <p:cNvPr id="6" name="Picture Placeholder 5">
            <a:extLst>
              <a:ext uri="{FF2B5EF4-FFF2-40B4-BE49-F238E27FC236}">
                <a16:creationId xmlns:a16="http://schemas.microsoft.com/office/drawing/2014/main" id="{4C1D7FC2-AD88-4BEB-8ED4-0B0A99AC9164}"/>
              </a:ext>
            </a:extLst>
          </p:cNvPr>
          <p:cNvSpPr>
            <a:spLocks noGrp="1"/>
          </p:cNvSpPr>
          <p:nvPr>
            <p:ph type="pic" sz="quarter" idx="14"/>
          </p:nvPr>
        </p:nvSpPr>
        <p:spPr>
          <a:xfrm>
            <a:off x="5821912" y="1706253"/>
            <a:ext cx="4727575" cy="3814898"/>
          </a:xfrm>
          <a:prstGeom prst="rect">
            <a:avLst/>
          </a:prstGeom>
          <a:solidFill>
            <a:srgbClr val="000532"/>
          </a:solidFill>
        </p:spPr>
        <p:txBody>
          <a:bodyPr/>
          <a:lstStyle/>
          <a:p>
            <a:r>
              <a:rPr lang="en-US"/>
              <a:t>Click icon to add picture</a:t>
            </a:r>
            <a:endParaRPr lang="pt-BR"/>
          </a:p>
        </p:txBody>
      </p:sp>
      <p:sp>
        <p:nvSpPr>
          <p:cNvPr id="13" name="Picture Placeholder 5">
            <a:extLst>
              <a:ext uri="{FF2B5EF4-FFF2-40B4-BE49-F238E27FC236}">
                <a16:creationId xmlns:a16="http://schemas.microsoft.com/office/drawing/2014/main" id="{B19C702C-1335-4635-B9AE-28A346FFD3F4}"/>
              </a:ext>
            </a:extLst>
          </p:cNvPr>
          <p:cNvSpPr>
            <a:spLocks noGrp="1"/>
          </p:cNvSpPr>
          <p:nvPr>
            <p:ph type="pic" sz="quarter" idx="15"/>
          </p:nvPr>
        </p:nvSpPr>
        <p:spPr>
          <a:xfrm>
            <a:off x="820249" y="1706253"/>
            <a:ext cx="4727575" cy="3814898"/>
          </a:xfrm>
          <a:prstGeom prst="rect">
            <a:avLst/>
          </a:prstGeom>
          <a:solidFill>
            <a:srgbClr val="000532"/>
          </a:solidFill>
        </p:spPr>
        <p:txBody>
          <a:bodyPr/>
          <a:lstStyle/>
          <a:p>
            <a:r>
              <a:rPr lang="en-US"/>
              <a:t>Click icon to add picture</a:t>
            </a:r>
            <a:endParaRPr lang="pt-BR"/>
          </a:p>
        </p:txBody>
      </p:sp>
      <p:sp>
        <p:nvSpPr>
          <p:cNvPr id="12" name="Title 1">
            <a:extLst>
              <a:ext uri="{FF2B5EF4-FFF2-40B4-BE49-F238E27FC236}">
                <a16:creationId xmlns:a16="http://schemas.microsoft.com/office/drawing/2014/main" id="{B7B1F11E-6413-4C57-B6F4-6AEE08D459C1}"/>
              </a:ext>
            </a:extLst>
          </p:cNvPr>
          <p:cNvSpPr>
            <a:spLocks noGrp="1"/>
          </p:cNvSpPr>
          <p:nvPr>
            <p:ph type="title" hasCustomPrompt="1"/>
          </p:nvPr>
        </p:nvSpPr>
        <p:spPr>
          <a:xfrm>
            <a:off x="5821912" y="365125"/>
            <a:ext cx="5716766" cy="1162877"/>
          </a:xfrm>
          <a:prstGeom prst="rect">
            <a:avLst/>
          </a:prstGeom>
        </p:spPr>
        <p:txBody>
          <a:bodyPr/>
          <a:lstStyle>
            <a:lvl1pPr algn="l">
              <a:defRPr b="1">
                <a:solidFill>
                  <a:schemeClr val="tx1"/>
                </a:solidFill>
              </a:defRPr>
            </a:lvl1pPr>
          </a:lstStyle>
          <a:p>
            <a:r>
              <a:rPr lang="en-US" dirty="0" err="1"/>
              <a:t>Título</a:t>
            </a:r>
            <a:r>
              <a:rPr lang="en-US" dirty="0"/>
              <a:t> com </a:t>
            </a:r>
            <a:r>
              <a:rPr lang="en-US" dirty="0" err="1"/>
              <a:t>até</a:t>
            </a:r>
            <a:br>
              <a:rPr lang="en-US" dirty="0"/>
            </a:br>
            <a:r>
              <a:rPr lang="en-US" dirty="0" err="1"/>
              <a:t>duas</a:t>
            </a:r>
            <a:r>
              <a:rPr lang="en-US" dirty="0"/>
              <a:t> </a:t>
            </a:r>
            <a:r>
              <a:rPr lang="en-US" dirty="0" err="1"/>
              <a:t>linhas</a:t>
            </a:r>
            <a:endParaRPr lang="pt-BR" dirty="0"/>
          </a:p>
        </p:txBody>
      </p:sp>
    </p:spTree>
    <p:extLst>
      <p:ext uri="{BB962C8B-B14F-4D97-AF65-F5344CB8AC3E}">
        <p14:creationId xmlns:p14="http://schemas.microsoft.com/office/powerpoint/2010/main" val="2241231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 Green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6"/>
            <a:ext cx="6109588" cy="3381265"/>
          </a:xfrm>
        </p:spPr>
        <p:txBody>
          <a:bodyPr anchor="t">
            <a:normAutofit/>
          </a:bodyPr>
          <a:lstStyle>
            <a:lvl1pPr>
              <a:defRPr sz="6000"/>
            </a:lvl1pPr>
          </a:lstStyle>
          <a:p>
            <a:r>
              <a:rPr lang="en-US"/>
              <a:t>Click to add short closing sentence</a:t>
            </a:r>
          </a:p>
        </p:txBody>
      </p:sp>
      <p:pic>
        <p:nvPicPr>
          <p:cNvPr id="12" name="Graphic 11">
            <a:extLst>
              <a:ext uri="{FF2B5EF4-FFF2-40B4-BE49-F238E27FC236}">
                <a16:creationId xmlns:a16="http://schemas.microsoft.com/office/drawing/2014/main" id="{EFDA44A8-255F-47C9-B257-951087A30FA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5EC7BA9B-B3CC-4795-BF6A-AF3C73C4E4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52552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Layout tripl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91AED4-6441-408B-9153-2DD8B5E2339B}"/>
              </a:ext>
            </a:extLst>
          </p:cNvPr>
          <p:cNvSpPr/>
          <p:nvPr/>
        </p:nvSpPr>
        <p:spPr>
          <a:xfrm>
            <a:off x="-1400"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648305" y="648677"/>
            <a:ext cx="4704348" cy="830457"/>
          </a:xfrm>
          <a:prstGeom prst="rect">
            <a:avLst/>
          </a:prstGeom>
        </p:spPr>
        <p:txBody>
          <a:bodyPr/>
          <a:lstStyle>
            <a:lvl1pPr algn="r">
              <a:defRPr b="1">
                <a:solidFill>
                  <a:schemeClr val="tx1"/>
                </a:solidFill>
              </a:defRPr>
            </a:lvl1pPr>
          </a:lstStyle>
          <a:p>
            <a:r>
              <a:rPr lang="en-US" dirty="0" err="1"/>
              <a:t>Título</a:t>
            </a:r>
            <a:endParaRPr lang="pt-BR" dirty="0"/>
          </a:p>
        </p:txBody>
      </p:sp>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a:off x="5595486" y="1027906"/>
            <a:ext cx="6596514" cy="0"/>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a:off x="5595486" y="1027906"/>
            <a:ext cx="1894966"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D71AD525-0D8B-47E4-88DF-38DDA543BD3A}"/>
              </a:ext>
            </a:extLst>
          </p:cNvPr>
          <p:cNvSpPr/>
          <p:nvPr/>
        </p:nvSpPr>
        <p:spPr>
          <a:xfrm>
            <a:off x="247216"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Text Placeholder 11">
            <a:extLst>
              <a:ext uri="{FF2B5EF4-FFF2-40B4-BE49-F238E27FC236}">
                <a16:creationId xmlns:a16="http://schemas.microsoft.com/office/drawing/2014/main" id="{16C4E282-8BE3-4E4D-96A2-D64EC8E4D13B}"/>
              </a:ext>
            </a:extLst>
          </p:cNvPr>
          <p:cNvSpPr>
            <a:spLocks noGrp="1"/>
          </p:cNvSpPr>
          <p:nvPr>
            <p:ph type="body" sz="quarter" idx="11" hasCustomPrompt="1"/>
          </p:nvPr>
        </p:nvSpPr>
        <p:spPr>
          <a:xfrm>
            <a:off x="821017" y="1973263"/>
            <a:ext cx="3420000" cy="4042994"/>
          </a:xfrm>
          <a:prstGeom prst="rect">
            <a:avLst/>
          </a:prstGeom>
        </p:spPr>
        <p:txBody>
          <a:bodyPr/>
          <a:lstStyle>
            <a:lvl1pPr marL="342900" indent="-342900">
              <a:buFont typeface="Arial" panose="020B0604020202020204" pitchFamily="34" charset="0"/>
              <a:buChar char="•"/>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5" name="Text Placeholder 11">
            <a:extLst>
              <a:ext uri="{FF2B5EF4-FFF2-40B4-BE49-F238E27FC236}">
                <a16:creationId xmlns:a16="http://schemas.microsoft.com/office/drawing/2014/main" id="{C926BDC6-2314-41CD-8737-ED6E6FE38006}"/>
              </a:ext>
            </a:extLst>
          </p:cNvPr>
          <p:cNvSpPr>
            <a:spLocks noGrp="1"/>
          </p:cNvSpPr>
          <p:nvPr>
            <p:ph type="body" sz="quarter" idx="13" hasCustomPrompt="1"/>
          </p:nvPr>
        </p:nvSpPr>
        <p:spPr>
          <a:xfrm>
            <a:off x="8436989" y="1973263"/>
            <a:ext cx="3420000" cy="4042994"/>
          </a:xfrm>
          <a:prstGeom prst="rect">
            <a:avLst/>
          </a:prstGeom>
        </p:spPr>
        <p:txBody>
          <a:bodyPr/>
          <a:lstStyle>
            <a:lvl1pPr marL="342900" indent="-342900">
              <a:buFont typeface="Arial" panose="020B0604020202020204" pitchFamily="34" charset="0"/>
              <a:buChar char="•"/>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6" name="Text Placeholder 11">
            <a:extLst>
              <a:ext uri="{FF2B5EF4-FFF2-40B4-BE49-F238E27FC236}">
                <a16:creationId xmlns:a16="http://schemas.microsoft.com/office/drawing/2014/main" id="{D8750C04-F91D-47FD-915D-3CCC0600AA17}"/>
              </a:ext>
            </a:extLst>
          </p:cNvPr>
          <p:cNvSpPr>
            <a:spLocks noGrp="1"/>
          </p:cNvSpPr>
          <p:nvPr>
            <p:ph type="body" sz="quarter" idx="14" hasCustomPrompt="1"/>
          </p:nvPr>
        </p:nvSpPr>
        <p:spPr>
          <a:xfrm>
            <a:off x="4629003" y="1973263"/>
            <a:ext cx="3420000" cy="4042994"/>
          </a:xfrm>
          <a:prstGeom prst="rect">
            <a:avLst/>
          </a:prstGeom>
        </p:spPr>
        <p:txBody>
          <a:bodyPr/>
          <a:lstStyle>
            <a:lvl1pPr marL="342900" indent="-342900">
              <a:buFont typeface="Arial" panose="020B0604020202020204" pitchFamily="34" charset="0"/>
              <a:buChar char="•"/>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
        <p:nvSpPr>
          <p:cNvPr id="11" name="Date Placeholder 3">
            <a:extLst>
              <a:ext uri="{FF2B5EF4-FFF2-40B4-BE49-F238E27FC236}">
                <a16:creationId xmlns:a16="http://schemas.microsoft.com/office/drawing/2014/main" id="{24ED9AEC-D2AE-4E55-AFAD-6520511642C9}"/>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solidFill>
              </a:rPr>
              <a:t>www.fit-tecnologia.org.br</a:t>
            </a:r>
            <a:endParaRPr lang="pt-BR" dirty="0">
              <a:solidFill>
                <a:schemeClr val="bg1"/>
              </a:solidFill>
            </a:endParaRPr>
          </a:p>
        </p:txBody>
      </p:sp>
    </p:spTree>
    <p:extLst>
      <p:ext uri="{BB962C8B-B14F-4D97-AF65-F5344CB8AC3E}">
        <p14:creationId xmlns:p14="http://schemas.microsoft.com/office/powerpoint/2010/main" val="1725976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Layout triplo com foto">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96E6C0F8-C8A9-4BC9-AC69-6E8D0D376CFD}"/>
              </a:ext>
            </a:extLst>
          </p:cNvPr>
          <p:cNvSpPr>
            <a:spLocks noGrp="1"/>
          </p:cNvSpPr>
          <p:nvPr>
            <p:ph type="pic" sz="quarter" idx="17"/>
          </p:nvPr>
        </p:nvSpPr>
        <p:spPr>
          <a:xfrm>
            <a:off x="4628598" y="1706254"/>
            <a:ext cx="3421062" cy="3814894"/>
          </a:xfrm>
          <a:prstGeom prst="rect">
            <a:avLst/>
          </a:prstGeom>
          <a:solidFill>
            <a:srgbClr val="000532"/>
          </a:solidFill>
        </p:spPr>
        <p:txBody>
          <a:bodyPr/>
          <a:lstStyle/>
          <a:p>
            <a:r>
              <a:rPr lang="en-US"/>
              <a:t>Click icon to add picture</a:t>
            </a:r>
            <a:endParaRPr lang="pt-BR"/>
          </a:p>
        </p:txBody>
      </p:sp>
      <p:sp>
        <p:nvSpPr>
          <p:cNvPr id="12" name="Picture Placeholder 5">
            <a:extLst>
              <a:ext uri="{FF2B5EF4-FFF2-40B4-BE49-F238E27FC236}">
                <a16:creationId xmlns:a16="http://schemas.microsoft.com/office/drawing/2014/main" id="{E557D01B-F3F4-443E-A326-173B494F97E5}"/>
              </a:ext>
            </a:extLst>
          </p:cNvPr>
          <p:cNvSpPr>
            <a:spLocks noGrp="1"/>
          </p:cNvSpPr>
          <p:nvPr>
            <p:ph type="pic" sz="quarter" idx="16"/>
          </p:nvPr>
        </p:nvSpPr>
        <p:spPr>
          <a:xfrm>
            <a:off x="8436458" y="1706254"/>
            <a:ext cx="3421062" cy="3814894"/>
          </a:xfrm>
          <a:prstGeom prst="rect">
            <a:avLst/>
          </a:prstGeom>
          <a:solidFill>
            <a:srgbClr val="000532"/>
          </a:solidFill>
        </p:spPr>
        <p:txBody>
          <a:bodyPr/>
          <a:lstStyle/>
          <a:p>
            <a:r>
              <a:rPr lang="en-US"/>
              <a:t>Click icon to add picture</a:t>
            </a:r>
            <a:endParaRPr lang="pt-BR"/>
          </a:p>
        </p:txBody>
      </p:sp>
      <p:sp>
        <p:nvSpPr>
          <p:cNvPr id="6" name="Picture Placeholder 5">
            <a:extLst>
              <a:ext uri="{FF2B5EF4-FFF2-40B4-BE49-F238E27FC236}">
                <a16:creationId xmlns:a16="http://schemas.microsoft.com/office/drawing/2014/main" id="{296137D0-85DA-4543-ADE4-ED0ED0532FB8}"/>
              </a:ext>
            </a:extLst>
          </p:cNvPr>
          <p:cNvSpPr>
            <a:spLocks noGrp="1"/>
          </p:cNvSpPr>
          <p:nvPr>
            <p:ph type="pic" sz="quarter" idx="15"/>
          </p:nvPr>
        </p:nvSpPr>
        <p:spPr>
          <a:xfrm>
            <a:off x="820738" y="1706253"/>
            <a:ext cx="3421062" cy="3814894"/>
          </a:xfrm>
          <a:prstGeom prst="rect">
            <a:avLst/>
          </a:prstGeom>
          <a:solidFill>
            <a:srgbClr val="000532"/>
          </a:solidFill>
        </p:spPr>
        <p:txBody>
          <a:bodyPr/>
          <a:lstStyle/>
          <a:p>
            <a:r>
              <a:rPr lang="en-US"/>
              <a:t>Click icon to add picture</a:t>
            </a:r>
            <a:endParaRPr lang="pt-BR"/>
          </a:p>
        </p:txBody>
      </p:sp>
      <p:sp>
        <p:nvSpPr>
          <p:cNvPr id="10" name="Rectangle 9">
            <a:extLst>
              <a:ext uri="{FF2B5EF4-FFF2-40B4-BE49-F238E27FC236}">
                <a16:creationId xmlns:a16="http://schemas.microsoft.com/office/drawing/2014/main" id="{7191AED4-6441-408B-9153-2DD8B5E2339B}"/>
              </a:ext>
            </a:extLst>
          </p:cNvPr>
          <p:cNvSpPr/>
          <p:nvPr/>
        </p:nvSpPr>
        <p:spPr>
          <a:xfrm>
            <a:off x="-1400"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648305" y="648677"/>
            <a:ext cx="4704348" cy="830457"/>
          </a:xfrm>
          <a:prstGeom prst="rect">
            <a:avLst/>
          </a:prstGeom>
        </p:spPr>
        <p:txBody>
          <a:bodyPr/>
          <a:lstStyle>
            <a:lvl1pPr algn="r">
              <a:defRPr b="1">
                <a:solidFill>
                  <a:schemeClr val="tx1"/>
                </a:solidFill>
              </a:defRPr>
            </a:lvl1pPr>
          </a:lstStyle>
          <a:p>
            <a:r>
              <a:rPr lang="en-US" dirty="0" err="1"/>
              <a:t>Título</a:t>
            </a:r>
            <a:endParaRPr lang="pt-BR" dirty="0"/>
          </a:p>
        </p:txBody>
      </p:sp>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a:off x="5595486" y="1027906"/>
            <a:ext cx="6596514" cy="0"/>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a:off x="5595486" y="1027906"/>
            <a:ext cx="1894966"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D71AD525-0D8B-47E4-88DF-38DDA543BD3A}"/>
              </a:ext>
            </a:extLst>
          </p:cNvPr>
          <p:cNvSpPr/>
          <p:nvPr/>
        </p:nvSpPr>
        <p:spPr>
          <a:xfrm>
            <a:off x="247216"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Text Placeholder 11">
            <a:extLst>
              <a:ext uri="{FF2B5EF4-FFF2-40B4-BE49-F238E27FC236}">
                <a16:creationId xmlns:a16="http://schemas.microsoft.com/office/drawing/2014/main" id="{76AB3EC6-968C-4BBC-B74E-7DCFB25898EC}"/>
              </a:ext>
            </a:extLst>
          </p:cNvPr>
          <p:cNvSpPr>
            <a:spLocks noGrp="1"/>
          </p:cNvSpPr>
          <p:nvPr>
            <p:ph type="body" sz="quarter" idx="11" hasCustomPrompt="1"/>
          </p:nvPr>
        </p:nvSpPr>
        <p:spPr>
          <a:xfrm>
            <a:off x="821017" y="5580667"/>
            <a:ext cx="3420783" cy="435589"/>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Legenda</a:t>
            </a:r>
            <a:endParaRPr lang="en-US" dirty="0"/>
          </a:p>
        </p:txBody>
      </p:sp>
      <p:sp>
        <p:nvSpPr>
          <p:cNvPr id="18" name="Text Placeholder 11">
            <a:extLst>
              <a:ext uri="{FF2B5EF4-FFF2-40B4-BE49-F238E27FC236}">
                <a16:creationId xmlns:a16="http://schemas.microsoft.com/office/drawing/2014/main" id="{2BD9CC76-E910-43CF-9B86-2FB5D40F08BB}"/>
              </a:ext>
            </a:extLst>
          </p:cNvPr>
          <p:cNvSpPr>
            <a:spLocks noGrp="1"/>
          </p:cNvSpPr>
          <p:nvPr>
            <p:ph type="body" sz="quarter" idx="18" hasCustomPrompt="1"/>
          </p:nvPr>
        </p:nvSpPr>
        <p:spPr>
          <a:xfrm>
            <a:off x="4628877" y="5580667"/>
            <a:ext cx="3420783" cy="435589"/>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Legenda</a:t>
            </a:r>
            <a:endParaRPr lang="en-US" dirty="0"/>
          </a:p>
        </p:txBody>
      </p:sp>
      <p:sp>
        <p:nvSpPr>
          <p:cNvPr id="19" name="Text Placeholder 11">
            <a:extLst>
              <a:ext uri="{FF2B5EF4-FFF2-40B4-BE49-F238E27FC236}">
                <a16:creationId xmlns:a16="http://schemas.microsoft.com/office/drawing/2014/main" id="{0C3F619F-2785-48A8-AC80-F6E8EA9059D2}"/>
              </a:ext>
            </a:extLst>
          </p:cNvPr>
          <p:cNvSpPr>
            <a:spLocks noGrp="1"/>
          </p:cNvSpPr>
          <p:nvPr>
            <p:ph type="body" sz="quarter" idx="19" hasCustomPrompt="1"/>
          </p:nvPr>
        </p:nvSpPr>
        <p:spPr>
          <a:xfrm>
            <a:off x="8436458" y="5580667"/>
            <a:ext cx="3420783" cy="435589"/>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Legenda</a:t>
            </a:r>
            <a:endParaRPr lang="en-US" dirty="0"/>
          </a:p>
        </p:txBody>
      </p:sp>
      <p:sp>
        <p:nvSpPr>
          <p:cNvPr id="14" name="Date Placeholder 3">
            <a:extLst>
              <a:ext uri="{FF2B5EF4-FFF2-40B4-BE49-F238E27FC236}">
                <a16:creationId xmlns:a16="http://schemas.microsoft.com/office/drawing/2014/main" id="{B552CE1A-1F9B-41B1-9FA3-AA417962318F}"/>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solidFill>
              </a:rPr>
              <a:t>www.fit-tecnologia.org.br</a:t>
            </a:r>
            <a:endParaRPr lang="pt-BR" dirty="0">
              <a:solidFill>
                <a:schemeClr val="bg1"/>
              </a:solidFill>
            </a:endParaRPr>
          </a:p>
        </p:txBody>
      </p:sp>
    </p:spTree>
    <p:extLst>
      <p:ext uri="{BB962C8B-B14F-4D97-AF65-F5344CB8AC3E}">
        <p14:creationId xmlns:p14="http://schemas.microsoft.com/office/powerpoint/2010/main" val="235990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Fluxograma Claro">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861FCF5D-3BA2-4A34-8BC6-E4163006A663}"/>
              </a:ext>
            </a:extLst>
          </p:cNvPr>
          <p:cNvCxnSpPr>
            <a:cxnSpLocks/>
          </p:cNvCxnSpPr>
          <p:nvPr/>
        </p:nvCxnSpPr>
        <p:spPr>
          <a:xfrm>
            <a:off x="0" y="3910599"/>
            <a:ext cx="12192000" cy="37100"/>
          </a:xfrm>
          <a:prstGeom prst="line">
            <a:avLst/>
          </a:prstGeom>
          <a:ln w="28575">
            <a:solidFill>
              <a:srgbClr val="000532"/>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74F0969-21AF-4E6F-BE8C-D4C08F391726}"/>
              </a:ext>
            </a:extLst>
          </p:cNvPr>
          <p:cNvSpPr/>
          <p:nvPr/>
        </p:nvSpPr>
        <p:spPr>
          <a:xfrm>
            <a:off x="10019300" y="2315900"/>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ctangle 26">
            <a:extLst>
              <a:ext uri="{FF2B5EF4-FFF2-40B4-BE49-F238E27FC236}">
                <a16:creationId xmlns:a16="http://schemas.microsoft.com/office/drawing/2014/main" id="{920CA8A1-F1C0-4E45-8146-3FE372EFE804}"/>
              </a:ext>
            </a:extLst>
          </p:cNvPr>
          <p:cNvSpPr/>
          <p:nvPr/>
        </p:nvSpPr>
        <p:spPr>
          <a:xfrm>
            <a:off x="2359420" y="2315900"/>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Rectangle 27">
            <a:extLst>
              <a:ext uri="{FF2B5EF4-FFF2-40B4-BE49-F238E27FC236}">
                <a16:creationId xmlns:a16="http://schemas.microsoft.com/office/drawing/2014/main" id="{4DA17D7E-0427-46FE-9266-C040D9C0A875}"/>
              </a:ext>
            </a:extLst>
          </p:cNvPr>
          <p:cNvSpPr/>
          <p:nvPr/>
        </p:nvSpPr>
        <p:spPr>
          <a:xfrm>
            <a:off x="4274390" y="2315900"/>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Rectangle 28">
            <a:extLst>
              <a:ext uri="{FF2B5EF4-FFF2-40B4-BE49-F238E27FC236}">
                <a16:creationId xmlns:a16="http://schemas.microsoft.com/office/drawing/2014/main" id="{6881EAD3-3A50-466F-B1A4-65D2AF98224C}"/>
              </a:ext>
            </a:extLst>
          </p:cNvPr>
          <p:cNvSpPr/>
          <p:nvPr/>
        </p:nvSpPr>
        <p:spPr>
          <a:xfrm>
            <a:off x="6189360" y="2310982"/>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ctangle 30">
            <a:extLst>
              <a:ext uri="{FF2B5EF4-FFF2-40B4-BE49-F238E27FC236}">
                <a16:creationId xmlns:a16="http://schemas.microsoft.com/office/drawing/2014/main" id="{D0EF69C0-CB2D-464B-9D31-F0132A1C3D21}"/>
              </a:ext>
            </a:extLst>
          </p:cNvPr>
          <p:cNvSpPr/>
          <p:nvPr/>
        </p:nvSpPr>
        <p:spPr>
          <a:xfrm>
            <a:off x="8104330" y="2310982"/>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Oval 51">
            <a:extLst>
              <a:ext uri="{FF2B5EF4-FFF2-40B4-BE49-F238E27FC236}">
                <a16:creationId xmlns:a16="http://schemas.microsoft.com/office/drawing/2014/main" id="{CD01D59B-57B2-4E44-BB1D-DB49E789D802}"/>
              </a:ext>
            </a:extLst>
          </p:cNvPr>
          <p:cNvSpPr/>
          <p:nvPr/>
        </p:nvSpPr>
        <p:spPr>
          <a:xfrm>
            <a:off x="2665420" y="2408771"/>
            <a:ext cx="1116000" cy="1116000"/>
          </a:xfrm>
          <a:prstGeom prst="ellipse">
            <a:avLst/>
          </a:prstGeom>
          <a:solidFill>
            <a:srgbClr val="DF1B1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9" name="Oval 58">
            <a:extLst>
              <a:ext uri="{FF2B5EF4-FFF2-40B4-BE49-F238E27FC236}">
                <a16:creationId xmlns:a16="http://schemas.microsoft.com/office/drawing/2014/main" id="{CCCE9A58-37FE-45A7-A087-8BC92AE08F15}"/>
              </a:ext>
            </a:extLst>
          </p:cNvPr>
          <p:cNvSpPr/>
          <p:nvPr/>
        </p:nvSpPr>
        <p:spPr>
          <a:xfrm>
            <a:off x="4580390" y="2408771"/>
            <a:ext cx="1116000" cy="1116000"/>
          </a:xfrm>
          <a:prstGeom prst="ellipse">
            <a:avLst/>
          </a:prstGeom>
          <a:solidFill>
            <a:srgbClr val="F9620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0" name="Oval 59">
            <a:extLst>
              <a:ext uri="{FF2B5EF4-FFF2-40B4-BE49-F238E27FC236}">
                <a16:creationId xmlns:a16="http://schemas.microsoft.com/office/drawing/2014/main" id="{EAA0F202-EAED-4CE5-9583-F70DB1D9B821}"/>
              </a:ext>
            </a:extLst>
          </p:cNvPr>
          <p:cNvSpPr/>
          <p:nvPr/>
        </p:nvSpPr>
        <p:spPr>
          <a:xfrm>
            <a:off x="6495360" y="2408771"/>
            <a:ext cx="1116000" cy="1116000"/>
          </a:xfrm>
          <a:prstGeom prst="ellipse">
            <a:avLst/>
          </a:prstGeom>
          <a:solidFill>
            <a:srgbClr val="F9C11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1" name="Oval 60">
            <a:extLst>
              <a:ext uri="{FF2B5EF4-FFF2-40B4-BE49-F238E27FC236}">
                <a16:creationId xmlns:a16="http://schemas.microsoft.com/office/drawing/2014/main" id="{07A25C41-5F77-40C6-BE9B-9728209B66BF}"/>
              </a:ext>
            </a:extLst>
          </p:cNvPr>
          <p:cNvSpPr/>
          <p:nvPr/>
        </p:nvSpPr>
        <p:spPr>
          <a:xfrm>
            <a:off x="8410330" y="2408771"/>
            <a:ext cx="1116000" cy="1116000"/>
          </a:xfrm>
          <a:prstGeom prst="ellipse">
            <a:avLst/>
          </a:prstGeom>
          <a:solidFill>
            <a:srgbClr val="00BC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2" name="Oval 61">
            <a:extLst>
              <a:ext uri="{FF2B5EF4-FFF2-40B4-BE49-F238E27FC236}">
                <a16:creationId xmlns:a16="http://schemas.microsoft.com/office/drawing/2014/main" id="{AF647FAA-6F72-4FF6-9933-43DA6140F6C9}"/>
              </a:ext>
            </a:extLst>
          </p:cNvPr>
          <p:cNvSpPr/>
          <p:nvPr/>
        </p:nvSpPr>
        <p:spPr>
          <a:xfrm>
            <a:off x="10325300" y="2408771"/>
            <a:ext cx="1116000" cy="1116000"/>
          </a:xfrm>
          <a:prstGeom prst="ellipse">
            <a:avLst/>
          </a:prstGeom>
          <a:solidFill>
            <a:srgbClr val="009AD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ctangle 3">
            <a:extLst>
              <a:ext uri="{FF2B5EF4-FFF2-40B4-BE49-F238E27FC236}">
                <a16:creationId xmlns:a16="http://schemas.microsoft.com/office/drawing/2014/main" id="{B1C68573-BBE5-4F9D-9CFC-BA1336FE7A05}"/>
              </a:ext>
            </a:extLst>
          </p:cNvPr>
          <p:cNvSpPr/>
          <p:nvPr/>
        </p:nvSpPr>
        <p:spPr>
          <a:xfrm>
            <a:off x="444450" y="2310982"/>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Oval 1">
            <a:extLst>
              <a:ext uri="{FF2B5EF4-FFF2-40B4-BE49-F238E27FC236}">
                <a16:creationId xmlns:a16="http://schemas.microsoft.com/office/drawing/2014/main" id="{A42588D9-EDDC-439E-A417-3C162166CD4A}"/>
              </a:ext>
            </a:extLst>
          </p:cNvPr>
          <p:cNvSpPr/>
          <p:nvPr/>
        </p:nvSpPr>
        <p:spPr>
          <a:xfrm>
            <a:off x="750450" y="2408771"/>
            <a:ext cx="1116000" cy="1116000"/>
          </a:xfrm>
          <a:prstGeom prst="ellipse">
            <a:avLst/>
          </a:prstGeom>
          <a:solidFill>
            <a:srgbClr val="E02B8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 name="Straight Connector 4">
            <a:extLst>
              <a:ext uri="{FF2B5EF4-FFF2-40B4-BE49-F238E27FC236}">
                <a16:creationId xmlns:a16="http://schemas.microsoft.com/office/drawing/2014/main" id="{3C8C9A3D-86FC-4CDB-8C09-9C88E633D823}"/>
              </a:ext>
            </a:extLst>
          </p:cNvPr>
          <p:cNvCxnSpPr>
            <a:cxnSpLocks/>
            <a:endCxn id="6" idx="3"/>
          </p:cNvCxnSpPr>
          <p:nvPr/>
        </p:nvCxnSpPr>
        <p:spPr>
          <a:xfrm>
            <a:off x="0" y="1364260"/>
            <a:ext cx="7531510" cy="22918"/>
          </a:xfrm>
          <a:prstGeom prst="line">
            <a:avLst/>
          </a:prstGeom>
          <a:ln w="19050">
            <a:solidFill>
              <a:srgbClr val="00053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8F18D32-5677-4F19-84ED-5B6F5794FC6B}"/>
              </a:ext>
            </a:extLst>
          </p:cNvPr>
          <p:cNvSpPr/>
          <p:nvPr/>
        </p:nvSpPr>
        <p:spPr>
          <a:xfrm>
            <a:off x="4660491" y="1369178"/>
            <a:ext cx="2871019" cy="36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Text Placeholder 24">
            <a:extLst>
              <a:ext uri="{FF2B5EF4-FFF2-40B4-BE49-F238E27FC236}">
                <a16:creationId xmlns:a16="http://schemas.microsoft.com/office/drawing/2014/main" id="{E3D961F0-DA82-4E28-A408-31A48709509F}"/>
              </a:ext>
            </a:extLst>
          </p:cNvPr>
          <p:cNvSpPr>
            <a:spLocks noGrp="1"/>
          </p:cNvSpPr>
          <p:nvPr>
            <p:ph type="body" sz="quarter" idx="22" hasCustomPrompt="1"/>
          </p:nvPr>
        </p:nvSpPr>
        <p:spPr>
          <a:xfrm>
            <a:off x="3164681" y="648677"/>
            <a:ext cx="5862637" cy="623979"/>
          </a:xfrm>
          <a:prstGeom prst="rect">
            <a:avLst/>
          </a:prstGeom>
        </p:spPr>
        <p:txBody>
          <a:bodyPr/>
          <a:lstStyle>
            <a:lvl1pPr marL="0" indent="0" algn="ctr">
              <a:buNone/>
              <a:defRPr sz="4400" b="1">
                <a:solidFill>
                  <a:schemeClr val="tx1"/>
                </a:solidFill>
                <a:latin typeface="+mj-lt"/>
              </a:defRPr>
            </a:lvl1pPr>
          </a:lstStyle>
          <a:p>
            <a:pPr lvl="0"/>
            <a:r>
              <a:rPr lang="pt-BR" dirty="0"/>
              <a:t>Fluxograma</a:t>
            </a:r>
          </a:p>
        </p:txBody>
      </p:sp>
      <p:sp>
        <p:nvSpPr>
          <p:cNvPr id="39" name="Text Placeholder 17">
            <a:extLst>
              <a:ext uri="{FF2B5EF4-FFF2-40B4-BE49-F238E27FC236}">
                <a16:creationId xmlns:a16="http://schemas.microsoft.com/office/drawing/2014/main" id="{33FAE5BA-F4EA-4A08-840D-08E9F239F43C}"/>
              </a:ext>
            </a:extLst>
          </p:cNvPr>
          <p:cNvSpPr>
            <a:spLocks noGrp="1"/>
          </p:cNvSpPr>
          <p:nvPr>
            <p:ph type="body" sz="quarter" idx="12" hasCustomPrompt="1"/>
          </p:nvPr>
        </p:nvSpPr>
        <p:spPr>
          <a:xfrm>
            <a:off x="577103" y="3622704"/>
            <a:ext cx="1462694" cy="329605"/>
          </a:xfrm>
          <a:prstGeom prst="rect">
            <a:avLst/>
          </a:prstGeom>
        </p:spPr>
        <p:txBody>
          <a:bodyPr/>
          <a:lstStyle>
            <a:lvl1pPr marL="0" indent="0" algn="ctr">
              <a:buNone/>
              <a:defRPr sz="2000" b="1">
                <a:solidFill>
                  <a:srgbClr val="E02B86"/>
                </a:solidFill>
                <a:latin typeface="+mj-lt"/>
              </a:defRPr>
            </a:lvl1pPr>
          </a:lstStyle>
          <a:p>
            <a:pPr lvl="0"/>
            <a:r>
              <a:rPr lang="pt-BR" dirty="0"/>
              <a:t>Título</a:t>
            </a:r>
          </a:p>
        </p:txBody>
      </p:sp>
      <p:sp>
        <p:nvSpPr>
          <p:cNvPr id="40" name="Text Placeholder 17">
            <a:extLst>
              <a:ext uri="{FF2B5EF4-FFF2-40B4-BE49-F238E27FC236}">
                <a16:creationId xmlns:a16="http://schemas.microsoft.com/office/drawing/2014/main" id="{4E960A89-5651-4A33-8104-8ED6079AC59E}"/>
              </a:ext>
            </a:extLst>
          </p:cNvPr>
          <p:cNvSpPr>
            <a:spLocks noGrp="1"/>
          </p:cNvSpPr>
          <p:nvPr>
            <p:ph type="body" sz="quarter" idx="23" hasCustomPrompt="1"/>
          </p:nvPr>
        </p:nvSpPr>
        <p:spPr>
          <a:xfrm>
            <a:off x="2492073" y="3622704"/>
            <a:ext cx="1462694" cy="329605"/>
          </a:xfrm>
          <a:prstGeom prst="rect">
            <a:avLst/>
          </a:prstGeom>
        </p:spPr>
        <p:txBody>
          <a:bodyPr/>
          <a:lstStyle>
            <a:lvl1pPr marL="0" indent="0" algn="ctr">
              <a:buNone/>
              <a:defRPr sz="2000" b="1">
                <a:solidFill>
                  <a:srgbClr val="FF0000"/>
                </a:solidFill>
                <a:latin typeface="+mj-lt"/>
              </a:defRPr>
            </a:lvl1pPr>
          </a:lstStyle>
          <a:p>
            <a:pPr lvl="0"/>
            <a:r>
              <a:rPr lang="pt-BR" dirty="0"/>
              <a:t>Título</a:t>
            </a:r>
          </a:p>
        </p:txBody>
      </p:sp>
      <p:sp>
        <p:nvSpPr>
          <p:cNvPr id="41" name="Text Placeholder 17">
            <a:extLst>
              <a:ext uri="{FF2B5EF4-FFF2-40B4-BE49-F238E27FC236}">
                <a16:creationId xmlns:a16="http://schemas.microsoft.com/office/drawing/2014/main" id="{07925788-418B-40FA-9184-49025979589A}"/>
              </a:ext>
            </a:extLst>
          </p:cNvPr>
          <p:cNvSpPr>
            <a:spLocks noGrp="1"/>
          </p:cNvSpPr>
          <p:nvPr>
            <p:ph type="body" sz="quarter" idx="24" hasCustomPrompt="1"/>
          </p:nvPr>
        </p:nvSpPr>
        <p:spPr>
          <a:xfrm>
            <a:off x="4407043" y="3622704"/>
            <a:ext cx="1462694" cy="329605"/>
          </a:xfrm>
          <a:prstGeom prst="rect">
            <a:avLst/>
          </a:prstGeom>
        </p:spPr>
        <p:txBody>
          <a:bodyPr/>
          <a:lstStyle>
            <a:lvl1pPr marL="0" indent="0" algn="ctr">
              <a:buNone/>
              <a:defRPr sz="2000" b="1">
                <a:solidFill>
                  <a:srgbClr val="F9620C"/>
                </a:solidFill>
                <a:latin typeface="+mj-lt"/>
              </a:defRPr>
            </a:lvl1pPr>
          </a:lstStyle>
          <a:p>
            <a:pPr lvl="0"/>
            <a:r>
              <a:rPr lang="pt-BR" dirty="0"/>
              <a:t>Título</a:t>
            </a:r>
          </a:p>
        </p:txBody>
      </p:sp>
      <p:sp>
        <p:nvSpPr>
          <p:cNvPr id="42" name="Text Placeholder 17">
            <a:extLst>
              <a:ext uri="{FF2B5EF4-FFF2-40B4-BE49-F238E27FC236}">
                <a16:creationId xmlns:a16="http://schemas.microsoft.com/office/drawing/2014/main" id="{08548C41-F084-4071-A52E-C8E2FC0C7DFD}"/>
              </a:ext>
            </a:extLst>
          </p:cNvPr>
          <p:cNvSpPr>
            <a:spLocks noGrp="1"/>
          </p:cNvSpPr>
          <p:nvPr>
            <p:ph type="body" sz="quarter" idx="25" hasCustomPrompt="1"/>
          </p:nvPr>
        </p:nvSpPr>
        <p:spPr>
          <a:xfrm>
            <a:off x="6322013" y="3622704"/>
            <a:ext cx="1462694" cy="329605"/>
          </a:xfrm>
          <a:prstGeom prst="rect">
            <a:avLst/>
          </a:prstGeom>
        </p:spPr>
        <p:txBody>
          <a:bodyPr/>
          <a:lstStyle>
            <a:lvl1pPr marL="0" indent="0" algn="ctr">
              <a:buNone/>
              <a:defRPr sz="2000" b="1">
                <a:solidFill>
                  <a:srgbClr val="F9C111"/>
                </a:solidFill>
                <a:latin typeface="+mj-lt"/>
              </a:defRPr>
            </a:lvl1pPr>
          </a:lstStyle>
          <a:p>
            <a:pPr lvl="0"/>
            <a:r>
              <a:rPr lang="pt-BR" dirty="0"/>
              <a:t>Título</a:t>
            </a:r>
          </a:p>
        </p:txBody>
      </p:sp>
      <p:sp>
        <p:nvSpPr>
          <p:cNvPr id="43" name="Text Placeholder 17">
            <a:extLst>
              <a:ext uri="{FF2B5EF4-FFF2-40B4-BE49-F238E27FC236}">
                <a16:creationId xmlns:a16="http://schemas.microsoft.com/office/drawing/2014/main" id="{C0DAA4E2-A46D-4F9A-A578-CFC3118F97DF}"/>
              </a:ext>
            </a:extLst>
          </p:cNvPr>
          <p:cNvSpPr>
            <a:spLocks noGrp="1"/>
          </p:cNvSpPr>
          <p:nvPr>
            <p:ph type="body" sz="quarter" idx="26" hasCustomPrompt="1"/>
          </p:nvPr>
        </p:nvSpPr>
        <p:spPr>
          <a:xfrm>
            <a:off x="8236983" y="3622704"/>
            <a:ext cx="1462694" cy="329605"/>
          </a:xfrm>
          <a:prstGeom prst="rect">
            <a:avLst/>
          </a:prstGeom>
        </p:spPr>
        <p:txBody>
          <a:bodyPr/>
          <a:lstStyle>
            <a:lvl1pPr marL="0" indent="0" algn="ctr">
              <a:buNone/>
              <a:defRPr sz="2000" b="1">
                <a:solidFill>
                  <a:srgbClr val="00BC29"/>
                </a:solidFill>
                <a:latin typeface="+mj-lt"/>
              </a:defRPr>
            </a:lvl1pPr>
          </a:lstStyle>
          <a:p>
            <a:pPr lvl="0"/>
            <a:r>
              <a:rPr lang="pt-BR" dirty="0"/>
              <a:t>Título</a:t>
            </a:r>
          </a:p>
        </p:txBody>
      </p:sp>
      <p:sp>
        <p:nvSpPr>
          <p:cNvPr id="44" name="Text Placeholder 17">
            <a:extLst>
              <a:ext uri="{FF2B5EF4-FFF2-40B4-BE49-F238E27FC236}">
                <a16:creationId xmlns:a16="http://schemas.microsoft.com/office/drawing/2014/main" id="{90A5345F-4BC5-484A-AFE4-62614BD72BB0}"/>
              </a:ext>
            </a:extLst>
          </p:cNvPr>
          <p:cNvSpPr>
            <a:spLocks noGrp="1"/>
          </p:cNvSpPr>
          <p:nvPr>
            <p:ph type="body" sz="quarter" idx="27" hasCustomPrompt="1"/>
          </p:nvPr>
        </p:nvSpPr>
        <p:spPr>
          <a:xfrm>
            <a:off x="1015195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5" name="Text Placeholder 17">
            <a:extLst>
              <a:ext uri="{FF2B5EF4-FFF2-40B4-BE49-F238E27FC236}">
                <a16:creationId xmlns:a16="http://schemas.microsoft.com/office/drawing/2014/main" id="{D87A67AF-FC7E-4A21-BC3F-5EC7B4B01441}"/>
              </a:ext>
            </a:extLst>
          </p:cNvPr>
          <p:cNvSpPr>
            <a:spLocks noGrp="1"/>
          </p:cNvSpPr>
          <p:nvPr>
            <p:ph type="body" sz="quarter" idx="17" hasCustomPrompt="1"/>
          </p:nvPr>
        </p:nvSpPr>
        <p:spPr>
          <a:xfrm>
            <a:off x="57527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6" name="Text Placeholder 17">
            <a:extLst>
              <a:ext uri="{FF2B5EF4-FFF2-40B4-BE49-F238E27FC236}">
                <a16:creationId xmlns:a16="http://schemas.microsoft.com/office/drawing/2014/main" id="{90562F8E-EA63-4CAB-801C-DF9EC3A7A4A5}"/>
              </a:ext>
            </a:extLst>
          </p:cNvPr>
          <p:cNvSpPr>
            <a:spLocks noGrp="1"/>
          </p:cNvSpPr>
          <p:nvPr>
            <p:ph type="body" sz="quarter" idx="28" hasCustomPrompt="1"/>
          </p:nvPr>
        </p:nvSpPr>
        <p:spPr>
          <a:xfrm>
            <a:off x="249024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7" name="Text Placeholder 17">
            <a:extLst>
              <a:ext uri="{FF2B5EF4-FFF2-40B4-BE49-F238E27FC236}">
                <a16:creationId xmlns:a16="http://schemas.microsoft.com/office/drawing/2014/main" id="{83AFE471-52E2-426A-A282-AA45CFB47816}"/>
              </a:ext>
            </a:extLst>
          </p:cNvPr>
          <p:cNvSpPr>
            <a:spLocks noGrp="1"/>
          </p:cNvSpPr>
          <p:nvPr>
            <p:ph type="body" sz="quarter" idx="29" hasCustomPrompt="1"/>
          </p:nvPr>
        </p:nvSpPr>
        <p:spPr>
          <a:xfrm>
            <a:off x="440521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8" name="Text Placeholder 17">
            <a:extLst>
              <a:ext uri="{FF2B5EF4-FFF2-40B4-BE49-F238E27FC236}">
                <a16:creationId xmlns:a16="http://schemas.microsoft.com/office/drawing/2014/main" id="{5C42CAD4-CE50-4A28-AF62-DABE00BCABE6}"/>
              </a:ext>
            </a:extLst>
          </p:cNvPr>
          <p:cNvSpPr>
            <a:spLocks noGrp="1"/>
          </p:cNvSpPr>
          <p:nvPr>
            <p:ph type="body" sz="quarter" idx="30" hasCustomPrompt="1"/>
          </p:nvPr>
        </p:nvSpPr>
        <p:spPr>
          <a:xfrm>
            <a:off x="632018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9" name="Text Placeholder 17">
            <a:extLst>
              <a:ext uri="{FF2B5EF4-FFF2-40B4-BE49-F238E27FC236}">
                <a16:creationId xmlns:a16="http://schemas.microsoft.com/office/drawing/2014/main" id="{21A96239-6875-4249-B442-A0F4586320DF}"/>
              </a:ext>
            </a:extLst>
          </p:cNvPr>
          <p:cNvSpPr>
            <a:spLocks noGrp="1"/>
          </p:cNvSpPr>
          <p:nvPr>
            <p:ph type="body" sz="quarter" idx="31" hasCustomPrompt="1"/>
          </p:nvPr>
        </p:nvSpPr>
        <p:spPr>
          <a:xfrm>
            <a:off x="823515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50" name="Text Placeholder 17">
            <a:extLst>
              <a:ext uri="{FF2B5EF4-FFF2-40B4-BE49-F238E27FC236}">
                <a16:creationId xmlns:a16="http://schemas.microsoft.com/office/drawing/2014/main" id="{56FC3AE6-01B9-4297-9E23-5076B1DF765A}"/>
              </a:ext>
            </a:extLst>
          </p:cNvPr>
          <p:cNvSpPr>
            <a:spLocks noGrp="1"/>
          </p:cNvSpPr>
          <p:nvPr>
            <p:ph type="body" sz="quarter" idx="32" hasCustomPrompt="1"/>
          </p:nvPr>
        </p:nvSpPr>
        <p:spPr>
          <a:xfrm>
            <a:off x="1015012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pic>
        <p:nvPicPr>
          <p:cNvPr id="57" name="Picture 56">
            <a:extLst>
              <a:ext uri="{FF2B5EF4-FFF2-40B4-BE49-F238E27FC236}">
                <a16:creationId xmlns:a16="http://schemas.microsoft.com/office/drawing/2014/main" id="{0553C722-5915-4EA3-9453-951EFC4D4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55977" y="2470588"/>
            <a:ext cx="962878" cy="936000"/>
          </a:xfrm>
          <a:prstGeom prst="rect">
            <a:avLst/>
          </a:prstGeom>
        </p:spPr>
      </p:pic>
      <p:sp>
        <p:nvSpPr>
          <p:cNvPr id="63" name="Cross 62">
            <a:extLst>
              <a:ext uri="{FF2B5EF4-FFF2-40B4-BE49-F238E27FC236}">
                <a16:creationId xmlns:a16="http://schemas.microsoft.com/office/drawing/2014/main" id="{862B7436-8B44-47AF-AC4C-2C13119C5C1C}"/>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587882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Fluxograma Escuro">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861FCF5D-3BA2-4A34-8BC6-E4163006A663}"/>
              </a:ext>
            </a:extLst>
          </p:cNvPr>
          <p:cNvCxnSpPr>
            <a:cxnSpLocks/>
          </p:cNvCxnSpPr>
          <p:nvPr/>
        </p:nvCxnSpPr>
        <p:spPr>
          <a:xfrm>
            <a:off x="0" y="3910599"/>
            <a:ext cx="12192000" cy="37100"/>
          </a:xfrm>
          <a:prstGeom prst="line">
            <a:avLst/>
          </a:prstGeom>
          <a:ln w="28575">
            <a:solidFill>
              <a:srgbClr val="000532"/>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74F0969-21AF-4E6F-BE8C-D4C08F391726}"/>
              </a:ext>
            </a:extLst>
          </p:cNvPr>
          <p:cNvSpPr/>
          <p:nvPr/>
        </p:nvSpPr>
        <p:spPr>
          <a:xfrm>
            <a:off x="10019300" y="2315900"/>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ctangle 26">
            <a:extLst>
              <a:ext uri="{FF2B5EF4-FFF2-40B4-BE49-F238E27FC236}">
                <a16:creationId xmlns:a16="http://schemas.microsoft.com/office/drawing/2014/main" id="{920CA8A1-F1C0-4E45-8146-3FE372EFE804}"/>
              </a:ext>
            </a:extLst>
          </p:cNvPr>
          <p:cNvSpPr/>
          <p:nvPr/>
        </p:nvSpPr>
        <p:spPr>
          <a:xfrm>
            <a:off x="2359420" y="2315900"/>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Rectangle 27">
            <a:extLst>
              <a:ext uri="{FF2B5EF4-FFF2-40B4-BE49-F238E27FC236}">
                <a16:creationId xmlns:a16="http://schemas.microsoft.com/office/drawing/2014/main" id="{4DA17D7E-0427-46FE-9266-C040D9C0A875}"/>
              </a:ext>
            </a:extLst>
          </p:cNvPr>
          <p:cNvSpPr/>
          <p:nvPr/>
        </p:nvSpPr>
        <p:spPr>
          <a:xfrm>
            <a:off x="4274390" y="2315900"/>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Rectangle 28">
            <a:extLst>
              <a:ext uri="{FF2B5EF4-FFF2-40B4-BE49-F238E27FC236}">
                <a16:creationId xmlns:a16="http://schemas.microsoft.com/office/drawing/2014/main" id="{6881EAD3-3A50-466F-B1A4-65D2AF98224C}"/>
              </a:ext>
            </a:extLst>
          </p:cNvPr>
          <p:cNvSpPr/>
          <p:nvPr/>
        </p:nvSpPr>
        <p:spPr>
          <a:xfrm>
            <a:off x="6189360" y="2310982"/>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ctangle 30">
            <a:extLst>
              <a:ext uri="{FF2B5EF4-FFF2-40B4-BE49-F238E27FC236}">
                <a16:creationId xmlns:a16="http://schemas.microsoft.com/office/drawing/2014/main" id="{D0EF69C0-CB2D-464B-9D31-F0132A1C3D21}"/>
              </a:ext>
            </a:extLst>
          </p:cNvPr>
          <p:cNvSpPr/>
          <p:nvPr/>
        </p:nvSpPr>
        <p:spPr>
          <a:xfrm>
            <a:off x="8104330" y="2310982"/>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Oval 51">
            <a:extLst>
              <a:ext uri="{FF2B5EF4-FFF2-40B4-BE49-F238E27FC236}">
                <a16:creationId xmlns:a16="http://schemas.microsoft.com/office/drawing/2014/main" id="{CD01D59B-57B2-4E44-BB1D-DB49E789D802}"/>
              </a:ext>
            </a:extLst>
          </p:cNvPr>
          <p:cNvSpPr/>
          <p:nvPr/>
        </p:nvSpPr>
        <p:spPr>
          <a:xfrm>
            <a:off x="2665420" y="2408771"/>
            <a:ext cx="1116000" cy="1116000"/>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9" name="Oval 58">
            <a:extLst>
              <a:ext uri="{FF2B5EF4-FFF2-40B4-BE49-F238E27FC236}">
                <a16:creationId xmlns:a16="http://schemas.microsoft.com/office/drawing/2014/main" id="{CCCE9A58-37FE-45A7-A087-8BC92AE08F15}"/>
              </a:ext>
            </a:extLst>
          </p:cNvPr>
          <p:cNvSpPr/>
          <p:nvPr/>
        </p:nvSpPr>
        <p:spPr>
          <a:xfrm>
            <a:off x="4580390" y="2408771"/>
            <a:ext cx="1116000" cy="1116000"/>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0" name="Oval 59">
            <a:extLst>
              <a:ext uri="{FF2B5EF4-FFF2-40B4-BE49-F238E27FC236}">
                <a16:creationId xmlns:a16="http://schemas.microsoft.com/office/drawing/2014/main" id="{EAA0F202-EAED-4CE5-9583-F70DB1D9B821}"/>
              </a:ext>
            </a:extLst>
          </p:cNvPr>
          <p:cNvSpPr/>
          <p:nvPr/>
        </p:nvSpPr>
        <p:spPr>
          <a:xfrm>
            <a:off x="6495360" y="2408771"/>
            <a:ext cx="1116000" cy="1116000"/>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1" name="Oval 60">
            <a:extLst>
              <a:ext uri="{FF2B5EF4-FFF2-40B4-BE49-F238E27FC236}">
                <a16:creationId xmlns:a16="http://schemas.microsoft.com/office/drawing/2014/main" id="{07A25C41-5F77-40C6-BE9B-9728209B66BF}"/>
              </a:ext>
            </a:extLst>
          </p:cNvPr>
          <p:cNvSpPr/>
          <p:nvPr/>
        </p:nvSpPr>
        <p:spPr>
          <a:xfrm>
            <a:off x="8410330" y="2408771"/>
            <a:ext cx="1116000" cy="1116000"/>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2" name="Oval 61">
            <a:extLst>
              <a:ext uri="{FF2B5EF4-FFF2-40B4-BE49-F238E27FC236}">
                <a16:creationId xmlns:a16="http://schemas.microsoft.com/office/drawing/2014/main" id="{AF647FAA-6F72-4FF6-9933-43DA6140F6C9}"/>
              </a:ext>
            </a:extLst>
          </p:cNvPr>
          <p:cNvSpPr/>
          <p:nvPr/>
        </p:nvSpPr>
        <p:spPr>
          <a:xfrm>
            <a:off x="10325300" y="2408771"/>
            <a:ext cx="1116000" cy="1116000"/>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ctangle 3">
            <a:extLst>
              <a:ext uri="{FF2B5EF4-FFF2-40B4-BE49-F238E27FC236}">
                <a16:creationId xmlns:a16="http://schemas.microsoft.com/office/drawing/2014/main" id="{B1C68573-BBE5-4F9D-9CFC-BA1336FE7A05}"/>
              </a:ext>
            </a:extLst>
          </p:cNvPr>
          <p:cNvSpPr/>
          <p:nvPr/>
        </p:nvSpPr>
        <p:spPr>
          <a:xfrm>
            <a:off x="444450" y="2310982"/>
            <a:ext cx="1728000" cy="280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Oval 1">
            <a:extLst>
              <a:ext uri="{FF2B5EF4-FFF2-40B4-BE49-F238E27FC236}">
                <a16:creationId xmlns:a16="http://schemas.microsoft.com/office/drawing/2014/main" id="{A42588D9-EDDC-439E-A417-3C162166CD4A}"/>
              </a:ext>
            </a:extLst>
          </p:cNvPr>
          <p:cNvSpPr/>
          <p:nvPr/>
        </p:nvSpPr>
        <p:spPr>
          <a:xfrm>
            <a:off x="750450" y="2408771"/>
            <a:ext cx="1116000" cy="1116000"/>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 name="Straight Connector 4">
            <a:extLst>
              <a:ext uri="{FF2B5EF4-FFF2-40B4-BE49-F238E27FC236}">
                <a16:creationId xmlns:a16="http://schemas.microsoft.com/office/drawing/2014/main" id="{3C8C9A3D-86FC-4CDB-8C09-9C88E633D823}"/>
              </a:ext>
            </a:extLst>
          </p:cNvPr>
          <p:cNvCxnSpPr>
            <a:cxnSpLocks/>
            <a:endCxn id="6" idx="3"/>
          </p:cNvCxnSpPr>
          <p:nvPr/>
        </p:nvCxnSpPr>
        <p:spPr>
          <a:xfrm>
            <a:off x="0" y="1364260"/>
            <a:ext cx="7531510" cy="22918"/>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8F18D32-5677-4F19-84ED-5B6F5794FC6B}"/>
              </a:ext>
            </a:extLst>
          </p:cNvPr>
          <p:cNvSpPr/>
          <p:nvPr/>
        </p:nvSpPr>
        <p:spPr>
          <a:xfrm>
            <a:off x="4660491" y="1369178"/>
            <a:ext cx="2871019"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Text Placeholder 24">
            <a:extLst>
              <a:ext uri="{FF2B5EF4-FFF2-40B4-BE49-F238E27FC236}">
                <a16:creationId xmlns:a16="http://schemas.microsoft.com/office/drawing/2014/main" id="{E3D961F0-DA82-4E28-A408-31A48709509F}"/>
              </a:ext>
            </a:extLst>
          </p:cNvPr>
          <p:cNvSpPr>
            <a:spLocks noGrp="1"/>
          </p:cNvSpPr>
          <p:nvPr>
            <p:ph type="body" sz="quarter" idx="22" hasCustomPrompt="1"/>
          </p:nvPr>
        </p:nvSpPr>
        <p:spPr>
          <a:xfrm>
            <a:off x="3164681" y="648677"/>
            <a:ext cx="5862637" cy="623979"/>
          </a:xfrm>
          <a:prstGeom prst="rect">
            <a:avLst/>
          </a:prstGeom>
        </p:spPr>
        <p:txBody>
          <a:bodyPr/>
          <a:lstStyle>
            <a:lvl1pPr marL="0" indent="0" algn="ctr">
              <a:buNone/>
              <a:defRPr sz="4400" b="1">
                <a:solidFill>
                  <a:schemeClr val="tx1"/>
                </a:solidFill>
                <a:latin typeface="+mj-lt"/>
              </a:defRPr>
            </a:lvl1pPr>
          </a:lstStyle>
          <a:p>
            <a:pPr lvl="0"/>
            <a:r>
              <a:rPr lang="pt-BR" dirty="0"/>
              <a:t>Fluxograma</a:t>
            </a:r>
          </a:p>
        </p:txBody>
      </p:sp>
      <p:sp>
        <p:nvSpPr>
          <p:cNvPr id="39" name="Text Placeholder 17">
            <a:extLst>
              <a:ext uri="{FF2B5EF4-FFF2-40B4-BE49-F238E27FC236}">
                <a16:creationId xmlns:a16="http://schemas.microsoft.com/office/drawing/2014/main" id="{33FAE5BA-F4EA-4A08-840D-08E9F239F43C}"/>
              </a:ext>
            </a:extLst>
          </p:cNvPr>
          <p:cNvSpPr>
            <a:spLocks noGrp="1"/>
          </p:cNvSpPr>
          <p:nvPr>
            <p:ph type="body" sz="quarter" idx="12" hasCustomPrompt="1"/>
          </p:nvPr>
        </p:nvSpPr>
        <p:spPr>
          <a:xfrm>
            <a:off x="57710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0" name="Text Placeholder 17">
            <a:extLst>
              <a:ext uri="{FF2B5EF4-FFF2-40B4-BE49-F238E27FC236}">
                <a16:creationId xmlns:a16="http://schemas.microsoft.com/office/drawing/2014/main" id="{4E960A89-5651-4A33-8104-8ED6079AC59E}"/>
              </a:ext>
            </a:extLst>
          </p:cNvPr>
          <p:cNvSpPr>
            <a:spLocks noGrp="1"/>
          </p:cNvSpPr>
          <p:nvPr>
            <p:ph type="body" sz="quarter" idx="23" hasCustomPrompt="1"/>
          </p:nvPr>
        </p:nvSpPr>
        <p:spPr>
          <a:xfrm>
            <a:off x="249207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1" name="Text Placeholder 17">
            <a:extLst>
              <a:ext uri="{FF2B5EF4-FFF2-40B4-BE49-F238E27FC236}">
                <a16:creationId xmlns:a16="http://schemas.microsoft.com/office/drawing/2014/main" id="{07925788-418B-40FA-9184-49025979589A}"/>
              </a:ext>
            </a:extLst>
          </p:cNvPr>
          <p:cNvSpPr>
            <a:spLocks noGrp="1"/>
          </p:cNvSpPr>
          <p:nvPr>
            <p:ph type="body" sz="quarter" idx="24" hasCustomPrompt="1"/>
          </p:nvPr>
        </p:nvSpPr>
        <p:spPr>
          <a:xfrm>
            <a:off x="440704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2" name="Text Placeholder 17">
            <a:extLst>
              <a:ext uri="{FF2B5EF4-FFF2-40B4-BE49-F238E27FC236}">
                <a16:creationId xmlns:a16="http://schemas.microsoft.com/office/drawing/2014/main" id="{08548C41-F084-4071-A52E-C8E2FC0C7DFD}"/>
              </a:ext>
            </a:extLst>
          </p:cNvPr>
          <p:cNvSpPr>
            <a:spLocks noGrp="1"/>
          </p:cNvSpPr>
          <p:nvPr>
            <p:ph type="body" sz="quarter" idx="25" hasCustomPrompt="1"/>
          </p:nvPr>
        </p:nvSpPr>
        <p:spPr>
          <a:xfrm>
            <a:off x="632201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3" name="Text Placeholder 17">
            <a:extLst>
              <a:ext uri="{FF2B5EF4-FFF2-40B4-BE49-F238E27FC236}">
                <a16:creationId xmlns:a16="http://schemas.microsoft.com/office/drawing/2014/main" id="{C0DAA4E2-A46D-4F9A-A578-CFC3118F97DF}"/>
              </a:ext>
            </a:extLst>
          </p:cNvPr>
          <p:cNvSpPr>
            <a:spLocks noGrp="1"/>
          </p:cNvSpPr>
          <p:nvPr>
            <p:ph type="body" sz="quarter" idx="26" hasCustomPrompt="1"/>
          </p:nvPr>
        </p:nvSpPr>
        <p:spPr>
          <a:xfrm>
            <a:off x="823698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4" name="Text Placeholder 17">
            <a:extLst>
              <a:ext uri="{FF2B5EF4-FFF2-40B4-BE49-F238E27FC236}">
                <a16:creationId xmlns:a16="http://schemas.microsoft.com/office/drawing/2014/main" id="{90A5345F-4BC5-484A-AFE4-62614BD72BB0}"/>
              </a:ext>
            </a:extLst>
          </p:cNvPr>
          <p:cNvSpPr>
            <a:spLocks noGrp="1"/>
          </p:cNvSpPr>
          <p:nvPr>
            <p:ph type="body" sz="quarter" idx="27" hasCustomPrompt="1"/>
          </p:nvPr>
        </p:nvSpPr>
        <p:spPr>
          <a:xfrm>
            <a:off x="10151953" y="3622704"/>
            <a:ext cx="1462694" cy="329605"/>
          </a:xfrm>
          <a:prstGeom prst="rect">
            <a:avLst/>
          </a:prstGeom>
        </p:spPr>
        <p:txBody>
          <a:bodyPr/>
          <a:lstStyle>
            <a:lvl1pPr marL="0" indent="0" algn="ctr">
              <a:buNone/>
              <a:defRPr sz="2000" b="1">
                <a:solidFill>
                  <a:srgbClr val="009ADD"/>
                </a:solidFill>
                <a:latin typeface="+mj-lt"/>
              </a:defRPr>
            </a:lvl1pPr>
          </a:lstStyle>
          <a:p>
            <a:pPr lvl="0"/>
            <a:r>
              <a:rPr lang="pt-BR" dirty="0"/>
              <a:t>Título</a:t>
            </a:r>
          </a:p>
        </p:txBody>
      </p:sp>
      <p:sp>
        <p:nvSpPr>
          <p:cNvPr id="45" name="Text Placeholder 17">
            <a:extLst>
              <a:ext uri="{FF2B5EF4-FFF2-40B4-BE49-F238E27FC236}">
                <a16:creationId xmlns:a16="http://schemas.microsoft.com/office/drawing/2014/main" id="{D87A67AF-FC7E-4A21-BC3F-5EC7B4B01441}"/>
              </a:ext>
            </a:extLst>
          </p:cNvPr>
          <p:cNvSpPr>
            <a:spLocks noGrp="1"/>
          </p:cNvSpPr>
          <p:nvPr>
            <p:ph type="body" sz="quarter" idx="17" hasCustomPrompt="1"/>
          </p:nvPr>
        </p:nvSpPr>
        <p:spPr>
          <a:xfrm>
            <a:off x="57527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6" name="Text Placeholder 17">
            <a:extLst>
              <a:ext uri="{FF2B5EF4-FFF2-40B4-BE49-F238E27FC236}">
                <a16:creationId xmlns:a16="http://schemas.microsoft.com/office/drawing/2014/main" id="{90562F8E-EA63-4CAB-801C-DF9EC3A7A4A5}"/>
              </a:ext>
            </a:extLst>
          </p:cNvPr>
          <p:cNvSpPr>
            <a:spLocks noGrp="1"/>
          </p:cNvSpPr>
          <p:nvPr>
            <p:ph type="body" sz="quarter" idx="28" hasCustomPrompt="1"/>
          </p:nvPr>
        </p:nvSpPr>
        <p:spPr>
          <a:xfrm>
            <a:off x="249024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7" name="Text Placeholder 17">
            <a:extLst>
              <a:ext uri="{FF2B5EF4-FFF2-40B4-BE49-F238E27FC236}">
                <a16:creationId xmlns:a16="http://schemas.microsoft.com/office/drawing/2014/main" id="{83AFE471-52E2-426A-A282-AA45CFB47816}"/>
              </a:ext>
            </a:extLst>
          </p:cNvPr>
          <p:cNvSpPr>
            <a:spLocks noGrp="1"/>
          </p:cNvSpPr>
          <p:nvPr>
            <p:ph type="body" sz="quarter" idx="29" hasCustomPrompt="1"/>
          </p:nvPr>
        </p:nvSpPr>
        <p:spPr>
          <a:xfrm>
            <a:off x="440521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8" name="Text Placeholder 17">
            <a:extLst>
              <a:ext uri="{FF2B5EF4-FFF2-40B4-BE49-F238E27FC236}">
                <a16:creationId xmlns:a16="http://schemas.microsoft.com/office/drawing/2014/main" id="{5C42CAD4-CE50-4A28-AF62-DABE00BCABE6}"/>
              </a:ext>
            </a:extLst>
          </p:cNvPr>
          <p:cNvSpPr>
            <a:spLocks noGrp="1"/>
          </p:cNvSpPr>
          <p:nvPr>
            <p:ph type="body" sz="quarter" idx="30" hasCustomPrompt="1"/>
          </p:nvPr>
        </p:nvSpPr>
        <p:spPr>
          <a:xfrm>
            <a:off x="632018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49" name="Text Placeholder 17">
            <a:extLst>
              <a:ext uri="{FF2B5EF4-FFF2-40B4-BE49-F238E27FC236}">
                <a16:creationId xmlns:a16="http://schemas.microsoft.com/office/drawing/2014/main" id="{21A96239-6875-4249-B442-A0F4586320DF}"/>
              </a:ext>
            </a:extLst>
          </p:cNvPr>
          <p:cNvSpPr>
            <a:spLocks noGrp="1"/>
          </p:cNvSpPr>
          <p:nvPr>
            <p:ph type="body" sz="quarter" idx="31" hasCustomPrompt="1"/>
          </p:nvPr>
        </p:nvSpPr>
        <p:spPr>
          <a:xfrm>
            <a:off x="823515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50" name="Text Placeholder 17">
            <a:extLst>
              <a:ext uri="{FF2B5EF4-FFF2-40B4-BE49-F238E27FC236}">
                <a16:creationId xmlns:a16="http://schemas.microsoft.com/office/drawing/2014/main" id="{56FC3AE6-01B9-4297-9E23-5076B1DF765A}"/>
              </a:ext>
            </a:extLst>
          </p:cNvPr>
          <p:cNvSpPr>
            <a:spLocks noGrp="1"/>
          </p:cNvSpPr>
          <p:nvPr>
            <p:ph type="body" sz="quarter" idx="32" hasCustomPrompt="1"/>
          </p:nvPr>
        </p:nvSpPr>
        <p:spPr>
          <a:xfrm>
            <a:off x="10150127" y="4021331"/>
            <a:ext cx="1466346" cy="938084"/>
          </a:xfrm>
          <a:prstGeom prst="rect">
            <a:avLst/>
          </a:prstGeom>
        </p:spPr>
        <p:txBody>
          <a:bodyPr/>
          <a:lstStyle>
            <a:lvl1pPr marL="0" indent="0">
              <a:buNone/>
              <a:defRPr sz="1800" b="0">
                <a:solidFill>
                  <a:schemeClr val="tx1"/>
                </a:solidFill>
                <a:latin typeface="+mn-lt"/>
              </a:defRPr>
            </a:lvl1pPr>
          </a:lstStyle>
          <a:p>
            <a:pPr lvl="0"/>
            <a:r>
              <a:rPr lang="pt-BR" dirty="0"/>
              <a:t>Descrição do tópico</a:t>
            </a:r>
          </a:p>
        </p:txBody>
      </p:sp>
      <p:sp>
        <p:nvSpPr>
          <p:cNvPr id="63" name="Cross 62">
            <a:extLst>
              <a:ext uri="{FF2B5EF4-FFF2-40B4-BE49-F238E27FC236}">
                <a16:creationId xmlns:a16="http://schemas.microsoft.com/office/drawing/2014/main" id="{862B7436-8B44-47AF-AC4C-2C13119C5C1C}"/>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1603349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Fluxograma Vazio">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861FCF5D-3BA2-4A34-8BC6-E4163006A663}"/>
              </a:ext>
            </a:extLst>
          </p:cNvPr>
          <p:cNvCxnSpPr>
            <a:cxnSpLocks/>
          </p:cNvCxnSpPr>
          <p:nvPr/>
        </p:nvCxnSpPr>
        <p:spPr>
          <a:xfrm>
            <a:off x="0" y="3910599"/>
            <a:ext cx="12192000" cy="37100"/>
          </a:xfrm>
          <a:prstGeom prst="line">
            <a:avLst/>
          </a:prstGeom>
          <a:ln w="28575">
            <a:solidFill>
              <a:srgbClr val="000532"/>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C8C9A3D-86FC-4CDB-8C09-9C88E633D823}"/>
              </a:ext>
            </a:extLst>
          </p:cNvPr>
          <p:cNvCxnSpPr>
            <a:cxnSpLocks/>
            <a:endCxn id="6" idx="3"/>
          </p:cNvCxnSpPr>
          <p:nvPr/>
        </p:nvCxnSpPr>
        <p:spPr>
          <a:xfrm>
            <a:off x="0" y="1364260"/>
            <a:ext cx="7531510" cy="22918"/>
          </a:xfrm>
          <a:prstGeom prst="line">
            <a:avLst/>
          </a:prstGeom>
          <a:ln w="19050">
            <a:solidFill>
              <a:srgbClr val="00BC2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8F18D32-5677-4F19-84ED-5B6F5794FC6B}"/>
              </a:ext>
            </a:extLst>
          </p:cNvPr>
          <p:cNvSpPr/>
          <p:nvPr/>
        </p:nvSpPr>
        <p:spPr>
          <a:xfrm>
            <a:off x="4660491" y="1369178"/>
            <a:ext cx="2871019" cy="36000"/>
          </a:xfrm>
          <a:prstGeom prst="rect">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Text Placeholder 24">
            <a:extLst>
              <a:ext uri="{FF2B5EF4-FFF2-40B4-BE49-F238E27FC236}">
                <a16:creationId xmlns:a16="http://schemas.microsoft.com/office/drawing/2014/main" id="{E3D961F0-DA82-4E28-A408-31A48709509F}"/>
              </a:ext>
            </a:extLst>
          </p:cNvPr>
          <p:cNvSpPr>
            <a:spLocks noGrp="1"/>
          </p:cNvSpPr>
          <p:nvPr>
            <p:ph type="body" sz="quarter" idx="22" hasCustomPrompt="1"/>
          </p:nvPr>
        </p:nvSpPr>
        <p:spPr>
          <a:xfrm>
            <a:off x="3164681" y="648677"/>
            <a:ext cx="5862637" cy="623979"/>
          </a:xfrm>
          <a:prstGeom prst="rect">
            <a:avLst/>
          </a:prstGeom>
        </p:spPr>
        <p:txBody>
          <a:bodyPr/>
          <a:lstStyle>
            <a:lvl1pPr marL="0" indent="0" algn="ctr">
              <a:buNone/>
              <a:defRPr sz="4400" b="1">
                <a:solidFill>
                  <a:schemeClr val="tx1"/>
                </a:solidFill>
                <a:latin typeface="+mj-lt"/>
              </a:defRPr>
            </a:lvl1pPr>
          </a:lstStyle>
          <a:p>
            <a:pPr lvl="0"/>
            <a:r>
              <a:rPr lang="pt-BR" dirty="0"/>
              <a:t>Fluxograma</a:t>
            </a:r>
          </a:p>
        </p:txBody>
      </p:sp>
      <p:pic>
        <p:nvPicPr>
          <p:cNvPr id="57" name="Picture 56">
            <a:extLst>
              <a:ext uri="{FF2B5EF4-FFF2-40B4-BE49-F238E27FC236}">
                <a16:creationId xmlns:a16="http://schemas.microsoft.com/office/drawing/2014/main" id="{0553C722-5915-4EA3-9453-951EFC4D4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55977" y="2470588"/>
            <a:ext cx="962878" cy="936000"/>
          </a:xfrm>
          <a:prstGeom prst="rect">
            <a:avLst/>
          </a:prstGeom>
        </p:spPr>
      </p:pic>
      <p:sp>
        <p:nvSpPr>
          <p:cNvPr id="63" name="Cross 62">
            <a:extLst>
              <a:ext uri="{FF2B5EF4-FFF2-40B4-BE49-F238E27FC236}">
                <a16:creationId xmlns:a16="http://schemas.microsoft.com/office/drawing/2014/main" id="{862B7436-8B44-47AF-AC4C-2C13119C5C1C}"/>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442234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Fluxograma 3 Colorido">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861FCF5D-3BA2-4A34-8BC6-E4163006A663}"/>
              </a:ext>
            </a:extLst>
          </p:cNvPr>
          <p:cNvCxnSpPr>
            <a:cxnSpLocks/>
          </p:cNvCxnSpPr>
          <p:nvPr/>
        </p:nvCxnSpPr>
        <p:spPr>
          <a:xfrm>
            <a:off x="0" y="3910599"/>
            <a:ext cx="12192000" cy="37100"/>
          </a:xfrm>
          <a:prstGeom prst="line">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1C68573-BBE5-4F9D-9CFC-BA1336FE7A05}"/>
              </a:ext>
            </a:extLst>
          </p:cNvPr>
          <p:cNvSpPr/>
          <p:nvPr/>
        </p:nvSpPr>
        <p:spPr>
          <a:xfrm>
            <a:off x="1538623" y="1771967"/>
            <a:ext cx="2988000" cy="442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Oval 1">
            <a:extLst>
              <a:ext uri="{FF2B5EF4-FFF2-40B4-BE49-F238E27FC236}">
                <a16:creationId xmlns:a16="http://schemas.microsoft.com/office/drawing/2014/main" id="{A42588D9-EDDC-439E-A417-3C162166CD4A}"/>
              </a:ext>
            </a:extLst>
          </p:cNvPr>
          <p:cNvSpPr/>
          <p:nvPr/>
        </p:nvSpPr>
        <p:spPr>
          <a:xfrm>
            <a:off x="2226002" y="2104963"/>
            <a:ext cx="1613241" cy="1613241"/>
          </a:xfrm>
          <a:prstGeom prst="ellipse">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5" name="Straight Connector 4">
            <a:extLst>
              <a:ext uri="{FF2B5EF4-FFF2-40B4-BE49-F238E27FC236}">
                <a16:creationId xmlns:a16="http://schemas.microsoft.com/office/drawing/2014/main" id="{3C8C9A3D-86FC-4CDB-8C09-9C88E633D823}"/>
              </a:ext>
            </a:extLst>
          </p:cNvPr>
          <p:cNvCxnSpPr>
            <a:cxnSpLocks/>
          </p:cNvCxnSpPr>
          <p:nvPr/>
        </p:nvCxnSpPr>
        <p:spPr>
          <a:xfrm>
            <a:off x="0" y="1364260"/>
            <a:ext cx="12192000" cy="371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8F18D32-5677-4F19-84ED-5B6F5794FC6B}"/>
              </a:ext>
            </a:extLst>
          </p:cNvPr>
          <p:cNvSpPr/>
          <p:nvPr/>
        </p:nvSpPr>
        <p:spPr>
          <a:xfrm>
            <a:off x="4660491" y="1369178"/>
            <a:ext cx="2871019" cy="3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Text Placeholder 24">
            <a:extLst>
              <a:ext uri="{FF2B5EF4-FFF2-40B4-BE49-F238E27FC236}">
                <a16:creationId xmlns:a16="http://schemas.microsoft.com/office/drawing/2014/main" id="{E3D961F0-DA82-4E28-A408-31A48709509F}"/>
              </a:ext>
            </a:extLst>
          </p:cNvPr>
          <p:cNvSpPr>
            <a:spLocks noGrp="1"/>
          </p:cNvSpPr>
          <p:nvPr>
            <p:ph type="body" sz="quarter" idx="22" hasCustomPrompt="1"/>
          </p:nvPr>
        </p:nvSpPr>
        <p:spPr>
          <a:xfrm>
            <a:off x="3164681" y="648677"/>
            <a:ext cx="5862637" cy="623979"/>
          </a:xfrm>
          <a:prstGeom prst="rect">
            <a:avLst/>
          </a:prstGeom>
        </p:spPr>
        <p:txBody>
          <a:bodyPr/>
          <a:lstStyle>
            <a:lvl1pPr marL="0" indent="0" algn="ctr">
              <a:buNone/>
              <a:defRPr sz="4400" b="1">
                <a:solidFill>
                  <a:schemeClr val="tx1"/>
                </a:solidFill>
                <a:latin typeface="+mj-lt"/>
              </a:defRPr>
            </a:lvl1pPr>
          </a:lstStyle>
          <a:p>
            <a:pPr lvl="0"/>
            <a:r>
              <a:rPr lang="pt-BR" dirty="0"/>
              <a:t>Fluxograma</a:t>
            </a:r>
          </a:p>
        </p:txBody>
      </p:sp>
      <p:sp>
        <p:nvSpPr>
          <p:cNvPr id="39" name="Text Placeholder 17">
            <a:extLst>
              <a:ext uri="{FF2B5EF4-FFF2-40B4-BE49-F238E27FC236}">
                <a16:creationId xmlns:a16="http://schemas.microsoft.com/office/drawing/2014/main" id="{33FAE5BA-F4EA-4A08-840D-08E9F239F43C}"/>
              </a:ext>
            </a:extLst>
          </p:cNvPr>
          <p:cNvSpPr>
            <a:spLocks noGrp="1"/>
          </p:cNvSpPr>
          <p:nvPr>
            <p:ph type="body" sz="quarter" idx="12" hasCustomPrompt="1"/>
          </p:nvPr>
        </p:nvSpPr>
        <p:spPr>
          <a:xfrm>
            <a:off x="1633189" y="3905752"/>
            <a:ext cx="2810576" cy="398626"/>
          </a:xfrm>
          <a:prstGeom prst="rect">
            <a:avLst/>
          </a:prstGeom>
        </p:spPr>
        <p:txBody>
          <a:bodyPr/>
          <a:lstStyle>
            <a:lvl1pPr marL="0" indent="0" algn="ctr">
              <a:buNone/>
              <a:defRPr sz="2400" b="1">
                <a:solidFill>
                  <a:srgbClr val="DF1B1B"/>
                </a:solidFill>
                <a:latin typeface="+mj-lt"/>
              </a:defRPr>
            </a:lvl1pPr>
          </a:lstStyle>
          <a:p>
            <a:pPr lvl="0"/>
            <a:r>
              <a:rPr lang="pt-BR" dirty="0"/>
              <a:t>Título</a:t>
            </a:r>
          </a:p>
        </p:txBody>
      </p:sp>
      <p:sp>
        <p:nvSpPr>
          <p:cNvPr id="45" name="Text Placeholder 17">
            <a:extLst>
              <a:ext uri="{FF2B5EF4-FFF2-40B4-BE49-F238E27FC236}">
                <a16:creationId xmlns:a16="http://schemas.microsoft.com/office/drawing/2014/main" id="{D87A67AF-FC7E-4A21-BC3F-5EC7B4B01441}"/>
              </a:ext>
            </a:extLst>
          </p:cNvPr>
          <p:cNvSpPr>
            <a:spLocks noGrp="1"/>
          </p:cNvSpPr>
          <p:nvPr>
            <p:ph type="body" sz="quarter" idx="17" hasCustomPrompt="1"/>
          </p:nvPr>
        </p:nvSpPr>
        <p:spPr>
          <a:xfrm>
            <a:off x="1633189" y="4375295"/>
            <a:ext cx="2810575" cy="1711035"/>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pic>
        <p:nvPicPr>
          <p:cNvPr id="57" name="Picture 56">
            <a:extLst>
              <a:ext uri="{FF2B5EF4-FFF2-40B4-BE49-F238E27FC236}">
                <a16:creationId xmlns:a16="http://schemas.microsoft.com/office/drawing/2014/main" id="{0553C722-5915-4EA3-9453-951EFC4D4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55977" y="2470588"/>
            <a:ext cx="962878" cy="936000"/>
          </a:xfrm>
          <a:prstGeom prst="rect">
            <a:avLst/>
          </a:prstGeom>
        </p:spPr>
      </p:pic>
      <p:sp>
        <p:nvSpPr>
          <p:cNvPr id="63" name="Cross 62">
            <a:extLst>
              <a:ext uri="{FF2B5EF4-FFF2-40B4-BE49-F238E27FC236}">
                <a16:creationId xmlns:a16="http://schemas.microsoft.com/office/drawing/2014/main" id="{862B7436-8B44-47AF-AC4C-2C13119C5C1C}"/>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3" name="Rectangle 32">
            <a:extLst>
              <a:ext uri="{FF2B5EF4-FFF2-40B4-BE49-F238E27FC236}">
                <a16:creationId xmlns:a16="http://schemas.microsoft.com/office/drawing/2014/main" id="{6C622794-6D1F-4695-A379-6C516CFEFEA1}"/>
              </a:ext>
            </a:extLst>
          </p:cNvPr>
          <p:cNvSpPr/>
          <p:nvPr/>
        </p:nvSpPr>
        <p:spPr>
          <a:xfrm>
            <a:off x="8313681" y="1771967"/>
            <a:ext cx="2988000" cy="442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Rectangle 33">
            <a:extLst>
              <a:ext uri="{FF2B5EF4-FFF2-40B4-BE49-F238E27FC236}">
                <a16:creationId xmlns:a16="http://schemas.microsoft.com/office/drawing/2014/main" id="{46C38942-C1AB-4F0F-A1E6-211CDA3517B7}"/>
              </a:ext>
            </a:extLst>
          </p:cNvPr>
          <p:cNvSpPr/>
          <p:nvPr/>
        </p:nvSpPr>
        <p:spPr>
          <a:xfrm>
            <a:off x="4926152" y="1771967"/>
            <a:ext cx="2988000" cy="442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Oval 34">
            <a:extLst>
              <a:ext uri="{FF2B5EF4-FFF2-40B4-BE49-F238E27FC236}">
                <a16:creationId xmlns:a16="http://schemas.microsoft.com/office/drawing/2014/main" id="{94A07165-B218-4954-A0C2-1E545EEC3A61}"/>
              </a:ext>
            </a:extLst>
          </p:cNvPr>
          <p:cNvSpPr/>
          <p:nvPr/>
        </p:nvSpPr>
        <p:spPr>
          <a:xfrm>
            <a:off x="5613530" y="2104963"/>
            <a:ext cx="1613241" cy="1613241"/>
          </a:xfrm>
          <a:prstGeom prst="ellipse">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6" name="Oval 35">
            <a:extLst>
              <a:ext uri="{FF2B5EF4-FFF2-40B4-BE49-F238E27FC236}">
                <a16:creationId xmlns:a16="http://schemas.microsoft.com/office/drawing/2014/main" id="{5CB1DEBA-2738-4768-9F2D-51592F6D2A53}"/>
              </a:ext>
            </a:extLst>
          </p:cNvPr>
          <p:cNvSpPr/>
          <p:nvPr/>
        </p:nvSpPr>
        <p:spPr>
          <a:xfrm>
            <a:off x="9001061" y="2104963"/>
            <a:ext cx="1613241" cy="1613241"/>
          </a:xfrm>
          <a:prstGeom prst="ellipse">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7" name="Text Placeholder 17">
            <a:extLst>
              <a:ext uri="{FF2B5EF4-FFF2-40B4-BE49-F238E27FC236}">
                <a16:creationId xmlns:a16="http://schemas.microsoft.com/office/drawing/2014/main" id="{7C53BDC1-4CD4-4D52-9806-58CAD13CD595}"/>
              </a:ext>
            </a:extLst>
          </p:cNvPr>
          <p:cNvSpPr>
            <a:spLocks noGrp="1"/>
          </p:cNvSpPr>
          <p:nvPr>
            <p:ph type="body" sz="quarter" idx="23" hasCustomPrompt="1"/>
          </p:nvPr>
        </p:nvSpPr>
        <p:spPr>
          <a:xfrm>
            <a:off x="5014864" y="3905752"/>
            <a:ext cx="2810576" cy="398626"/>
          </a:xfrm>
          <a:prstGeom prst="rect">
            <a:avLst/>
          </a:prstGeom>
        </p:spPr>
        <p:txBody>
          <a:bodyPr/>
          <a:lstStyle>
            <a:lvl1pPr marL="0" indent="0" algn="ctr">
              <a:buNone/>
              <a:defRPr sz="2400" b="1">
                <a:solidFill>
                  <a:srgbClr val="F9620C"/>
                </a:solidFill>
                <a:latin typeface="+mj-lt"/>
              </a:defRPr>
            </a:lvl1pPr>
          </a:lstStyle>
          <a:p>
            <a:pPr lvl="0"/>
            <a:r>
              <a:rPr lang="pt-BR" dirty="0"/>
              <a:t>Título</a:t>
            </a:r>
          </a:p>
        </p:txBody>
      </p:sp>
      <p:sp>
        <p:nvSpPr>
          <p:cNvPr id="38" name="Text Placeholder 17">
            <a:extLst>
              <a:ext uri="{FF2B5EF4-FFF2-40B4-BE49-F238E27FC236}">
                <a16:creationId xmlns:a16="http://schemas.microsoft.com/office/drawing/2014/main" id="{B1CF0C03-2264-4FDB-AD22-BEE4F4E47CED}"/>
              </a:ext>
            </a:extLst>
          </p:cNvPr>
          <p:cNvSpPr>
            <a:spLocks noGrp="1"/>
          </p:cNvSpPr>
          <p:nvPr>
            <p:ph type="body" sz="quarter" idx="24" hasCustomPrompt="1"/>
          </p:nvPr>
        </p:nvSpPr>
        <p:spPr>
          <a:xfrm>
            <a:off x="5014864" y="4375295"/>
            <a:ext cx="2810575" cy="1711035"/>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sp>
        <p:nvSpPr>
          <p:cNvPr id="51" name="Text Placeholder 17">
            <a:extLst>
              <a:ext uri="{FF2B5EF4-FFF2-40B4-BE49-F238E27FC236}">
                <a16:creationId xmlns:a16="http://schemas.microsoft.com/office/drawing/2014/main" id="{5799C982-D657-445C-920D-1E2722FD5C6C}"/>
              </a:ext>
            </a:extLst>
          </p:cNvPr>
          <p:cNvSpPr>
            <a:spLocks noGrp="1"/>
          </p:cNvSpPr>
          <p:nvPr>
            <p:ph type="body" sz="quarter" idx="25" hasCustomPrompt="1"/>
          </p:nvPr>
        </p:nvSpPr>
        <p:spPr>
          <a:xfrm>
            <a:off x="8396539" y="3905752"/>
            <a:ext cx="2810576" cy="398626"/>
          </a:xfrm>
          <a:prstGeom prst="rect">
            <a:avLst/>
          </a:prstGeom>
        </p:spPr>
        <p:txBody>
          <a:bodyPr/>
          <a:lstStyle>
            <a:lvl1pPr marL="0" indent="0" algn="ctr">
              <a:buNone/>
              <a:defRPr sz="2400" b="1">
                <a:solidFill>
                  <a:srgbClr val="F9C111"/>
                </a:solidFill>
                <a:latin typeface="+mj-lt"/>
              </a:defRPr>
            </a:lvl1pPr>
          </a:lstStyle>
          <a:p>
            <a:pPr lvl="0"/>
            <a:r>
              <a:rPr lang="pt-BR" dirty="0"/>
              <a:t>Título</a:t>
            </a:r>
          </a:p>
        </p:txBody>
      </p:sp>
      <p:sp>
        <p:nvSpPr>
          <p:cNvPr id="53" name="Text Placeholder 17">
            <a:extLst>
              <a:ext uri="{FF2B5EF4-FFF2-40B4-BE49-F238E27FC236}">
                <a16:creationId xmlns:a16="http://schemas.microsoft.com/office/drawing/2014/main" id="{A5F55FBF-9178-4720-A5F2-0F1A763D62A9}"/>
              </a:ext>
            </a:extLst>
          </p:cNvPr>
          <p:cNvSpPr>
            <a:spLocks noGrp="1"/>
          </p:cNvSpPr>
          <p:nvPr>
            <p:ph type="body" sz="quarter" idx="26" hasCustomPrompt="1"/>
          </p:nvPr>
        </p:nvSpPr>
        <p:spPr>
          <a:xfrm>
            <a:off x="8396539" y="4375295"/>
            <a:ext cx="2810575" cy="1711035"/>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pic>
        <p:nvPicPr>
          <p:cNvPr id="3" name="Picture 2" descr="Icon&#10;&#10;Description automatically generated">
            <a:extLst>
              <a:ext uri="{FF2B5EF4-FFF2-40B4-BE49-F238E27FC236}">
                <a16:creationId xmlns:a16="http://schemas.microsoft.com/office/drawing/2014/main" id="{DAAB993F-6835-C366-79DF-1BE10B7090E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8444" y="2357761"/>
            <a:ext cx="1008355" cy="1008355"/>
          </a:xfrm>
          <a:prstGeom prst="rect">
            <a:avLst/>
          </a:prstGeom>
        </p:spPr>
      </p:pic>
      <p:pic>
        <p:nvPicPr>
          <p:cNvPr id="7" name="Picture 8" descr="Icon&#10;&#10;Description automatically generated">
            <a:extLst>
              <a:ext uri="{FF2B5EF4-FFF2-40B4-BE49-F238E27FC236}">
                <a16:creationId xmlns:a16="http://schemas.microsoft.com/office/drawing/2014/main" id="{AF3582EB-7002-1221-20C9-33A75AF251E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16150" y="2332436"/>
            <a:ext cx="1008000" cy="1008000"/>
          </a:xfrm>
          <a:prstGeom prst="rect">
            <a:avLst/>
          </a:prstGeom>
        </p:spPr>
      </p:pic>
      <p:pic>
        <p:nvPicPr>
          <p:cNvPr id="8" name="Picture 10" descr="Icon&#10;&#10;Description automatically generated">
            <a:extLst>
              <a:ext uri="{FF2B5EF4-FFF2-40B4-BE49-F238E27FC236}">
                <a16:creationId xmlns:a16="http://schemas.microsoft.com/office/drawing/2014/main" id="{4582AB24-CAC0-28A3-C9CE-884CF6BDA3B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51470" y="2410243"/>
            <a:ext cx="1008000" cy="1008000"/>
          </a:xfrm>
          <a:prstGeom prst="rect">
            <a:avLst/>
          </a:prstGeom>
        </p:spPr>
      </p:pic>
      <p:sp>
        <p:nvSpPr>
          <p:cNvPr id="10" name="Rectangle 9">
            <a:extLst>
              <a:ext uri="{FF2B5EF4-FFF2-40B4-BE49-F238E27FC236}">
                <a16:creationId xmlns:a16="http://schemas.microsoft.com/office/drawing/2014/main" id="{5FA75975-12AC-F3A0-4FAA-D066CAEF4D66}"/>
              </a:ext>
            </a:extLst>
          </p:cNvPr>
          <p:cNvSpPr/>
          <p:nvPr userDrawn="1"/>
        </p:nvSpPr>
        <p:spPr>
          <a:xfrm>
            <a:off x="-1400"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8">
            <a:extLst>
              <a:ext uri="{FF2B5EF4-FFF2-40B4-BE49-F238E27FC236}">
                <a16:creationId xmlns:a16="http://schemas.microsoft.com/office/drawing/2014/main" id="{DC920ABD-2C68-8BE6-D095-C06F42CCE41E}"/>
              </a:ext>
            </a:extLst>
          </p:cNvPr>
          <p:cNvSpPr/>
          <p:nvPr userDrawn="1"/>
        </p:nvSpPr>
        <p:spPr>
          <a:xfrm>
            <a:off x="247216"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2" name="Date Placeholder 3">
            <a:extLst>
              <a:ext uri="{FF2B5EF4-FFF2-40B4-BE49-F238E27FC236}">
                <a16:creationId xmlns:a16="http://schemas.microsoft.com/office/drawing/2014/main" id="{3E8A0A9F-2DE4-209F-A94A-1C1EA66CA1BD}"/>
              </a:ext>
            </a:extLst>
          </p:cNvPr>
          <p:cNvSpPr txBox="1">
            <a:spLocks/>
          </p:cNvSpPr>
          <p:nvPr userDrawn="1"/>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solidFill>
              </a:rPr>
              <a:t>www.fit-tecnologia.org.br</a:t>
            </a:r>
            <a:endParaRPr lang="pt-BR" dirty="0">
              <a:solidFill>
                <a:schemeClr val="bg1"/>
              </a:solidFill>
            </a:endParaRPr>
          </a:p>
        </p:txBody>
      </p:sp>
    </p:spTree>
    <p:extLst>
      <p:ext uri="{BB962C8B-B14F-4D97-AF65-F5344CB8AC3E}">
        <p14:creationId xmlns:p14="http://schemas.microsoft.com/office/powerpoint/2010/main" val="1161598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luxograma 3 Escuro">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861FCF5D-3BA2-4A34-8BC6-E4163006A663}"/>
              </a:ext>
            </a:extLst>
          </p:cNvPr>
          <p:cNvCxnSpPr>
            <a:cxnSpLocks/>
          </p:cNvCxnSpPr>
          <p:nvPr/>
        </p:nvCxnSpPr>
        <p:spPr>
          <a:xfrm>
            <a:off x="0" y="3910599"/>
            <a:ext cx="12192000" cy="37100"/>
          </a:xfrm>
          <a:prstGeom prst="line">
            <a:avLst/>
          </a:prstGeom>
          <a:ln w="28575">
            <a:solidFill>
              <a:srgbClr val="000532"/>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1C68573-BBE5-4F9D-9CFC-BA1336FE7A05}"/>
              </a:ext>
            </a:extLst>
          </p:cNvPr>
          <p:cNvSpPr/>
          <p:nvPr/>
        </p:nvSpPr>
        <p:spPr>
          <a:xfrm>
            <a:off x="1214471" y="1771967"/>
            <a:ext cx="2988000" cy="442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Oval 1">
            <a:extLst>
              <a:ext uri="{FF2B5EF4-FFF2-40B4-BE49-F238E27FC236}">
                <a16:creationId xmlns:a16="http://schemas.microsoft.com/office/drawing/2014/main" id="{A42588D9-EDDC-439E-A417-3C162166CD4A}"/>
              </a:ext>
            </a:extLst>
          </p:cNvPr>
          <p:cNvSpPr/>
          <p:nvPr/>
        </p:nvSpPr>
        <p:spPr>
          <a:xfrm>
            <a:off x="1901850" y="2104963"/>
            <a:ext cx="1613241" cy="1613241"/>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5" name="Straight Connector 4">
            <a:extLst>
              <a:ext uri="{FF2B5EF4-FFF2-40B4-BE49-F238E27FC236}">
                <a16:creationId xmlns:a16="http://schemas.microsoft.com/office/drawing/2014/main" id="{3C8C9A3D-86FC-4CDB-8C09-9C88E633D823}"/>
              </a:ext>
            </a:extLst>
          </p:cNvPr>
          <p:cNvCxnSpPr>
            <a:cxnSpLocks/>
            <a:endCxn id="6" idx="3"/>
          </p:cNvCxnSpPr>
          <p:nvPr/>
        </p:nvCxnSpPr>
        <p:spPr>
          <a:xfrm>
            <a:off x="0" y="1364260"/>
            <a:ext cx="7531510" cy="22918"/>
          </a:xfrm>
          <a:prstGeom prst="line">
            <a:avLst/>
          </a:prstGeom>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78F18D32-5677-4F19-84ED-5B6F5794FC6B}"/>
              </a:ext>
            </a:extLst>
          </p:cNvPr>
          <p:cNvSpPr/>
          <p:nvPr/>
        </p:nvSpPr>
        <p:spPr>
          <a:xfrm>
            <a:off x="4660491" y="1369178"/>
            <a:ext cx="2871019"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Text Placeholder 24">
            <a:extLst>
              <a:ext uri="{FF2B5EF4-FFF2-40B4-BE49-F238E27FC236}">
                <a16:creationId xmlns:a16="http://schemas.microsoft.com/office/drawing/2014/main" id="{E3D961F0-DA82-4E28-A408-31A48709509F}"/>
              </a:ext>
            </a:extLst>
          </p:cNvPr>
          <p:cNvSpPr>
            <a:spLocks noGrp="1"/>
          </p:cNvSpPr>
          <p:nvPr>
            <p:ph type="body" sz="quarter" idx="22" hasCustomPrompt="1"/>
          </p:nvPr>
        </p:nvSpPr>
        <p:spPr>
          <a:xfrm>
            <a:off x="3164681" y="648677"/>
            <a:ext cx="5862637" cy="623979"/>
          </a:xfrm>
          <a:prstGeom prst="rect">
            <a:avLst/>
          </a:prstGeom>
        </p:spPr>
        <p:txBody>
          <a:bodyPr/>
          <a:lstStyle>
            <a:lvl1pPr marL="0" indent="0" algn="ctr">
              <a:buNone/>
              <a:defRPr sz="4400" b="1">
                <a:solidFill>
                  <a:schemeClr val="tx1"/>
                </a:solidFill>
                <a:latin typeface="+mj-lt"/>
              </a:defRPr>
            </a:lvl1pPr>
          </a:lstStyle>
          <a:p>
            <a:pPr lvl="0"/>
            <a:r>
              <a:rPr lang="pt-BR" dirty="0"/>
              <a:t>Fluxograma</a:t>
            </a:r>
          </a:p>
        </p:txBody>
      </p:sp>
      <p:sp>
        <p:nvSpPr>
          <p:cNvPr id="39" name="Text Placeholder 17">
            <a:extLst>
              <a:ext uri="{FF2B5EF4-FFF2-40B4-BE49-F238E27FC236}">
                <a16:creationId xmlns:a16="http://schemas.microsoft.com/office/drawing/2014/main" id="{33FAE5BA-F4EA-4A08-840D-08E9F239F43C}"/>
              </a:ext>
            </a:extLst>
          </p:cNvPr>
          <p:cNvSpPr>
            <a:spLocks noGrp="1"/>
          </p:cNvSpPr>
          <p:nvPr>
            <p:ph type="body" sz="quarter" idx="12" hasCustomPrompt="1"/>
          </p:nvPr>
        </p:nvSpPr>
        <p:spPr>
          <a:xfrm>
            <a:off x="1309037" y="3905752"/>
            <a:ext cx="2810576" cy="398626"/>
          </a:xfrm>
          <a:prstGeom prst="rect">
            <a:avLst/>
          </a:prstGeom>
        </p:spPr>
        <p:txBody>
          <a:bodyPr/>
          <a:lstStyle>
            <a:lvl1pPr marL="0" indent="0" algn="ctr">
              <a:buNone/>
              <a:defRPr sz="2400" b="1">
                <a:solidFill>
                  <a:srgbClr val="00BC29"/>
                </a:solidFill>
                <a:latin typeface="+mj-lt"/>
              </a:defRPr>
            </a:lvl1pPr>
          </a:lstStyle>
          <a:p>
            <a:pPr lvl="0"/>
            <a:r>
              <a:rPr lang="pt-BR" dirty="0"/>
              <a:t>Título</a:t>
            </a:r>
          </a:p>
        </p:txBody>
      </p:sp>
      <p:sp>
        <p:nvSpPr>
          <p:cNvPr id="45" name="Text Placeholder 17">
            <a:extLst>
              <a:ext uri="{FF2B5EF4-FFF2-40B4-BE49-F238E27FC236}">
                <a16:creationId xmlns:a16="http://schemas.microsoft.com/office/drawing/2014/main" id="{D87A67AF-FC7E-4A21-BC3F-5EC7B4B01441}"/>
              </a:ext>
            </a:extLst>
          </p:cNvPr>
          <p:cNvSpPr>
            <a:spLocks noGrp="1"/>
          </p:cNvSpPr>
          <p:nvPr>
            <p:ph type="body" sz="quarter" idx="17" hasCustomPrompt="1"/>
          </p:nvPr>
        </p:nvSpPr>
        <p:spPr>
          <a:xfrm>
            <a:off x="1309037" y="4375295"/>
            <a:ext cx="2810575" cy="1711035"/>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pic>
        <p:nvPicPr>
          <p:cNvPr id="57" name="Picture 56">
            <a:extLst>
              <a:ext uri="{FF2B5EF4-FFF2-40B4-BE49-F238E27FC236}">
                <a16:creationId xmlns:a16="http://schemas.microsoft.com/office/drawing/2014/main" id="{0553C722-5915-4EA3-9453-951EFC4D4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55977" y="2470588"/>
            <a:ext cx="962878" cy="936000"/>
          </a:xfrm>
          <a:prstGeom prst="rect">
            <a:avLst/>
          </a:prstGeom>
        </p:spPr>
      </p:pic>
      <p:sp>
        <p:nvSpPr>
          <p:cNvPr id="63" name="Cross 62">
            <a:extLst>
              <a:ext uri="{FF2B5EF4-FFF2-40B4-BE49-F238E27FC236}">
                <a16:creationId xmlns:a16="http://schemas.microsoft.com/office/drawing/2014/main" id="{862B7436-8B44-47AF-AC4C-2C13119C5C1C}"/>
              </a:ext>
            </a:extLst>
          </p:cNvPr>
          <p:cNvSpPr/>
          <p:nvPr/>
        </p:nvSpPr>
        <p:spPr>
          <a:xfrm>
            <a:off x="247216" y="6493565"/>
            <a:ext cx="152472" cy="154817"/>
          </a:xfrm>
          <a:prstGeom prst="plus">
            <a:avLst>
              <a:gd name="adj" fmla="val 33070"/>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3" name="Rectangle 32">
            <a:extLst>
              <a:ext uri="{FF2B5EF4-FFF2-40B4-BE49-F238E27FC236}">
                <a16:creationId xmlns:a16="http://schemas.microsoft.com/office/drawing/2014/main" id="{6C622794-6D1F-4695-A379-6C516CFEFEA1}"/>
              </a:ext>
            </a:extLst>
          </p:cNvPr>
          <p:cNvSpPr/>
          <p:nvPr/>
        </p:nvSpPr>
        <p:spPr>
          <a:xfrm>
            <a:off x="7989529" y="1771967"/>
            <a:ext cx="2988000" cy="442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Rectangle 33">
            <a:extLst>
              <a:ext uri="{FF2B5EF4-FFF2-40B4-BE49-F238E27FC236}">
                <a16:creationId xmlns:a16="http://schemas.microsoft.com/office/drawing/2014/main" id="{46C38942-C1AB-4F0F-A1E6-211CDA3517B7}"/>
              </a:ext>
            </a:extLst>
          </p:cNvPr>
          <p:cNvSpPr/>
          <p:nvPr/>
        </p:nvSpPr>
        <p:spPr>
          <a:xfrm>
            <a:off x="4602000" y="1771967"/>
            <a:ext cx="2988000" cy="4428000"/>
          </a:xfrm>
          <a:prstGeom prst="rect">
            <a:avLst/>
          </a:prstGeom>
          <a:solidFill>
            <a:srgbClr val="F5F7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Oval 34">
            <a:extLst>
              <a:ext uri="{FF2B5EF4-FFF2-40B4-BE49-F238E27FC236}">
                <a16:creationId xmlns:a16="http://schemas.microsoft.com/office/drawing/2014/main" id="{94A07165-B218-4954-A0C2-1E545EEC3A61}"/>
              </a:ext>
            </a:extLst>
          </p:cNvPr>
          <p:cNvSpPr/>
          <p:nvPr/>
        </p:nvSpPr>
        <p:spPr>
          <a:xfrm>
            <a:off x="5289378" y="2104963"/>
            <a:ext cx="1613241" cy="1613241"/>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6" name="Oval 35">
            <a:extLst>
              <a:ext uri="{FF2B5EF4-FFF2-40B4-BE49-F238E27FC236}">
                <a16:creationId xmlns:a16="http://schemas.microsoft.com/office/drawing/2014/main" id="{5CB1DEBA-2738-4768-9F2D-51592F6D2A53}"/>
              </a:ext>
            </a:extLst>
          </p:cNvPr>
          <p:cNvSpPr/>
          <p:nvPr/>
        </p:nvSpPr>
        <p:spPr>
          <a:xfrm>
            <a:off x="8676909" y="2104963"/>
            <a:ext cx="1613241" cy="1613241"/>
          </a:xfrm>
          <a:prstGeom prst="ellipse">
            <a:avLst/>
          </a:prstGeom>
          <a:solidFill>
            <a:srgbClr val="00053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7" name="Text Placeholder 17">
            <a:extLst>
              <a:ext uri="{FF2B5EF4-FFF2-40B4-BE49-F238E27FC236}">
                <a16:creationId xmlns:a16="http://schemas.microsoft.com/office/drawing/2014/main" id="{7C53BDC1-4CD4-4D52-9806-58CAD13CD595}"/>
              </a:ext>
            </a:extLst>
          </p:cNvPr>
          <p:cNvSpPr>
            <a:spLocks noGrp="1"/>
          </p:cNvSpPr>
          <p:nvPr>
            <p:ph type="body" sz="quarter" idx="23" hasCustomPrompt="1"/>
          </p:nvPr>
        </p:nvSpPr>
        <p:spPr>
          <a:xfrm>
            <a:off x="4690712" y="3905752"/>
            <a:ext cx="2810576" cy="398626"/>
          </a:xfrm>
          <a:prstGeom prst="rect">
            <a:avLst/>
          </a:prstGeom>
        </p:spPr>
        <p:txBody>
          <a:bodyPr/>
          <a:lstStyle>
            <a:lvl1pPr marL="0" indent="0" algn="ctr">
              <a:buNone/>
              <a:defRPr sz="2400" b="1">
                <a:solidFill>
                  <a:srgbClr val="00BC29"/>
                </a:solidFill>
                <a:latin typeface="+mj-lt"/>
              </a:defRPr>
            </a:lvl1pPr>
          </a:lstStyle>
          <a:p>
            <a:pPr lvl="0"/>
            <a:r>
              <a:rPr lang="pt-BR" dirty="0"/>
              <a:t>Título</a:t>
            </a:r>
          </a:p>
        </p:txBody>
      </p:sp>
      <p:sp>
        <p:nvSpPr>
          <p:cNvPr id="38" name="Text Placeholder 17">
            <a:extLst>
              <a:ext uri="{FF2B5EF4-FFF2-40B4-BE49-F238E27FC236}">
                <a16:creationId xmlns:a16="http://schemas.microsoft.com/office/drawing/2014/main" id="{B1CF0C03-2264-4FDB-AD22-BEE4F4E47CED}"/>
              </a:ext>
            </a:extLst>
          </p:cNvPr>
          <p:cNvSpPr>
            <a:spLocks noGrp="1"/>
          </p:cNvSpPr>
          <p:nvPr>
            <p:ph type="body" sz="quarter" idx="24" hasCustomPrompt="1"/>
          </p:nvPr>
        </p:nvSpPr>
        <p:spPr>
          <a:xfrm>
            <a:off x="4690712" y="4375295"/>
            <a:ext cx="2810575" cy="1711035"/>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sp>
        <p:nvSpPr>
          <p:cNvPr id="51" name="Text Placeholder 17">
            <a:extLst>
              <a:ext uri="{FF2B5EF4-FFF2-40B4-BE49-F238E27FC236}">
                <a16:creationId xmlns:a16="http://schemas.microsoft.com/office/drawing/2014/main" id="{5799C982-D657-445C-920D-1E2722FD5C6C}"/>
              </a:ext>
            </a:extLst>
          </p:cNvPr>
          <p:cNvSpPr>
            <a:spLocks noGrp="1"/>
          </p:cNvSpPr>
          <p:nvPr>
            <p:ph type="body" sz="quarter" idx="25" hasCustomPrompt="1"/>
          </p:nvPr>
        </p:nvSpPr>
        <p:spPr>
          <a:xfrm>
            <a:off x="8072387" y="3905752"/>
            <a:ext cx="2810576" cy="398626"/>
          </a:xfrm>
          <a:prstGeom prst="rect">
            <a:avLst/>
          </a:prstGeom>
        </p:spPr>
        <p:txBody>
          <a:bodyPr/>
          <a:lstStyle>
            <a:lvl1pPr marL="0" indent="0" algn="ctr">
              <a:buNone/>
              <a:defRPr sz="2400" b="1">
                <a:solidFill>
                  <a:srgbClr val="00BC29"/>
                </a:solidFill>
                <a:latin typeface="+mj-lt"/>
              </a:defRPr>
            </a:lvl1pPr>
          </a:lstStyle>
          <a:p>
            <a:pPr lvl="0"/>
            <a:r>
              <a:rPr lang="pt-BR" dirty="0"/>
              <a:t>Título</a:t>
            </a:r>
          </a:p>
        </p:txBody>
      </p:sp>
      <p:sp>
        <p:nvSpPr>
          <p:cNvPr id="53" name="Text Placeholder 17">
            <a:extLst>
              <a:ext uri="{FF2B5EF4-FFF2-40B4-BE49-F238E27FC236}">
                <a16:creationId xmlns:a16="http://schemas.microsoft.com/office/drawing/2014/main" id="{A5F55FBF-9178-4720-A5F2-0F1A763D62A9}"/>
              </a:ext>
            </a:extLst>
          </p:cNvPr>
          <p:cNvSpPr>
            <a:spLocks noGrp="1"/>
          </p:cNvSpPr>
          <p:nvPr>
            <p:ph type="body" sz="quarter" idx="26" hasCustomPrompt="1"/>
          </p:nvPr>
        </p:nvSpPr>
        <p:spPr>
          <a:xfrm>
            <a:off x="8072387" y="4375295"/>
            <a:ext cx="2810575" cy="1711035"/>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spTree>
    <p:extLst>
      <p:ext uri="{BB962C8B-B14F-4D97-AF65-F5344CB8AC3E}">
        <p14:creationId xmlns:p14="http://schemas.microsoft.com/office/powerpoint/2010/main" val="30282798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meline Linha ">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9039EC65-AA89-4D9C-B774-D6DD73ACF573}"/>
              </a:ext>
            </a:extLst>
          </p:cNvPr>
          <p:cNvSpPr/>
          <p:nvPr/>
        </p:nvSpPr>
        <p:spPr>
          <a:xfrm>
            <a:off x="935898"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9" name="Rectangle 98">
            <a:extLst>
              <a:ext uri="{FF2B5EF4-FFF2-40B4-BE49-F238E27FC236}">
                <a16:creationId xmlns:a16="http://schemas.microsoft.com/office/drawing/2014/main" id="{E93D3D0A-D862-42CE-8DF8-6363D3C20F58}"/>
              </a:ext>
            </a:extLst>
          </p:cNvPr>
          <p:cNvSpPr/>
          <p:nvPr/>
        </p:nvSpPr>
        <p:spPr>
          <a:xfrm>
            <a:off x="2673099"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0" name="Rectangle 99">
            <a:extLst>
              <a:ext uri="{FF2B5EF4-FFF2-40B4-BE49-F238E27FC236}">
                <a16:creationId xmlns:a16="http://schemas.microsoft.com/office/drawing/2014/main" id="{ECA27F45-3F13-445F-8471-F7DBD8832C7D}"/>
              </a:ext>
            </a:extLst>
          </p:cNvPr>
          <p:cNvSpPr/>
          <p:nvPr/>
        </p:nvSpPr>
        <p:spPr>
          <a:xfrm>
            <a:off x="4410300"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1" name="Rectangle 100">
            <a:extLst>
              <a:ext uri="{FF2B5EF4-FFF2-40B4-BE49-F238E27FC236}">
                <a16:creationId xmlns:a16="http://schemas.microsoft.com/office/drawing/2014/main" id="{1E80A853-B1AD-46BA-861C-34FB7687709C}"/>
              </a:ext>
            </a:extLst>
          </p:cNvPr>
          <p:cNvSpPr/>
          <p:nvPr/>
        </p:nvSpPr>
        <p:spPr>
          <a:xfrm>
            <a:off x="6147501"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2" name="Rectangle 101">
            <a:extLst>
              <a:ext uri="{FF2B5EF4-FFF2-40B4-BE49-F238E27FC236}">
                <a16:creationId xmlns:a16="http://schemas.microsoft.com/office/drawing/2014/main" id="{1E8B1E0B-6FA3-434C-B534-6C99244FA9BF}"/>
              </a:ext>
            </a:extLst>
          </p:cNvPr>
          <p:cNvSpPr/>
          <p:nvPr/>
        </p:nvSpPr>
        <p:spPr>
          <a:xfrm>
            <a:off x="9621901"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3" name="Rectangle 102">
            <a:extLst>
              <a:ext uri="{FF2B5EF4-FFF2-40B4-BE49-F238E27FC236}">
                <a16:creationId xmlns:a16="http://schemas.microsoft.com/office/drawing/2014/main" id="{EB3D1ADB-8A31-4E15-B0D6-04B21E0EF44D}"/>
              </a:ext>
            </a:extLst>
          </p:cNvPr>
          <p:cNvSpPr/>
          <p:nvPr/>
        </p:nvSpPr>
        <p:spPr>
          <a:xfrm>
            <a:off x="7884702"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0" name="Title 89">
            <a:extLst>
              <a:ext uri="{FF2B5EF4-FFF2-40B4-BE49-F238E27FC236}">
                <a16:creationId xmlns:a16="http://schemas.microsoft.com/office/drawing/2014/main" id="{CF5E0141-F7AA-4027-88D8-1E12F14B184A}"/>
              </a:ext>
            </a:extLst>
          </p:cNvPr>
          <p:cNvSpPr>
            <a:spLocks noGrp="1"/>
          </p:cNvSpPr>
          <p:nvPr>
            <p:ph type="title" hasCustomPrompt="1"/>
          </p:nvPr>
        </p:nvSpPr>
        <p:spPr>
          <a:xfrm>
            <a:off x="612607" y="365126"/>
            <a:ext cx="4744193" cy="633284"/>
          </a:xfrm>
          <a:prstGeom prst="rect">
            <a:avLst/>
          </a:prstGeom>
        </p:spPr>
        <p:txBody>
          <a:bodyPr/>
          <a:lstStyle>
            <a:lvl1pPr algn="r">
              <a:defRPr b="1"/>
            </a:lvl1pPr>
          </a:lstStyle>
          <a:p>
            <a:r>
              <a:rPr lang="en-US" dirty="0"/>
              <a:t>Timeline</a:t>
            </a:r>
            <a:endParaRPr lang="pt-BR" dirty="0"/>
          </a:p>
        </p:txBody>
      </p:sp>
      <p:cxnSp>
        <p:nvCxnSpPr>
          <p:cNvPr id="67" name="Straight Connector 66">
            <a:extLst>
              <a:ext uri="{FF2B5EF4-FFF2-40B4-BE49-F238E27FC236}">
                <a16:creationId xmlns:a16="http://schemas.microsoft.com/office/drawing/2014/main" id="{DFB8755E-98EB-4842-81C5-A30F7A085454}"/>
              </a:ext>
            </a:extLst>
          </p:cNvPr>
          <p:cNvCxnSpPr>
            <a:cxnSpLocks/>
          </p:cNvCxnSpPr>
          <p:nvPr/>
        </p:nvCxnSpPr>
        <p:spPr>
          <a:xfrm>
            <a:off x="6932991" y="4988283"/>
            <a:ext cx="1" cy="308770"/>
          </a:xfrm>
          <a:prstGeom prst="line">
            <a:avLst/>
          </a:prstGeom>
          <a:ln w="28575">
            <a:solidFill>
              <a:srgbClr val="F9C111"/>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E01B1C9-01E3-4286-911A-A9163DAFA059}"/>
              </a:ext>
            </a:extLst>
          </p:cNvPr>
          <p:cNvCxnSpPr>
            <a:cxnSpLocks/>
          </p:cNvCxnSpPr>
          <p:nvPr/>
        </p:nvCxnSpPr>
        <p:spPr>
          <a:xfrm>
            <a:off x="1745898" y="2593136"/>
            <a:ext cx="1" cy="308770"/>
          </a:xfrm>
          <a:prstGeom prst="line">
            <a:avLst/>
          </a:prstGeom>
          <a:ln w="28575">
            <a:solidFill>
              <a:srgbClr val="E02B86"/>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93F9DB1-76EB-4C43-8FC5-9BFC12270F53}"/>
              </a:ext>
            </a:extLst>
          </p:cNvPr>
          <p:cNvCxnSpPr>
            <a:cxnSpLocks/>
          </p:cNvCxnSpPr>
          <p:nvPr/>
        </p:nvCxnSpPr>
        <p:spPr>
          <a:xfrm>
            <a:off x="5595486" y="1027906"/>
            <a:ext cx="6596514" cy="0"/>
          </a:xfrm>
          <a:prstGeom prst="line">
            <a:avLst/>
          </a:prstGeom>
          <a:ln w="19050">
            <a:solidFill>
              <a:srgbClr val="00053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7CD7165-08B9-4D59-BF35-C7089F7482B0}"/>
              </a:ext>
            </a:extLst>
          </p:cNvPr>
          <p:cNvSpPr/>
          <p:nvPr/>
        </p:nvSpPr>
        <p:spPr>
          <a:xfrm>
            <a:off x="5595486" y="1027906"/>
            <a:ext cx="1894966" cy="36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6" name="Straight Connector 5">
            <a:extLst>
              <a:ext uri="{FF2B5EF4-FFF2-40B4-BE49-F238E27FC236}">
                <a16:creationId xmlns:a16="http://schemas.microsoft.com/office/drawing/2014/main" id="{D4322714-6C6C-44DC-B41C-9E5E55F0C9D4}"/>
              </a:ext>
            </a:extLst>
          </p:cNvPr>
          <p:cNvCxnSpPr>
            <a:cxnSpLocks/>
          </p:cNvCxnSpPr>
          <p:nvPr/>
        </p:nvCxnSpPr>
        <p:spPr>
          <a:xfrm flipV="1">
            <a:off x="-715" y="3867570"/>
            <a:ext cx="12291952" cy="43029"/>
          </a:xfrm>
          <a:prstGeom prst="line">
            <a:avLst/>
          </a:prstGeom>
          <a:ln w="28575">
            <a:solidFill>
              <a:srgbClr val="DADCE0"/>
            </a:solidFill>
            <a:prstDash val="sysDot"/>
          </a:ln>
        </p:spPr>
        <p:style>
          <a:lnRef idx="1">
            <a:schemeClr val="accent1"/>
          </a:lnRef>
          <a:fillRef idx="0">
            <a:schemeClr val="accent1"/>
          </a:fillRef>
          <a:effectRef idx="0">
            <a:schemeClr val="accent1"/>
          </a:effectRef>
          <a:fontRef idx="minor">
            <a:schemeClr val="tx1"/>
          </a:fontRef>
        </p:style>
      </p:cxnSp>
      <p:sp>
        <p:nvSpPr>
          <p:cNvPr id="7" name="Cross 6">
            <a:extLst>
              <a:ext uri="{FF2B5EF4-FFF2-40B4-BE49-F238E27FC236}">
                <a16:creationId xmlns:a16="http://schemas.microsoft.com/office/drawing/2014/main" id="{547219A6-6120-4C02-9CD5-645AD0F0E8A7}"/>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8" name="Straight Connector 7">
            <a:extLst>
              <a:ext uri="{FF2B5EF4-FFF2-40B4-BE49-F238E27FC236}">
                <a16:creationId xmlns:a16="http://schemas.microsoft.com/office/drawing/2014/main" id="{ECFB7B92-E086-4420-8175-912153C2B1B2}"/>
              </a:ext>
            </a:extLst>
          </p:cNvPr>
          <p:cNvCxnSpPr>
            <a:cxnSpLocks/>
          </p:cNvCxnSpPr>
          <p:nvPr/>
        </p:nvCxnSpPr>
        <p:spPr>
          <a:xfrm>
            <a:off x="1745898" y="3666836"/>
            <a:ext cx="0" cy="226738"/>
          </a:xfrm>
          <a:prstGeom prst="line">
            <a:avLst/>
          </a:prstGeom>
          <a:ln w="28575">
            <a:solidFill>
              <a:srgbClr val="E02B86"/>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6DEB934-8B94-4140-8C9D-18E9B9D8B055}"/>
              </a:ext>
            </a:extLst>
          </p:cNvPr>
          <p:cNvSpPr/>
          <p:nvPr/>
        </p:nvSpPr>
        <p:spPr>
          <a:xfrm>
            <a:off x="1295898" y="1767767"/>
            <a:ext cx="900000" cy="900000"/>
          </a:xfrm>
          <a:prstGeom prst="ellipse">
            <a:avLst/>
          </a:prstGeom>
          <a:solidFill>
            <a:srgbClr val="E02B8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7" name="Text Placeholder 17">
            <a:extLst>
              <a:ext uri="{FF2B5EF4-FFF2-40B4-BE49-F238E27FC236}">
                <a16:creationId xmlns:a16="http://schemas.microsoft.com/office/drawing/2014/main" id="{6B166CFA-D844-4D3A-B494-E117F55B418F}"/>
              </a:ext>
            </a:extLst>
          </p:cNvPr>
          <p:cNvSpPr>
            <a:spLocks noGrp="1"/>
          </p:cNvSpPr>
          <p:nvPr>
            <p:ph type="body" sz="quarter" idx="12" hasCustomPrompt="1"/>
          </p:nvPr>
        </p:nvSpPr>
        <p:spPr>
          <a:xfrm>
            <a:off x="1204112" y="2065321"/>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33" name="Text Placeholder 17">
            <a:extLst>
              <a:ext uri="{FF2B5EF4-FFF2-40B4-BE49-F238E27FC236}">
                <a16:creationId xmlns:a16="http://schemas.microsoft.com/office/drawing/2014/main" id="{130926CD-3473-4A7A-9E37-A1E11D66FB8D}"/>
              </a:ext>
            </a:extLst>
          </p:cNvPr>
          <p:cNvSpPr>
            <a:spLocks noGrp="1"/>
          </p:cNvSpPr>
          <p:nvPr>
            <p:ph type="body" sz="quarter" idx="17" hasCustomPrompt="1"/>
          </p:nvPr>
        </p:nvSpPr>
        <p:spPr>
          <a:xfrm>
            <a:off x="1012725" y="2901906"/>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42" name="Straight Connector 41">
            <a:extLst>
              <a:ext uri="{FF2B5EF4-FFF2-40B4-BE49-F238E27FC236}">
                <a16:creationId xmlns:a16="http://schemas.microsoft.com/office/drawing/2014/main" id="{0379D95D-6B77-41F3-BB7C-8B3D9E88DF42}"/>
              </a:ext>
            </a:extLst>
          </p:cNvPr>
          <p:cNvCxnSpPr>
            <a:cxnSpLocks/>
          </p:cNvCxnSpPr>
          <p:nvPr/>
        </p:nvCxnSpPr>
        <p:spPr>
          <a:xfrm>
            <a:off x="10431901" y="3948242"/>
            <a:ext cx="1" cy="308770"/>
          </a:xfrm>
          <a:prstGeom prst="line">
            <a:avLst/>
          </a:prstGeom>
          <a:ln w="28575">
            <a:solidFill>
              <a:srgbClr val="009ADD"/>
            </a:solidFill>
            <a:prstDash val="sysDot"/>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C3B44282-6A18-4DC9-8BFC-807EB3DFE0A0}"/>
              </a:ext>
            </a:extLst>
          </p:cNvPr>
          <p:cNvSpPr/>
          <p:nvPr/>
        </p:nvSpPr>
        <p:spPr>
          <a:xfrm>
            <a:off x="3033099" y="5269554"/>
            <a:ext cx="900000" cy="900000"/>
          </a:xfrm>
          <a:prstGeom prst="ellipse">
            <a:avLst/>
          </a:prstGeom>
          <a:solidFill>
            <a:srgbClr val="DF1B1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9" name="Oval 48">
            <a:extLst>
              <a:ext uri="{FF2B5EF4-FFF2-40B4-BE49-F238E27FC236}">
                <a16:creationId xmlns:a16="http://schemas.microsoft.com/office/drawing/2014/main" id="{6C95FC6D-618D-4008-8D8D-6ACD422708AC}"/>
              </a:ext>
            </a:extLst>
          </p:cNvPr>
          <p:cNvSpPr/>
          <p:nvPr/>
        </p:nvSpPr>
        <p:spPr>
          <a:xfrm>
            <a:off x="6507501" y="5269554"/>
            <a:ext cx="900000" cy="900000"/>
          </a:xfrm>
          <a:prstGeom prst="ellipse">
            <a:avLst/>
          </a:prstGeom>
          <a:solidFill>
            <a:srgbClr val="F9C11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8" name="Straight Connector 57">
            <a:extLst>
              <a:ext uri="{FF2B5EF4-FFF2-40B4-BE49-F238E27FC236}">
                <a16:creationId xmlns:a16="http://schemas.microsoft.com/office/drawing/2014/main" id="{9283B483-EF29-4C28-8925-7BBA214EAF45}"/>
              </a:ext>
            </a:extLst>
          </p:cNvPr>
          <p:cNvCxnSpPr>
            <a:cxnSpLocks/>
          </p:cNvCxnSpPr>
          <p:nvPr/>
        </p:nvCxnSpPr>
        <p:spPr>
          <a:xfrm>
            <a:off x="10431901" y="4988283"/>
            <a:ext cx="1" cy="308770"/>
          </a:xfrm>
          <a:prstGeom prst="line">
            <a:avLst/>
          </a:prstGeom>
          <a:ln w="28575">
            <a:solidFill>
              <a:srgbClr val="009ADD"/>
            </a:solidFill>
            <a:prstDash val="sysDot"/>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E185D5BF-26DF-4082-80CE-EF8A676AAFBD}"/>
              </a:ext>
            </a:extLst>
          </p:cNvPr>
          <p:cNvSpPr/>
          <p:nvPr/>
        </p:nvSpPr>
        <p:spPr>
          <a:xfrm>
            <a:off x="9981901" y="5269554"/>
            <a:ext cx="900000" cy="900000"/>
          </a:xfrm>
          <a:prstGeom prst="ellipse">
            <a:avLst/>
          </a:prstGeom>
          <a:solidFill>
            <a:srgbClr val="009AD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1" name="Text Placeholder 17">
            <a:extLst>
              <a:ext uri="{FF2B5EF4-FFF2-40B4-BE49-F238E27FC236}">
                <a16:creationId xmlns:a16="http://schemas.microsoft.com/office/drawing/2014/main" id="{5A8D8462-6203-4E59-BFF4-55E4FA379DE4}"/>
              </a:ext>
            </a:extLst>
          </p:cNvPr>
          <p:cNvSpPr>
            <a:spLocks noGrp="1"/>
          </p:cNvSpPr>
          <p:nvPr>
            <p:ph type="body" sz="quarter" idx="35" hasCustomPrompt="1"/>
          </p:nvPr>
        </p:nvSpPr>
        <p:spPr>
          <a:xfrm>
            <a:off x="9890115" y="5567108"/>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62" name="Text Placeholder 17">
            <a:extLst>
              <a:ext uri="{FF2B5EF4-FFF2-40B4-BE49-F238E27FC236}">
                <a16:creationId xmlns:a16="http://schemas.microsoft.com/office/drawing/2014/main" id="{B1860406-82DC-421C-85D5-2D67BD9C3F37}"/>
              </a:ext>
            </a:extLst>
          </p:cNvPr>
          <p:cNvSpPr>
            <a:spLocks noGrp="1"/>
          </p:cNvSpPr>
          <p:nvPr>
            <p:ph type="body" sz="quarter" idx="36" hasCustomPrompt="1"/>
          </p:nvPr>
        </p:nvSpPr>
        <p:spPr>
          <a:xfrm>
            <a:off x="9698728" y="4252850"/>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66" name="Straight Connector 65">
            <a:extLst>
              <a:ext uri="{FF2B5EF4-FFF2-40B4-BE49-F238E27FC236}">
                <a16:creationId xmlns:a16="http://schemas.microsoft.com/office/drawing/2014/main" id="{6F42B0B9-4F70-4D76-B3E6-74D72EC70A59}"/>
              </a:ext>
            </a:extLst>
          </p:cNvPr>
          <p:cNvCxnSpPr>
            <a:cxnSpLocks/>
          </p:cNvCxnSpPr>
          <p:nvPr/>
        </p:nvCxnSpPr>
        <p:spPr>
          <a:xfrm>
            <a:off x="6957501" y="3948242"/>
            <a:ext cx="1" cy="308770"/>
          </a:xfrm>
          <a:prstGeom prst="line">
            <a:avLst/>
          </a:prstGeom>
          <a:ln w="28575">
            <a:solidFill>
              <a:srgbClr val="F9C111"/>
            </a:solidFill>
            <a:prstDash val="sysDot"/>
          </a:ln>
        </p:spPr>
        <p:style>
          <a:lnRef idx="1">
            <a:schemeClr val="accent1"/>
          </a:lnRef>
          <a:fillRef idx="0">
            <a:schemeClr val="accent1"/>
          </a:fillRef>
          <a:effectRef idx="0">
            <a:schemeClr val="accent1"/>
          </a:effectRef>
          <a:fontRef idx="minor">
            <a:schemeClr val="tx1"/>
          </a:fontRef>
        </p:style>
      </p:cxnSp>
      <p:sp>
        <p:nvSpPr>
          <p:cNvPr id="68" name="Text Placeholder 17">
            <a:extLst>
              <a:ext uri="{FF2B5EF4-FFF2-40B4-BE49-F238E27FC236}">
                <a16:creationId xmlns:a16="http://schemas.microsoft.com/office/drawing/2014/main" id="{E00E6AF7-AEF7-4260-8868-D0D6416FE5E4}"/>
              </a:ext>
            </a:extLst>
          </p:cNvPr>
          <p:cNvSpPr>
            <a:spLocks noGrp="1"/>
          </p:cNvSpPr>
          <p:nvPr>
            <p:ph type="body" sz="quarter" idx="37" hasCustomPrompt="1"/>
          </p:nvPr>
        </p:nvSpPr>
        <p:spPr>
          <a:xfrm>
            <a:off x="6224328" y="4252850"/>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69" name="Straight Connector 68">
            <a:extLst>
              <a:ext uri="{FF2B5EF4-FFF2-40B4-BE49-F238E27FC236}">
                <a16:creationId xmlns:a16="http://schemas.microsoft.com/office/drawing/2014/main" id="{036B51BC-9834-47A6-BCCE-A92A8633DD6C}"/>
              </a:ext>
            </a:extLst>
          </p:cNvPr>
          <p:cNvCxnSpPr>
            <a:cxnSpLocks/>
          </p:cNvCxnSpPr>
          <p:nvPr/>
        </p:nvCxnSpPr>
        <p:spPr>
          <a:xfrm>
            <a:off x="3483099" y="3948242"/>
            <a:ext cx="1" cy="308770"/>
          </a:xfrm>
          <a:prstGeom prst="line">
            <a:avLst/>
          </a:prstGeom>
          <a:ln w="28575">
            <a:solidFill>
              <a:srgbClr val="DF1B1B"/>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BDBB4F-AAE6-41FB-B8E3-E232FBA75792}"/>
              </a:ext>
            </a:extLst>
          </p:cNvPr>
          <p:cNvCxnSpPr>
            <a:cxnSpLocks/>
          </p:cNvCxnSpPr>
          <p:nvPr/>
        </p:nvCxnSpPr>
        <p:spPr>
          <a:xfrm>
            <a:off x="3483099" y="4988283"/>
            <a:ext cx="1" cy="308770"/>
          </a:xfrm>
          <a:prstGeom prst="line">
            <a:avLst/>
          </a:prstGeom>
          <a:ln w="28575">
            <a:solidFill>
              <a:srgbClr val="DF1B1B"/>
            </a:solidFill>
            <a:prstDash val="sysDot"/>
          </a:ln>
        </p:spPr>
        <p:style>
          <a:lnRef idx="1">
            <a:schemeClr val="accent1"/>
          </a:lnRef>
          <a:fillRef idx="0">
            <a:schemeClr val="accent1"/>
          </a:fillRef>
          <a:effectRef idx="0">
            <a:schemeClr val="accent1"/>
          </a:effectRef>
          <a:fontRef idx="minor">
            <a:schemeClr val="tx1"/>
          </a:fontRef>
        </p:style>
      </p:cxnSp>
      <p:sp>
        <p:nvSpPr>
          <p:cNvPr id="71" name="Text Placeholder 17">
            <a:extLst>
              <a:ext uri="{FF2B5EF4-FFF2-40B4-BE49-F238E27FC236}">
                <a16:creationId xmlns:a16="http://schemas.microsoft.com/office/drawing/2014/main" id="{8D9947C7-8877-459F-8093-155B28A31CDB}"/>
              </a:ext>
            </a:extLst>
          </p:cNvPr>
          <p:cNvSpPr>
            <a:spLocks noGrp="1"/>
          </p:cNvSpPr>
          <p:nvPr>
            <p:ph type="body" sz="quarter" idx="38" hasCustomPrompt="1"/>
          </p:nvPr>
        </p:nvSpPr>
        <p:spPr>
          <a:xfrm>
            <a:off x="2749926" y="4252850"/>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78" name="Straight Connector 77">
            <a:extLst>
              <a:ext uri="{FF2B5EF4-FFF2-40B4-BE49-F238E27FC236}">
                <a16:creationId xmlns:a16="http://schemas.microsoft.com/office/drawing/2014/main" id="{F2806BF2-E734-4156-B886-BD048AA136BC}"/>
              </a:ext>
            </a:extLst>
          </p:cNvPr>
          <p:cNvCxnSpPr>
            <a:cxnSpLocks/>
          </p:cNvCxnSpPr>
          <p:nvPr/>
        </p:nvCxnSpPr>
        <p:spPr>
          <a:xfrm>
            <a:off x="5220300" y="2593136"/>
            <a:ext cx="1" cy="308770"/>
          </a:xfrm>
          <a:prstGeom prst="line">
            <a:avLst/>
          </a:prstGeom>
          <a:ln w="28575">
            <a:solidFill>
              <a:srgbClr val="F9620C"/>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6396B88-13FB-43FD-8605-015F03F4A671}"/>
              </a:ext>
            </a:extLst>
          </p:cNvPr>
          <p:cNvCxnSpPr>
            <a:cxnSpLocks/>
          </p:cNvCxnSpPr>
          <p:nvPr/>
        </p:nvCxnSpPr>
        <p:spPr>
          <a:xfrm>
            <a:off x="5220300" y="3666836"/>
            <a:ext cx="0" cy="226738"/>
          </a:xfrm>
          <a:prstGeom prst="line">
            <a:avLst/>
          </a:prstGeom>
          <a:ln w="28575">
            <a:solidFill>
              <a:srgbClr val="F9620C"/>
            </a:solidFill>
            <a:prstDash val="sysDot"/>
          </a:ln>
        </p:spPr>
        <p:style>
          <a:lnRef idx="1">
            <a:schemeClr val="accent1"/>
          </a:lnRef>
          <a:fillRef idx="0">
            <a:schemeClr val="accent1"/>
          </a:fillRef>
          <a:effectRef idx="0">
            <a:schemeClr val="accent1"/>
          </a:effectRef>
          <a:fontRef idx="minor">
            <a:schemeClr val="tx1"/>
          </a:fontRef>
        </p:style>
      </p:cxnSp>
      <p:sp>
        <p:nvSpPr>
          <p:cNvPr id="80" name="Text Placeholder 17">
            <a:extLst>
              <a:ext uri="{FF2B5EF4-FFF2-40B4-BE49-F238E27FC236}">
                <a16:creationId xmlns:a16="http://schemas.microsoft.com/office/drawing/2014/main" id="{41EB19F5-D54A-457D-8A59-47B428436132}"/>
              </a:ext>
            </a:extLst>
          </p:cNvPr>
          <p:cNvSpPr>
            <a:spLocks noGrp="1"/>
          </p:cNvSpPr>
          <p:nvPr>
            <p:ph type="body" sz="quarter" idx="39" hasCustomPrompt="1"/>
          </p:nvPr>
        </p:nvSpPr>
        <p:spPr>
          <a:xfrm>
            <a:off x="4487127" y="2901906"/>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81" name="Straight Connector 80">
            <a:extLst>
              <a:ext uri="{FF2B5EF4-FFF2-40B4-BE49-F238E27FC236}">
                <a16:creationId xmlns:a16="http://schemas.microsoft.com/office/drawing/2014/main" id="{FAF53B3B-BC8C-4BF8-A97B-16EF898F7FEC}"/>
              </a:ext>
            </a:extLst>
          </p:cNvPr>
          <p:cNvCxnSpPr>
            <a:cxnSpLocks/>
          </p:cNvCxnSpPr>
          <p:nvPr/>
        </p:nvCxnSpPr>
        <p:spPr>
          <a:xfrm>
            <a:off x="8694702" y="2593136"/>
            <a:ext cx="1" cy="308770"/>
          </a:xfrm>
          <a:prstGeom prst="line">
            <a:avLst/>
          </a:prstGeom>
          <a:ln w="28575">
            <a:solidFill>
              <a:srgbClr val="00BC29"/>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B6917B6-096F-4D2F-A468-2FA834CF2F40}"/>
              </a:ext>
            </a:extLst>
          </p:cNvPr>
          <p:cNvCxnSpPr>
            <a:cxnSpLocks/>
          </p:cNvCxnSpPr>
          <p:nvPr/>
        </p:nvCxnSpPr>
        <p:spPr>
          <a:xfrm>
            <a:off x="8694702" y="3666836"/>
            <a:ext cx="0" cy="226738"/>
          </a:xfrm>
          <a:prstGeom prst="line">
            <a:avLst/>
          </a:prstGeom>
          <a:ln w="28575">
            <a:solidFill>
              <a:srgbClr val="00BC29"/>
            </a:solidFill>
            <a:prstDash val="sysDot"/>
          </a:ln>
        </p:spPr>
        <p:style>
          <a:lnRef idx="1">
            <a:schemeClr val="accent1"/>
          </a:lnRef>
          <a:fillRef idx="0">
            <a:schemeClr val="accent1"/>
          </a:fillRef>
          <a:effectRef idx="0">
            <a:schemeClr val="accent1"/>
          </a:effectRef>
          <a:fontRef idx="minor">
            <a:schemeClr val="tx1"/>
          </a:fontRef>
        </p:style>
      </p:cxnSp>
      <p:sp>
        <p:nvSpPr>
          <p:cNvPr id="83" name="Text Placeholder 17">
            <a:extLst>
              <a:ext uri="{FF2B5EF4-FFF2-40B4-BE49-F238E27FC236}">
                <a16:creationId xmlns:a16="http://schemas.microsoft.com/office/drawing/2014/main" id="{B8C12C42-4CE8-47B8-8EE8-F9E94E858CDD}"/>
              </a:ext>
            </a:extLst>
          </p:cNvPr>
          <p:cNvSpPr>
            <a:spLocks noGrp="1"/>
          </p:cNvSpPr>
          <p:nvPr>
            <p:ph type="body" sz="quarter" idx="40" hasCustomPrompt="1"/>
          </p:nvPr>
        </p:nvSpPr>
        <p:spPr>
          <a:xfrm>
            <a:off x="7961529" y="2901906"/>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sp>
        <p:nvSpPr>
          <p:cNvPr id="15" name="Oval 14">
            <a:extLst>
              <a:ext uri="{FF2B5EF4-FFF2-40B4-BE49-F238E27FC236}">
                <a16:creationId xmlns:a16="http://schemas.microsoft.com/office/drawing/2014/main" id="{2773CE1E-2122-4778-8001-86D76C693F26}"/>
              </a:ext>
            </a:extLst>
          </p:cNvPr>
          <p:cNvSpPr/>
          <p:nvPr/>
        </p:nvSpPr>
        <p:spPr>
          <a:xfrm>
            <a:off x="4770300" y="1765402"/>
            <a:ext cx="900000" cy="900000"/>
          </a:xfrm>
          <a:prstGeom prst="ellipse">
            <a:avLst/>
          </a:prstGeom>
          <a:solidFill>
            <a:srgbClr val="F9620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Oval 16">
            <a:extLst>
              <a:ext uri="{FF2B5EF4-FFF2-40B4-BE49-F238E27FC236}">
                <a16:creationId xmlns:a16="http://schemas.microsoft.com/office/drawing/2014/main" id="{D41C0DDE-0F6A-45E2-BAAF-6A6643522CCE}"/>
              </a:ext>
            </a:extLst>
          </p:cNvPr>
          <p:cNvSpPr/>
          <p:nvPr/>
        </p:nvSpPr>
        <p:spPr>
          <a:xfrm>
            <a:off x="8244702" y="1765402"/>
            <a:ext cx="900000" cy="900000"/>
          </a:xfrm>
          <a:prstGeom prst="ellipse">
            <a:avLst/>
          </a:prstGeom>
          <a:solidFill>
            <a:srgbClr val="00BC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4" name="Text Placeholder 17">
            <a:extLst>
              <a:ext uri="{FF2B5EF4-FFF2-40B4-BE49-F238E27FC236}">
                <a16:creationId xmlns:a16="http://schemas.microsoft.com/office/drawing/2014/main" id="{92FAA391-52D5-447D-A9A0-6F0756064272}"/>
              </a:ext>
            </a:extLst>
          </p:cNvPr>
          <p:cNvSpPr>
            <a:spLocks noGrp="1"/>
          </p:cNvSpPr>
          <p:nvPr>
            <p:ph type="body" sz="quarter" idx="41" hasCustomPrompt="1"/>
          </p:nvPr>
        </p:nvSpPr>
        <p:spPr>
          <a:xfrm>
            <a:off x="4678514" y="2065321"/>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85" name="Text Placeholder 17">
            <a:extLst>
              <a:ext uri="{FF2B5EF4-FFF2-40B4-BE49-F238E27FC236}">
                <a16:creationId xmlns:a16="http://schemas.microsoft.com/office/drawing/2014/main" id="{6605CC17-05EB-4B8C-96B6-DCBB19ECCCB5}"/>
              </a:ext>
            </a:extLst>
          </p:cNvPr>
          <p:cNvSpPr>
            <a:spLocks noGrp="1"/>
          </p:cNvSpPr>
          <p:nvPr>
            <p:ph type="body" sz="quarter" idx="42" hasCustomPrompt="1"/>
          </p:nvPr>
        </p:nvSpPr>
        <p:spPr>
          <a:xfrm>
            <a:off x="8152916" y="2065321"/>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86" name="Text Placeholder 17">
            <a:extLst>
              <a:ext uri="{FF2B5EF4-FFF2-40B4-BE49-F238E27FC236}">
                <a16:creationId xmlns:a16="http://schemas.microsoft.com/office/drawing/2014/main" id="{283B87E4-58FE-4B74-AAF5-C3B7F0DCD61A}"/>
              </a:ext>
            </a:extLst>
          </p:cNvPr>
          <p:cNvSpPr>
            <a:spLocks noGrp="1"/>
          </p:cNvSpPr>
          <p:nvPr>
            <p:ph type="body" sz="quarter" idx="43" hasCustomPrompt="1"/>
          </p:nvPr>
        </p:nvSpPr>
        <p:spPr>
          <a:xfrm>
            <a:off x="6415715" y="5567108"/>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87" name="Text Placeholder 17">
            <a:extLst>
              <a:ext uri="{FF2B5EF4-FFF2-40B4-BE49-F238E27FC236}">
                <a16:creationId xmlns:a16="http://schemas.microsoft.com/office/drawing/2014/main" id="{2EB0DDF6-5CDC-4D66-A0C1-0E510F5BDAF0}"/>
              </a:ext>
            </a:extLst>
          </p:cNvPr>
          <p:cNvSpPr>
            <a:spLocks noGrp="1"/>
          </p:cNvSpPr>
          <p:nvPr>
            <p:ph type="body" sz="quarter" idx="44" hasCustomPrompt="1"/>
          </p:nvPr>
        </p:nvSpPr>
        <p:spPr>
          <a:xfrm>
            <a:off x="2941313" y="5567108"/>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89" name="Text Placeholder 11">
            <a:extLst>
              <a:ext uri="{FF2B5EF4-FFF2-40B4-BE49-F238E27FC236}">
                <a16:creationId xmlns:a16="http://schemas.microsoft.com/office/drawing/2014/main" id="{7A57C144-0DFF-48E4-ABD6-1D5A068AD237}"/>
              </a:ext>
            </a:extLst>
          </p:cNvPr>
          <p:cNvSpPr>
            <a:spLocks noGrp="1"/>
          </p:cNvSpPr>
          <p:nvPr>
            <p:ph type="body" sz="quarter" idx="11" hasCustomPrompt="1"/>
          </p:nvPr>
        </p:nvSpPr>
        <p:spPr>
          <a:xfrm>
            <a:off x="838201" y="1027906"/>
            <a:ext cx="4518600" cy="578821"/>
          </a:xfrm>
          <a:prstGeom prst="rect">
            <a:avLst/>
          </a:prstGeom>
        </p:spPr>
        <p:txBody>
          <a:bodyPr/>
          <a:lstStyle>
            <a:lvl1pPr marL="0" indent="0" algn="r">
              <a:lnSpc>
                <a:spcPts val="2000"/>
              </a:lnSpc>
              <a:buNone/>
              <a:defRPr sz="1800"/>
            </a:lvl1pPr>
            <a:lvl2pPr marL="457200" indent="0">
              <a:buNone/>
              <a:defRPr/>
            </a:lvl2pPr>
            <a:lvl5pPr marL="1828800" indent="0">
              <a:buNone/>
              <a:defRPr/>
            </a:lvl5pPr>
          </a:lstStyle>
          <a:p>
            <a:pPr lvl="0"/>
            <a:r>
              <a:rPr lang="en-US" dirty="0"/>
              <a:t>Breve </a:t>
            </a:r>
            <a:r>
              <a:rPr lang="en-US" dirty="0" err="1"/>
              <a:t>descrição</a:t>
            </a:r>
            <a:r>
              <a:rPr lang="en-US" dirty="0"/>
              <a:t> </a:t>
            </a:r>
          </a:p>
          <a:p>
            <a:pPr lvl="0"/>
            <a:r>
              <a:rPr lang="en-US" dirty="0"/>
              <a:t>de </a:t>
            </a:r>
            <a:r>
              <a:rPr lang="en-US" dirty="0" err="1"/>
              <a:t>até</a:t>
            </a:r>
            <a:r>
              <a:rPr lang="en-US" dirty="0"/>
              <a:t> </a:t>
            </a:r>
            <a:r>
              <a:rPr lang="en-US" dirty="0" err="1"/>
              <a:t>duas</a:t>
            </a:r>
            <a:r>
              <a:rPr lang="en-US" dirty="0"/>
              <a:t> </a:t>
            </a:r>
            <a:r>
              <a:rPr lang="en-US" dirty="0" err="1"/>
              <a:t>linhas</a:t>
            </a:r>
            <a:endParaRPr lang="en-US" dirty="0"/>
          </a:p>
          <a:p>
            <a:pPr lvl="0"/>
            <a:endParaRPr lang="en-US" dirty="0"/>
          </a:p>
        </p:txBody>
      </p:sp>
      <p:sp>
        <p:nvSpPr>
          <p:cNvPr id="104" name="Oval 103">
            <a:extLst>
              <a:ext uri="{FF2B5EF4-FFF2-40B4-BE49-F238E27FC236}">
                <a16:creationId xmlns:a16="http://schemas.microsoft.com/office/drawing/2014/main" id="{8C8F970F-9B9D-4C28-B32E-EAD1D80EA436}"/>
              </a:ext>
            </a:extLst>
          </p:cNvPr>
          <p:cNvSpPr/>
          <p:nvPr/>
        </p:nvSpPr>
        <p:spPr>
          <a:xfrm>
            <a:off x="1691898" y="3867570"/>
            <a:ext cx="108000" cy="108000"/>
          </a:xfrm>
          <a:prstGeom prst="ellipse">
            <a:avLst/>
          </a:prstGeom>
          <a:solidFill>
            <a:srgbClr val="E02B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5" name="Oval 104">
            <a:extLst>
              <a:ext uri="{FF2B5EF4-FFF2-40B4-BE49-F238E27FC236}">
                <a16:creationId xmlns:a16="http://schemas.microsoft.com/office/drawing/2014/main" id="{1B8339EA-0723-4F07-80C9-753C816B99E1}"/>
              </a:ext>
            </a:extLst>
          </p:cNvPr>
          <p:cNvSpPr/>
          <p:nvPr/>
        </p:nvSpPr>
        <p:spPr>
          <a:xfrm>
            <a:off x="3429099" y="3846304"/>
            <a:ext cx="108000" cy="108000"/>
          </a:xfrm>
          <a:prstGeom prst="ellipse">
            <a:avLst/>
          </a:prstGeom>
          <a:solidFill>
            <a:srgbClr val="DF1B1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6" name="Oval 105">
            <a:extLst>
              <a:ext uri="{FF2B5EF4-FFF2-40B4-BE49-F238E27FC236}">
                <a16:creationId xmlns:a16="http://schemas.microsoft.com/office/drawing/2014/main" id="{D220CC49-20FA-4D83-B031-D06C53E55E21}"/>
              </a:ext>
            </a:extLst>
          </p:cNvPr>
          <p:cNvSpPr/>
          <p:nvPr/>
        </p:nvSpPr>
        <p:spPr>
          <a:xfrm>
            <a:off x="5166300" y="3867570"/>
            <a:ext cx="108000" cy="108000"/>
          </a:xfrm>
          <a:prstGeom prst="ellipse">
            <a:avLst/>
          </a:prstGeom>
          <a:solidFill>
            <a:srgbClr val="F962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7" name="Oval 106">
            <a:extLst>
              <a:ext uri="{FF2B5EF4-FFF2-40B4-BE49-F238E27FC236}">
                <a16:creationId xmlns:a16="http://schemas.microsoft.com/office/drawing/2014/main" id="{952612CE-17EB-4186-A87C-620CDFD3886A}"/>
              </a:ext>
            </a:extLst>
          </p:cNvPr>
          <p:cNvSpPr/>
          <p:nvPr/>
        </p:nvSpPr>
        <p:spPr>
          <a:xfrm>
            <a:off x="6903501" y="3846304"/>
            <a:ext cx="108000" cy="108000"/>
          </a:xfrm>
          <a:prstGeom prst="ellipse">
            <a:avLst/>
          </a:prstGeom>
          <a:solidFill>
            <a:srgbClr val="F9C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8" name="Oval 107">
            <a:extLst>
              <a:ext uri="{FF2B5EF4-FFF2-40B4-BE49-F238E27FC236}">
                <a16:creationId xmlns:a16="http://schemas.microsoft.com/office/drawing/2014/main" id="{F704ABB9-7D24-4A8D-BFD9-7708C9DE063E}"/>
              </a:ext>
            </a:extLst>
          </p:cNvPr>
          <p:cNvSpPr/>
          <p:nvPr/>
        </p:nvSpPr>
        <p:spPr>
          <a:xfrm>
            <a:off x="8640702" y="3846304"/>
            <a:ext cx="108000" cy="108000"/>
          </a:xfrm>
          <a:prstGeom prst="ellipse">
            <a:avLst/>
          </a:prstGeom>
          <a:solidFill>
            <a:srgbClr val="00BC2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9" name="Oval 108">
            <a:extLst>
              <a:ext uri="{FF2B5EF4-FFF2-40B4-BE49-F238E27FC236}">
                <a16:creationId xmlns:a16="http://schemas.microsoft.com/office/drawing/2014/main" id="{B3BD8BC6-8ABF-4CBD-A044-02E76AA098DF}"/>
              </a:ext>
            </a:extLst>
          </p:cNvPr>
          <p:cNvSpPr/>
          <p:nvPr/>
        </p:nvSpPr>
        <p:spPr>
          <a:xfrm>
            <a:off x="10377901" y="3846304"/>
            <a:ext cx="108000" cy="108000"/>
          </a:xfrm>
          <a:prstGeom prst="ellipse">
            <a:avLst/>
          </a:prstGeom>
          <a:solidFill>
            <a:srgbClr val="009AD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9457425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meline Line Vazia">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9039EC65-AA89-4D9C-B774-D6DD73ACF573}"/>
              </a:ext>
            </a:extLst>
          </p:cNvPr>
          <p:cNvSpPr/>
          <p:nvPr/>
        </p:nvSpPr>
        <p:spPr>
          <a:xfrm>
            <a:off x="935898"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9" name="Rectangle 98">
            <a:extLst>
              <a:ext uri="{FF2B5EF4-FFF2-40B4-BE49-F238E27FC236}">
                <a16:creationId xmlns:a16="http://schemas.microsoft.com/office/drawing/2014/main" id="{E93D3D0A-D862-42CE-8DF8-6363D3C20F58}"/>
              </a:ext>
            </a:extLst>
          </p:cNvPr>
          <p:cNvSpPr/>
          <p:nvPr/>
        </p:nvSpPr>
        <p:spPr>
          <a:xfrm>
            <a:off x="2673099"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0" name="Rectangle 99">
            <a:extLst>
              <a:ext uri="{FF2B5EF4-FFF2-40B4-BE49-F238E27FC236}">
                <a16:creationId xmlns:a16="http://schemas.microsoft.com/office/drawing/2014/main" id="{ECA27F45-3F13-445F-8471-F7DBD8832C7D}"/>
              </a:ext>
            </a:extLst>
          </p:cNvPr>
          <p:cNvSpPr/>
          <p:nvPr/>
        </p:nvSpPr>
        <p:spPr>
          <a:xfrm>
            <a:off x="4410300"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1" name="Rectangle 100">
            <a:extLst>
              <a:ext uri="{FF2B5EF4-FFF2-40B4-BE49-F238E27FC236}">
                <a16:creationId xmlns:a16="http://schemas.microsoft.com/office/drawing/2014/main" id="{1E80A853-B1AD-46BA-861C-34FB7687709C}"/>
              </a:ext>
            </a:extLst>
          </p:cNvPr>
          <p:cNvSpPr/>
          <p:nvPr/>
        </p:nvSpPr>
        <p:spPr>
          <a:xfrm>
            <a:off x="6147501"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2" name="Rectangle 101">
            <a:extLst>
              <a:ext uri="{FF2B5EF4-FFF2-40B4-BE49-F238E27FC236}">
                <a16:creationId xmlns:a16="http://schemas.microsoft.com/office/drawing/2014/main" id="{1E8B1E0B-6FA3-434C-B534-6C99244FA9BF}"/>
              </a:ext>
            </a:extLst>
          </p:cNvPr>
          <p:cNvSpPr/>
          <p:nvPr/>
        </p:nvSpPr>
        <p:spPr>
          <a:xfrm>
            <a:off x="9621901"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3" name="Rectangle 102">
            <a:extLst>
              <a:ext uri="{FF2B5EF4-FFF2-40B4-BE49-F238E27FC236}">
                <a16:creationId xmlns:a16="http://schemas.microsoft.com/office/drawing/2014/main" id="{EB3D1ADB-8A31-4E15-B0D6-04B21E0EF44D}"/>
              </a:ext>
            </a:extLst>
          </p:cNvPr>
          <p:cNvSpPr/>
          <p:nvPr/>
        </p:nvSpPr>
        <p:spPr>
          <a:xfrm>
            <a:off x="7884702" y="-1"/>
            <a:ext cx="1620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0" name="Title 89">
            <a:extLst>
              <a:ext uri="{FF2B5EF4-FFF2-40B4-BE49-F238E27FC236}">
                <a16:creationId xmlns:a16="http://schemas.microsoft.com/office/drawing/2014/main" id="{CF5E0141-F7AA-4027-88D8-1E12F14B184A}"/>
              </a:ext>
            </a:extLst>
          </p:cNvPr>
          <p:cNvSpPr>
            <a:spLocks noGrp="1"/>
          </p:cNvSpPr>
          <p:nvPr>
            <p:ph type="title" hasCustomPrompt="1"/>
          </p:nvPr>
        </p:nvSpPr>
        <p:spPr>
          <a:xfrm>
            <a:off x="612607" y="365126"/>
            <a:ext cx="4744193" cy="633284"/>
          </a:xfrm>
          <a:prstGeom prst="rect">
            <a:avLst/>
          </a:prstGeom>
        </p:spPr>
        <p:txBody>
          <a:bodyPr/>
          <a:lstStyle>
            <a:lvl1pPr algn="r">
              <a:defRPr b="1"/>
            </a:lvl1pPr>
          </a:lstStyle>
          <a:p>
            <a:r>
              <a:rPr lang="en-US" dirty="0"/>
              <a:t>Timeline</a:t>
            </a:r>
            <a:endParaRPr lang="pt-BR" dirty="0"/>
          </a:p>
        </p:txBody>
      </p:sp>
      <p:cxnSp>
        <p:nvCxnSpPr>
          <p:cNvPr id="4" name="Straight Connector 3">
            <a:extLst>
              <a:ext uri="{FF2B5EF4-FFF2-40B4-BE49-F238E27FC236}">
                <a16:creationId xmlns:a16="http://schemas.microsoft.com/office/drawing/2014/main" id="{593F9DB1-76EB-4C43-8FC5-9BFC12270F53}"/>
              </a:ext>
            </a:extLst>
          </p:cNvPr>
          <p:cNvCxnSpPr>
            <a:cxnSpLocks/>
          </p:cNvCxnSpPr>
          <p:nvPr/>
        </p:nvCxnSpPr>
        <p:spPr>
          <a:xfrm>
            <a:off x="5595486" y="1027906"/>
            <a:ext cx="6596514" cy="0"/>
          </a:xfrm>
          <a:prstGeom prst="line">
            <a:avLst/>
          </a:prstGeom>
          <a:ln w="19050">
            <a:solidFill>
              <a:srgbClr val="00053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7CD7165-08B9-4D59-BF35-C7089F7482B0}"/>
              </a:ext>
            </a:extLst>
          </p:cNvPr>
          <p:cNvSpPr/>
          <p:nvPr/>
        </p:nvSpPr>
        <p:spPr>
          <a:xfrm>
            <a:off x="5595486" y="1027906"/>
            <a:ext cx="1894966" cy="36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6" name="Straight Connector 5">
            <a:extLst>
              <a:ext uri="{FF2B5EF4-FFF2-40B4-BE49-F238E27FC236}">
                <a16:creationId xmlns:a16="http://schemas.microsoft.com/office/drawing/2014/main" id="{D4322714-6C6C-44DC-B41C-9E5E55F0C9D4}"/>
              </a:ext>
            </a:extLst>
          </p:cNvPr>
          <p:cNvCxnSpPr>
            <a:cxnSpLocks/>
          </p:cNvCxnSpPr>
          <p:nvPr/>
        </p:nvCxnSpPr>
        <p:spPr>
          <a:xfrm flipV="1">
            <a:off x="-715" y="3867570"/>
            <a:ext cx="12291952" cy="43029"/>
          </a:xfrm>
          <a:prstGeom prst="line">
            <a:avLst/>
          </a:prstGeom>
          <a:ln w="28575">
            <a:solidFill>
              <a:srgbClr val="DADCE0"/>
            </a:solidFill>
            <a:prstDash val="sysDot"/>
          </a:ln>
        </p:spPr>
        <p:style>
          <a:lnRef idx="1">
            <a:schemeClr val="accent1"/>
          </a:lnRef>
          <a:fillRef idx="0">
            <a:schemeClr val="accent1"/>
          </a:fillRef>
          <a:effectRef idx="0">
            <a:schemeClr val="accent1"/>
          </a:effectRef>
          <a:fontRef idx="minor">
            <a:schemeClr val="tx1"/>
          </a:fontRef>
        </p:style>
      </p:cxnSp>
      <p:sp>
        <p:nvSpPr>
          <p:cNvPr id="7" name="Cross 6">
            <a:extLst>
              <a:ext uri="{FF2B5EF4-FFF2-40B4-BE49-F238E27FC236}">
                <a16:creationId xmlns:a16="http://schemas.microsoft.com/office/drawing/2014/main" id="{547219A6-6120-4C02-9CD5-645AD0F0E8A7}"/>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9" name="Text Placeholder 11">
            <a:extLst>
              <a:ext uri="{FF2B5EF4-FFF2-40B4-BE49-F238E27FC236}">
                <a16:creationId xmlns:a16="http://schemas.microsoft.com/office/drawing/2014/main" id="{7A57C144-0DFF-48E4-ABD6-1D5A068AD237}"/>
              </a:ext>
            </a:extLst>
          </p:cNvPr>
          <p:cNvSpPr>
            <a:spLocks noGrp="1"/>
          </p:cNvSpPr>
          <p:nvPr>
            <p:ph type="body" sz="quarter" idx="11" hasCustomPrompt="1"/>
          </p:nvPr>
        </p:nvSpPr>
        <p:spPr>
          <a:xfrm>
            <a:off x="838201" y="1027906"/>
            <a:ext cx="4518600" cy="578821"/>
          </a:xfrm>
          <a:prstGeom prst="rect">
            <a:avLst/>
          </a:prstGeom>
        </p:spPr>
        <p:txBody>
          <a:bodyPr/>
          <a:lstStyle>
            <a:lvl1pPr marL="0" indent="0" algn="r">
              <a:lnSpc>
                <a:spcPts val="2000"/>
              </a:lnSpc>
              <a:buNone/>
              <a:defRPr sz="1800"/>
            </a:lvl1pPr>
            <a:lvl2pPr marL="457200" indent="0">
              <a:buNone/>
              <a:defRPr/>
            </a:lvl2pPr>
            <a:lvl5pPr marL="1828800" indent="0">
              <a:buNone/>
              <a:defRPr/>
            </a:lvl5pPr>
          </a:lstStyle>
          <a:p>
            <a:pPr lvl="0"/>
            <a:r>
              <a:rPr lang="en-US" dirty="0"/>
              <a:t>Breve </a:t>
            </a:r>
            <a:r>
              <a:rPr lang="en-US" dirty="0" err="1"/>
              <a:t>descrição</a:t>
            </a:r>
            <a:r>
              <a:rPr lang="en-US" dirty="0"/>
              <a:t> </a:t>
            </a:r>
          </a:p>
          <a:p>
            <a:pPr lvl="0"/>
            <a:r>
              <a:rPr lang="en-US" dirty="0"/>
              <a:t>de </a:t>
            </a:r>
            <a:r>
              <a:rPr lang="en-US" dirty="0" err="1"/>
              <a:t>até</a:t>
            </a:r>
            <a:r>
              <a:rPr lang="en-US" dirty="0"/>
              <a:t> </a:t>
            </a:r>
            <a:r>
              <a:rPr lang="en-US" dirty="0" err="1"/>
              <a:t>duas</a:t>
            </a:r>
            <a:r>
              <a:rPr lang="en-US" dirty="0"/>
              <a:t> </a:t>
            </a:r>
            <a:r>
              <a:rPr lang="en-US" dirty="0" err="1"/>
              <a:t>linhas</a:t>
            </a:r>
            <a:endParaRPr lang="en-US" dirty="0"/>
          </a:p>
          <a:p>
            <a:pPr lvl="0"/>
            <a:endParaRPr lang="en-US" dirty="0"/>
          </a:p>
        </p:txBody>
      </p:sp>
    </p:spTree>
    <p:extLst>
      <p:ext uri="{BB962C8B-B14F-4D97-AF65-F5344CB8AC3E}">
        <p14:creationId xmlns:p14="http://schemas.microsoft.com/office/powerpoint/2010/main" val="620681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meline Up 2">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9D02DB8-AA3E-4CEE-A97B-58A53BFEE0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7" name="Rectangle 76">
            <a:extLst>
              <a:ext uri="{FF2B5EF4-FFF2-40B4-BE49-F238E27FC236}">
                <a16:creationId xmlns:a16="http://schemas.microsoft.com/office/drawing/2014/main" id="{ABF4D071-58FA-4458-B165-7FC7E199AA89}"/>
              </a:ext>
            </a:extLst>
          </p:cNvPr>
          <p:cNvSpPr/>
          <p:nvPr/>
        </p:nvSpPr>
        <p:spPr>
          <a:xfrm>
            <a:off x="484566"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8" name="Rectangle 87">
            <a:extLst>
              <a:ext uri="{FF2B5EF4-FFF2-40B4-BE49-F238E27FC236}">
                <a16:creationId xmlns:a16="http://schemas.microsoft.com/office/drawing/2014/main" id="{2D55A468-0AB9-4B01-9398-6DB2C85A6B53}"/>
              </a:ext>
            </a:extLst>
          </p:cNvPr>
          <p:cNvSpPr/>
          <p:nvPr/>
        </p:nvSpPr>
        <p:spPr>
          <a:xfrm>
            <a:off x="2384740"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1" name="Rectangle 90">
            <a:extLst>
              <a:ext uri="{FF2B5EF4-FFF2-40B4-BE49-F238E27FC236}">
                <a16:creationId xmlns:a16="http://schemas.microsoft.com/office/drawing/2014/main" id="{E50F6F03-E14C-48F3-B294-AF6D68EEB050}"/>
              </a:ext>
            </a:extLst>
          </p:cNvPr>
          <p:cNvSpPr/>
          <p:nvPr/>
        </p:nvSpPr>
        <p:spPr>
          <a:xfrm>
            <a:off x="4284914"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2" name="Rectangle 91">
            <a:extLst>
              <a:ext uri="{FF2B5EF4-FFF2-40B4-BE49-F238E27FC236}">
                <a16:creationId xmlns:a16="http://schemas.microsoft.com/office/drawing/2014/main" id="{4FD1C82C-A8C3-42F2-B098-04F916D5C987}"/>
              </a:ext>
            </a:extLst>
          </p:cNvPr>
          <p:cNvSpPr/>
          <p:nvPr/>
        </p:nvSpPr>
        <p:spPr>
          <a:xfrm>
            <a:off x="6185088"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3" name="Rectangle 92">
            <a:extLst>
              <a:ext uri="{FF2B5EF4-FFF2-40B4-BE49-F238E27FC236}">
                <a16:creationId xmlns:a16="http://schemas.microsoft.com/office/drawing/2014/main" id="{0E5FA59D-8CB4-484F-BDDB-46BE6D018777}"/>
              </a:ext>
            </a:extLst>
          </p:cNvPr>
          <p:cNvSpPr/>
          <p:nvPr/>
        </p:nvSpPr>
        <p:spPr>
          <a:xfrm>
            <a:off x="9985437"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4" name="Rectangle 93">
            <a:extLst>
              <a:ext uri="{FF2B5EF4-FFF2-40B4-BE49-F238E27FC236}">
                <a16:creationId xmlns:a16="http://schemas.microsoft.com/office/drawing/2014/main" id="{30565DA8-ECF9-40E4-9B53-48D83DD3C148}"/>
              </a:ext>
            </a:extLst>
          </p:cNvPr>
          <p:cNvSpPr/>
          <p:nvPr/>
        </p:nvSpPr>
        <p:spPr>
          <a:xfrm>
            <a:off x="8085262"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0" name="Title 89">
            <a:extLst>
              <a:ext uri="{FF2B5EF4-FFF2-40B4-BE49-F238E27FC236}">
                <a16:creationId xmlns:a16="http://schemas.microsoft.com/office/drawing/2014/main" id="{CF5E0141-F7AA-4027-88D8-1E12F14B184A}"/>
              </a:ext>
            </a:extLst>
          </p:cNvPr>
          <p:cNvSpPr>
            <a:spLocks noGrp="1"/>
          </p:cNvSpPr>
          <p:nvPr>
            <p:ph type="title" hasCustomPrompt="1"/>
          </p:nvPr>
        </p:nvSpPr>
        <p:spPr>
          <a:xfrm>
            <a:off x="612607" y="365126"/>
            <a:ext cx="4744193" cy="633284"/>
          </a:xfrm>
          <a:prstGeom prst="rect">
            <a:avLst/>
          </a:prstGeom>
        </p:spPr>
        <p:txBody>
          <a:bodyPr/>
          <a:lstStyle>
            <a:lvl1pPr algn="r">
              <a:defRPr b="1"/>
            </a:lvl1pPr>
          </a:lstStyle>
          <a:p>
            <a:r>
              <a:rPr lang="en-US" dirty="0"/>
              <a:t>Timeline</a:t>
            </a:r>
            <a:endParaRPr lang="pt-BR" dirty="0"/>
          </a:p>
        </p:txBody>
      </p:sp>
      <p:cxnSp>
        <p:nvCxnSpPr>
          <p:cNvPr id="40" name="Straight Connector 39">
            <a:extLst>
              <a:ext uri="{FF2B5EF4-FFF2-40B4-BE49-F238E27FC236}">
                <a16:creationId xmlns:a16="http://schemas.microsoft.com/office/drawing/2014/main" id="{7E01B1C9-01E3-4286-911A-A9163DAFA059}"/>
              </a:ext>
            </a:extLst>
          </p:cNvPr>
          <p:cNvCxnSpPr>
            <a:cxnSpLocks/>
          </p:cNvCxnSpPr>
          <p:nvPr/>
        </p:nvCxnSpPr>
        <p:spPr>
          <a:xfrm>
            <a:off x="1348566" y="4178398"/>
            <a:ext cx="1" cy="308770"/>
          </a:xfrm>
          <a:prstGeom prst="line">
            <a:avLst/>
          </a:prstGeom>
          <a:ln w="28575">
            <a:solidFill>
              <a:srgbClr val="E02B86"/>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93F9DB1-76EB-4C43-8FC5-9BFC12270F53}"/>
              </a:ext>
            </a:extLst>
          </p:cNvPr>
          <p:cNvCxnSpPr>
            <a:cxnSpLocks/>
          </p:cNvCxnSpPr>
          <p:nvPr/>
        </p:nvCxnSpPr>
        <p:spPr>
          <a:xfrm>
            <a:off x="5595486" y="1027906"/>
            <a:ext cx="6596514" cy="0"/>
          </a:xfrm>
          <a:prstGeom prst="line">
            <a:avLst/>
          </a:prstGeom>
          <a:ln w="19050">
            <a:solidFill>
              <a:srgbClr val="00053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7CD7165-08B9-4D59-BF35-C7089F7482B0}"/>
              </a:ext>
            </a:extLst>
          </p:cNvPr>
          <p:cNvSpPr/>
          <p:nvPr/>
        </p:nvSpPr>
        <p:spPr>
          <a:xfrm>
            <a:off x="5595486" y="1027906"/>
            <a:ext cx="1894966" cy="36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6" name="Straight Connector 5">
            <a:extLst>
              <a:ext uri="{FF2B5EF4-FFF2-40B4-BE49-F238E27FC236}">
                <a16:creationId xmlns:a16="http://schemas.microsoft.com/office/drawing/2014/main" id="{D4322714-6C6C-44DC-B41C-9E5E55F0C9D4}"/>
              </a:ext>
            </a:extLst>
          </p:cNvPr>
          <p:cNvCxnSpPr>
            <a:cxnSpLocks/>
          </p:cNvCxnSpPr>
          <p:nvPr/>
        </p:nvCxnSpPr>
        <p:spPr>
          <a:xfrm flipV="1">
            <a:off x="0" y="3429000"/>
            <a:ext cx="12192000" cy="2279200"/>
          </a:xfrm>
          <a:prstGeom prst="line">
            <a:avLst/>
          </a:prstGeom>
          <a:ln w="28575">
            <a:solidFill>
              <a:srgbClr val="DADCE0"/>
            </a:solidFill>
            <a:prstDash val="sysDot"/>
          </a:ln>
        </p:spPr>
        <p:style>
          <a:lnRef idx="1">
            <a:schemeClr val="accent1"/>
          </a:lnRef>
          <a:fillRef idx="0">
            <a:schemeClr val="accent1"/>
          </a:fillRef>
          <a:effectRef idx="0">
            <a:schemeClr val="accent1"/>
          </a:effectRef>
          <a:fontRef idx="minor">
            <a:schemeClr val="tx1"/>
          </a:fontRef>
        </p:style>
      </p:cxnSp>
      <p:sp>
        <p:nvSpPr>
          <p:cNvPr id="7" name="Cross 6">
            <a:extLst>
              <a:ext uri="{FF2B5EF4-FFF2-40B4-BE49-F238E27FC236}">
                <a16:creationId xmlns:a16="http://schemas.microsoft.com/office/drawing/2014/main" id="{547219A6-6120-4C02-9CD5-645AD0F0E8A7}"/>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8" name="Straight Connector 7">
            <a:extLst>
              <a:ext uri="{FF2B5EF4-FFF2-40B4-BE49-F238E27FC236}">
                <a16:creationId xmlns:a16="http://schemas.microsoft.com/office/drawing/2014/main" id="{ECFB7B92-E086-4420-8175-912153C2B1B2}"/>
              </a:ext>
            </a:extLst>
          </p:cNvPr>
          <p:cNvCxnSpPr>
            <a:cxnSpLocks/>
          </p:cNvCxnSpPr>
          <p:nvPr/>
        </p:nvCxnSpPr>
        <p:spPr>
          <a:xfrm>
            <a:off x="1348566" y="5252098"/>
            <a:ext cx="0" cy="226738"/>
          </a:xfrm>
          <a:prstGeom prst="line">
            <a:avLst/>
          </a:prstGeom>
          <a:ln w="28575">
            <a:solidFill>
              <a:srgbClr val="E02B86"/>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6DEB934-8B94-4140-8C9D-18E9B9D8B055}"/>
              </a:ext>
            </a:extLst>
          </p:cNvPr>
          <p:cNvSpPr/>
          <p:nvPr/>
        </p:nvSpPr>
        <p:spPr>
          <a:xfrm>
            <a:off x="898566" y="3270613"/>
            <a:ext cx="900000" cy="900000"/>
          </a:xfrm>
          <a:prstGeom prst="ellipse">
            <a:avLst/>
          </a:prstGeom>
          <a:solidFill>
            <a:srgbClr val="E02B8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7" name="Text Placeholder 17">
            <a:extLst>
              <a:ext uri="{FF2B5EF4-FFF2-40B4-BE49-F238E27FC236}">
                <a16:creationId xmlns:a16="http://schemas.microsoft.com/office/drawing/2014/main" id="{6B166CFA-D844-4D3A-B494-E117F55B418F}"/>
              </a:ext>
            </a:extLst>
          </p:cNvPr>
          <p:cNvSpPr>
            <a:spLocks noGrp="1"/>
          </p:cNvSpPr>
          <p:nvPr>
            <p:ph type="body" sz="quarter" idx="12" hasCustomPrompt="1"/>
          </p:nvPr>
        </p:nvSpPr>
        <p:spPr>
          <a:xfrm>
            <a:off x="806780" y="3568167"/>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33" name="Text Placeholder 17">
            <a:extLst>
              <a:ext uri="{FF2B5EF4-FFF2-40B4-BE49-F238E27FC236}">
                <a16:creationId xmlns:a16="http://schemas.microsoft.com/office/drawing/2014/main" id="{130926CD-3473-4A7A-9E37-A1E11D66FB8D}"/>
              </a:ext>
            </a:extLst>
          </p:cNvPr>
          <p:cNvSpPr>
            <a:spLocks noGrp="1"/>
          </p:cNvSpPr>
          <p:nvPr>
            <p:ph type="body" sz="quarter" idx="17" hasCustomPrompt="1"/>
          </p:nvPr>
        </p:nvSpPr>
        <p:spPr>
          <a:xfrm>
            <a:off x="615393" y="4487168"/>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79" name="Straight Connector 78">
            <a:extLst>
              <a:ext uri="{FF2B5EF4-FFF2-40B4-BE49-F238E27FC236}">
                <a16:creationId xmlns:a16="http://schemas.microsoft.com/office/drawing/2014/main" id="{E6396B88-13FB-43FD-8605-015F03F4A671}"/>
              </a:ext>
            </a:extLst>
          </p:cNvPr>
          <p:cNvCxnSpPr>
            <a:cxnSpLocks/>
          </p:cNvCxnSpPr>
          <p:nvPr/>
        </p:nvCxnSpPr>
        <p:spPr>
          <a:xfrm>
            <a:off x="5254854" y="2979890"/>
            <a:ext cx="0" cy="226738"/>
          </a:xfrm>
          <a:prstGeom prst="line">
            <a:avLst/>
          </a:prstGeom>
          <a:ln w="28575">
            <a:solidFill>
              <a:srgbClr val="F9620C"/>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F53B3B-BC8C-4BF8-A97B-16EF898F7FEC}"/>
              </a:ext>
            </a:extLst>
          </p:cNvPr>
          <p:cNvCxnSpPr>
            <a:cxnSpLocks/>
          </p:cNvCxnSpPr>
          <p:nvPr/>
        </p:nvCxnSpPr>
        <p:spPr>
          <a:xfrm>
            <a:off x="8949262" y="2746661"/>
            <a:ext cx="1" cy="308770"/>
          </a:xfrm>
          <a:prstGeom prst="line">
            <a:avLst/>
          </a:prstGeom>
          <a:ln w="28575">
            <a:solidFill>
              <a:srgbClr val="00BC29"/>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B6917B6-096F-4D2F-A468-2FA834CF2F40}"/>
              </a:ext>
            </a:extLst>
          </p:cNvPr>
          <p:cNvCxnSpPr>
            <a:cxnSpLocks/>
          </p:cNvCxnSpPr>
          <p:nvPr/>
        </p:nvCxnSpPr>
        <p:spPr>
          <a:xfrm>
            <a:off x="8949262" y="3820361"/>
            <a:ext cx="0" cy="226738"/>
          </a:xfrm>
          <a:prstGeom prst="line">
            <a:avLst/>
          </a:prstGeom>
          <a:ln w="28575">
            <a:solidFill>
              <a:srgbClr val="00BC29"/>
            </a:solidFill>
            <a:prstDash val="sysDot"/>
          </a:ln>
        </p:spPr>
        <p:style>
          <a:lnRef idx="1">
            <a:schemeClr val="accent1"/>
          </a:lnRef>
          <a:fillRef idx="0">
            <a:schemeClr val="accent1"/>
          </a:fillRef>
          <a:effectRef idx="0">
            <a:schemeClr val="accent1"/>
          </a:effectRef>
          <a:fontRef idx="minor">
            <a:schemeClr val="tx1"/>
          </a:fontRef>
        </p:style>
      </p:cxnSp>
      <p:sp>
        <p:nvSpPr>
          <p:cNvPr id="83" name="Text Placeholder 17">
            <a:extLst>
              <a:ext uri="{FF2B5EF4-FFF2-40B4-BE49-F238E27FC236}">
                <a16:creationId xmlns:a16="http://schemas.microsoft.com/office/drawing/2014/main" id="{B8C12C42-4CE8-47B8-8EE8-F9E94E858CDD}"/>
              </a:ext>
            </a:extLst>
          </p:cNvPr>
          <p:cNvSpPr>
            <a:spLocks noGrp="1"/>
          </p:cNvSpPr>
          <p:nvPr>
            <p:ph type="body" sz="quarter" idx="40" hasCustomPrompt="1"/>
          </p:nvPr>
        </p:nvSpPr>
        <p:spPr>
          <a:xfrm>
            <a:off x="8216089" y="3055431"/>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sp>
        <p:nvSpPr>
          <p:cNvPr id="17" name="Oval 16">
            <a:extLst>
              <a:ext uri="{FF2B5EF4-FFF2-40B4-BE49-F238E27FC236}">
                <a16:creationId xmlns:a16="http://schemas.microsoft.com/office/drawing/2014/main" id="{D41C0DDE-0F6A-45E2-BAAF-6A6643522CCE}"/>
              </a:ext>
            </a:extLst>
          </p:cNvPr>
          <p:cNvSpPr/>
          <p:nvPr/>
        </p:nvSpPr>
        <p:spPr>
          <a:xfrm>
            <a:off x="8499262" y="1880326"/>
            <a:ext cx="900000" cy="900000"/>
          </a:xfrm>
          <a:prstGeom prst="ellipse">
            <a:avLst/>
          </a:prstGeom>
          <a:solidFill>
            <a:srgbClr val="00BC2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5" name="Text Placeholder 17">
            <a:extLst>
              <a:ext uri="{FF2B5EF4-FFF2-40B4-BE49-F238E27FC236}">
                <a16:creationId xmlns:a16="http://schemas.microsoft.com/office/drawing/2014/main" id="{6605CC17-05EB-4B8C-96B6-DCBB19ECCCB5}"/>
              </a:ext>
            </a:extLst>
          </p:cNvPr>
          <p:cNvSpPr>
            <a:spLocks noGrp="1"/>
          </p:cNvSpPr>
          <p:nvPr>
            <p:ph type="body" sz="quarter" idx="42" hasCustomPrompt="1"/>
          </p:nvPr>
        </p:nvSpPr>
        <p:spPr>
          <a:xfrm>
            <a:off x="8407476" y="2172450"/>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cxnSp>
        <p:nvCxnSpPr>
          <p:cNvPr id="43" name="Straight Connector 42">
            <a:extLst>
              <a:ext uri="{FF2B5EF4-FFF2-40B4-BE49-F238E27FC236}">
                <a16:creationId xmlns:a16="http://schemas.microsoft.com/office/drawing/2014/main" id="{33EDEDA6-B35F-434A-889B-12B924478869}"/>
              </a:ext>
            </a:extLst>
          </p:cNvPr>
          <p:cNvCxnSpPr>
            <a:cxnSpLocks/>
          </p:cNvCxnSpPr>
          <p:nvPr/>
        </p:nvCxnSpPr>
        <p:spPr>
          <a:xfrm>
            <a:off x="3248740" y="3781185"/>
            <a:ext cx="1" cy="308770"/>
          </a:xfrm>
          <a:prstGeom prst="line">
            <a:avLst/>
          </a:prstGeom>
          <a:ln w="28575">
            <a:solidFill>
              <a:srgbClr val="DF1B1B"/>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43DB6D9-B642-4E2B-AB26-F69471B647DC}"/>
              </a:ext>
            </a:extLst>
          </p:cNvPr>
          <p:cNvCxnSpPr>
            <a:cxnSpLocks/>
          </p:cNvCxnSpPr>
          <p:nvPr/>
        </p:nvCxnSpPr>
        <p:spPr>
          <a:xfrm>
            <a:off x="3248740" y="4854885"/>
            <a:ext cx="0" cy="226738"/>
          </a:xfrm>
          <a:prstGeom prst="line">
            <a:avLst/>
          </a:prstGeom>
          <a:ln w="28575">
            <a:solidFill>
              <a:srgbClr val="DF1B1B"/>
            </a:solidFill>
            <a:prstDash val="sysDot"/>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AF0B05F1-3582-491F-AB84-D1121DB5FFAA}"/>
              </a:ext>
            </a:extLst>
          </p:cNvPr>
          <p:cNvSpPr/>
          <p:nvPr/>
        </p:nvSpPr>
        <p:spPr>
          <a:xfrm>
            <a:off x="2798740" y="2883199"/>
            <a:ext cx="900000" cy="900000"/>
          </a:xfrm>
          <a:prstGeom prst="ellipse">
            <a:avLst/>
          </a:prstGeom>
          <a:solidFill>
            <a:srgbClr val="DF1B1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6" name="Text Placeholder 17">
            <a:extLst>
              <a:ext uri="{FF2B5EF4-FFF2-40B4-BE49-F238E27FC236}">
                <a16:creationId xmlns:a16="http://schemas.microsoft.com/office/drawing/2014/main" id="{17EC7E75-CBB9-4DEF-889A-073B19A54F91}"/>
              </a:ext>
            </a:extLst>
          </p:cNvPr>
          <p:cNvSpPr>
            <a:spLocks noGrp="1"/>
          </p:cNvSpPr>
          <p:nvPr>
            <p:ph type="body" sz="quarter" idx="45" hasCustomPrompt="1"/>
          </p:nvPr>
        </p:nvSpPr>
        <p:spPr>
          <a:xfrm>
            <a:off x="2706954" y="3152786"/>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47" name="Text Placeholder 17">
            <a:extLst>
              <a:ext uri="{FF2B5EF4-FFF2-40B4-BE49-F238E27FC236}">
                <a16:creationId xmlns:a16="http://schemas.microsoft.com/office/drawing/2014/main" id="{AA889AFE-5BDE-4540-81B4-4C6A11F38677}"/>
              </a:ext>
            </a:extLst>
          </p:cNvPr>
          <p:cNvSpPr>
            <a:spLocks noGrp="1"/>
          </p:cNvSpPr>
          <p:nvPr>
            <p:ph type="body" sz="quarter" idx="46" hasCustomPrompt="1"/>
          </p:nvPr>
        </p:nvSpPr>
        <p:spPr>
          <a:xfrm>
            <a:off x="2515567" y="4089955"/>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50" name="Straight Connector 49">
            <a:extLst>
              <a:ext uri="{FF2B5EF4-FFF2-40B4-BE49-F238E27FC236}">
                <a16:creationId xmlns:a16="http://schemas.microsoft.com/office/drawing/2014/main" id="{BB4B904F-774A-4A20-91E6-E85EF901C9AA}"/>
              </a:ext>
            </a:extLst>
          </p:cNvPr>
          <p:cNvCxnSpPr>
            <a:cxnSpLocks/>
          </p:cNvCxnSpPr>
          <p:nvPr/>
        </p:nvCxnSpPr>
        <p:spPr>
          <a:xfrm>
            <a:off x="5148914" y="3441001"/>
            <a:ext cx="1" cy="308770"/>
          </a:xfrm>
          <a:prstGeom prst="line">
            <a:avLst/>
          </a:prstGeom>
          <a:ln w="28575">
            <a:solidFill>
              <a:srgbClr val="F9620C"/>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F5A38D4-837A-4264-B79C-626926F08B8E}"/>
              </a:ext>
            </a:extLst>
          </p:cNvPr>
          <p:cNvCxnSpPr>
            <a:cxnSpLocks/>
          </p:cNvCxnSpPr>
          <p:nvPr/>
        </p:nvCxnSpPr>
        <p:spPr>
          <a:xfrm>
            <a:off x="5148914" y="4514701"/>
            <a:ext cx="0" cy="226738"/>
          </a:xfrm>
          <a:prstGeom prst="line">
            <a:avLst/>
          </a:prstGeom>
          <a:ln w="28575">
            <a:solidFill>
              <a:srgbClr val="F9620C"/>
            </a:solidFill>
            <a:prstDash val="sysDot"/>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4CF824AA-6101-4804-A831-A6BAAE29C540}"/>
              </a:ext>
            </a:extLst>
          </p:cNvPr>
          <p:cNvSpPr/>
          <p:nvPr/>
        </p:nvSpPr>
        <p:spPr>
          <a:xfrm>
            <a:off x="4698914" y="2548908"/>
            <a:ext cx="900000" cy="900000"/>
          </a:xfrm>
          <a:prstGeom prst="ellipse">
            <a:avLst/>
          </a:prstGeom>
          <a:solidFill>
            <a:srgbClr val="F9620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3" name="Text Placeholder 17">
            <a:extLst>
              <a:ext uri="{FF2B5EF4-FFF2-40B4-BE49-F238E27FC236}">
                <a16:creationId xmlns:a16="http://schemas.microsoft.com/office/drawing/2014/main" id="{762362AA-1D2B-4C81-B9F1-EF11B528B09C}"/>
              </a:ext>
            </a:extLst>
          </p:cNvPr>
          <p:cNvSpPr>
            <a:spLocks noGrp="1"/>
          </p:cNvSpPr>
          <p:nvPr>
            <p:ph type="body" sz="quarter" idx="47" hasCustomPrompt="1"/>
          </p:nvPr>
        </p:nvSpPr>
        <p:spPr>
          <a:xfrm>
            <a:off x="4607128" y="2810708"/>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54" name="Text Placeholder 17">
            <a:extLst>
              <a:ext uri="{FF2B5EF4-FFF2-40B4-BE49-F238E27FC236}">
                <a16:creationId xmlns:a16="http://schemas.microsoft.com/office/drawing/2014/main" id="{CEA9DC95-28A1-40A7-91DD-2FC4E75A434F}"/>
              </a:ext>
            </a:extLst>
          </p:cNvPr>
          <p:cNvSpPr>
            <a:spLocks noGrp="1"/>
          </p:cNvSpPr>
          <p:nvPr>
            <p:ph type="body" sz="quarter" idx="48" hasCustomPrompt="1"/>
          </p:nvPr>
        </p:nvSpPr>
        <p:spPr>
          <a:xfrm>
            <a:off x="4415741" y="3749771"/>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55" name="Straight Connector 54">
            <a:extLst>
              <a:ext uri="{FF2B5EF4-FFF2-40B4-BE49-F238E27FC236}">
                <a16:creationId xmlns:a16="http://schemas.microsoft.com/office/drawing/2014/main" id="{A22232EA-A0EF-4DAE-956F-736AB80B9D6F}"/>
              </a:ext>
            </a:extLst>
          </p:cNvPr>
          <p:cNvCxnSpPr>
            <a:cxnSpLocks/>
          </p:cNvCxnSpPr>
          <p:nvPr/>
        </p:nvCxnSpPr>
        <p:spPr>
          <a:xfrm>
            <a:off x="7049088" y="3104660"/>
            <a:ext cx="1" cy="308770"/>
          </a:xfrm>
          <a:prstGeom prst="line">
            <a:avLst/>
          </a:prstGeom>
          <a:ln w="28575">
            <a:solidFill>
              <a:srgbClr val="F9C111"/>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B50E63A-0B79-4734-9728-AFB7760B16C2}"/>
              </a:ext>
            </a:extLst>
          </p:cNvPr>
          <p:cNvCxnSpPr>
            <a:cxnSpLocks/>
          </p:cNvCxnSpPr>
          <p:nvPr/>
        </p:nvCxnSpPr>
        <p:spPr>
          <a:xfrm>
            <a:off x="7049088" y="4178360"/>
            <a:ext cx="0" cy="226738"/>
          </a:xfrm>
          <a:prstGeom prst="line">
            <a:avLst/>
          </a:prstGeom>
          <a:ln w="28575">
            <a:solidFill>
              <a:srgbClr val="F9C111"/>
            </a:solidFill>
            <a:prstDash val="sysDot"/>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08C37380-AB41-4238-A27B-A8E5625859A4}"/>
              </a:ext>
            </a:extLst>
          </p:cNvPr>
          <p:cNvSpPr/>
          <p:nvPr/>
        </p:nvSpPr>
        <p:spPr>
          <a:xfrm>
            <a:off x="6599088" y="2214617"/>
            <a:ext cx="900000" cy="900000"/>
          </a:xfrm>
          <a:prstGeom prst="ellipse">
            <a:avLst/>
          </a:prstGeom>
          <a:solidFill>
            <a:srgbClr val="F9C11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9" name="Text Placeholder 17">
            <a:extLst>
              <a:ext uri="{FF2B5EF4-FFF2-40B4-BE49-F238E27FC236}">
                <a16:creationId xmlns:a16="http://schemas.microsoft.com/office/drawing/2014/main" id="{4A10D389-91EF-412B-A544-211141E38609}"/>
              </a:ext>
            </a:extLst>
          </p:cNvPr>
          <p:cNvSpPr>
            <a:spLocks noGrp="1"/>
          </p:cNvSpPr>
          <p:nvPr>
            <p:ph type="body" sz="quarter" idx="49" hasCustomPrompt="1"/>
          </p:nvPr>
        </p:nvSpPr>
        <p:spPr>
          <a:xfrm>
            <a:off x="6507302" y="2485292"/>
            <a:ext cx="1083573"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63" name="Text Placeholder 17">
            <a:extLst>
              <a:ext uri="{FF2B5EF4-FFF2-40B4-BE49-F238E27FC236}">
                <a16:creationId xmlns:a16="http://schemas.microsoft.com/office/drawing/2014/main" id="{117D8A68-2A85-49F6-B8A8-C2042431E10E}"/>
              </a:ext>
            </a:extLst>
          </p:cNvPr>
          <p:cNvSpPr>
            <a:spLocks noGrp="1"/>
          </p:cNvSpPr>
          <p:nvPr>
            <p:ph type="body" sz="quarter" idx="50" hasCustomPrompt="1"/>
          </p:nvPr>
        </p:nvSpPr>
        <p:spPr>
          <a:xfrm>
            <a:off x="6315915" y="3413430"/>
            <a:ext cx="1466346"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cxnSp>
        <p:nvCxnSpPr>
          <p:cNvPr id="64" name="Straight Connector 63">
            <a:extLst>
              <a:ext uri="{FF2B5EF4-FFF2-40B4-BE49-F238E27FC236}">
                <a16:creationId xmlns:a16="http://schemas.microsoft.com/office/drawing/2014/main" id="{4A5CB89A-4814-421B-B4D9-D82A1F94A930}"/>
              </a:ext>
            </a:extLst>
          </p:cNvPr>
          <p:cNvCxnSpPr>
            <a:cxnSpLocks/>
          </p:cNvCxnSpPr>
          <p:nvPr/>
        </p:nvCxnSpPr>
        <p:spPr>
          <a:xfrm>
            <a:off x="10849437" y="2371404"/>
            <a:ext cx="1" cy="308770"/>
          </a:xfrm>
          <a:prstGeom prst="line">
            <a:avLst/>
          </a:prstGeom>
          <a:ln w="28575">
            <a:solidFill>
              <a:srgbClr val="009ADD"/>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3279B3E-6FB7-486F-8A04-4D582F4763B4}"/>
              </a:ext>
            </a:extLst>
          </p:cNvPr>
          <p:cNvCxnSpPr>
            <a:cxnSpLocks/>
          </p:cNvCxnSpPr>
          <p:nvPr/>
        </p:nvCxnSpPr>
        <p:spPr>
          <a:xfrm>
            <a:off x="10849437" y="3445104"/>
            <a:ext cx="0" cy="226738"/>
          </a:xfrm>
          <a:prstGeom prst="line">
            <a:avLst/>
          </a:prstGeom>
          <a:ln w="28575">
            <a:solidFill>
              <a:srgbClr val="009ADD"/>
            </a:solidFill>
            <a:prstDash val="sysDot"/>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53834C91-3ACB-4240-9343-1ACC15D93466}"/>
              </a:ext>
            </a:extLst>
          </p:cNvPr>
          <p:cNvSpPr/>
          <p:nvPr/>
        </p:nvSpPr>
        <p:spPr>
          <a:xfrm>
            <a:off x="10395824" y="1546035"/>
            <a:ext cx="907227" cy="900000"/>
          </a:xfrm>
          <a:prstGeom prst="ellipse">
            <a:avLst/>
          </a:prstGeom>
          <a:solidFill>
            <a:srgbClr val="009AD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3" name="Text Placeholder 17">
            <a:extLst>
              <a:ext uri="{FF2B5EF4-FFF2-40B4-BE49-F238E27FC236}">
                <a16:creationId xmlns:a16="http://schemas.microsoft.com/office/drawing/2014/main" id="{0836591C-88C2-45DC-B226-EC8AE678CD0F}"/>
              </a:ext>
            </a:extLst>
          </p:cNvPr>
          <p:cNvSpPr>
            <a:spLocks noGrp="1"/>
          </p:cNvSpPr>
          <p:nvPr>
            <p:ph type="body" sz="quarter" idx="51" hasCustomPrompt="1"/>
          </p:nvPr>
        </p:nvSpPr>
        <p:spPr>
          <a:xfrm>
            <a:off x="10303300" y="1843589"/>
            <a:ext cx="1092274" cy="397907"/>
          </a:xfrm>
          <a:prstGeom prst="rect">
            <a:avLst/>
          </a:prstGeom>
        </p:spPr>
        <p:txBody>
          <a:bodyPr/>
          <a:lstStyle>
            <a:lvl1pPr marL="0" indent="0" algn="ctr">
              <a:buNone/>
              <a:defRPr sz="2000" b="1">
                <a:solidFill>
                  <a:schemeClr val="bg1"/>
                </a:solidFill>
                <a:latin typeface="+mn-lt"/>
              </a:defRPr>
            </a:lvl1pPr>
          </a:lstStyle>
          <a:p>
            <a:pPr lvl="0"/>
            <a:r>
              <a:rPr lang="pt-BR" dirty="0"/>
              <a:t>ano</a:t>
            </a:r>
          </a:p>
        </p:txBody>
      </p:sp>
      <p:sp>
        <p:nvSpPr>
          <p:cNvPr id="74" name="Text Placeholder 17">
            <a:extLst>
              <a:ext uri="{FF2B5EF4-FFF2-40B4-BE49-F238E27FC236}">
                <a16:creationId xmlns:a16="http://schemas.microsoft.com/office/drawing/2014/main" id="{43C49B9E-83DC-44E3-A971-EAAD3ED0D2EE}"/>
              </a:ext>
            </a:extLst>
          </p:cNvPr>
          <p:cNvSpPr>
            <a:spLocks noGrp="1"/>
          </p:cNvSpPr>
          <p:nvPr>
            <p:ph type="body" sz="quarter" idx="52" hasCustomPrompt="1"/>
          </p:nvPr>
        </p:nvSpPr>
        <p:spPr>
          <a:xfrm>
            <a:off x="10110377" y="2680174"/>
            <a:ext cx="1478121" cy="735433"/>
          </a:xfrm>
          <a:prstGeom prst="rect">
            <a:avLst/>
          </a:prstGeom>
        </p:spPr>
        <p:txBody>
          <a:bodyPr/>
          <a:lstStyle>
            <a:lvl1pPr marL="0" indent="0" algn="ctr">
              <a:buNone/>
              <a:defRPr sz="1800" b="0">
                <a:solidFill>
                  <a:schemeClr val="tx1"/>
                </a:solidFill>
                <a:latin typeface="+mn-lt"/>
              </a:defRPr>
            </a:lvl1pPr>
          </a:lstStyle>
          <a:p>
            <a:pPr lvl="0"/>
            <a:r>
              <a:rPr lang="pt-BR" dirty="0"/>
              <a:t>Descrição do tópico</a:t>
            </a:r>
          </a:p>
        </p:txBody>
      </p:sp>
      <p:sp>
        <p:nvSpPr>
          <p:cNvPr id="95" name="Text Placeholder 11">
            <a:extLst>
              <a:ext uri="{FF2B5EF4-FFF2-40B4-BE49-F238E27FC236}">
                <a16:creationId xmlns:a16="http://schemas.microsoft.com/office/drawing/2014/main" id="{0127D5F5-8CAE-4A5B-A9FE-211D6FFD0178}"/>
              </a:ext>
            </a:extLst>
          </p:cNvPr>
          <p:cNvSpPr>
            <a:spLocks noGrp="1"/>
          </p:cNvSpPr>
          <p:nvPr>
            <p:ph type="body" sz="quarter" idx="11" hasCustomPrompt="1"/>
          </p:nvPr>
        </p:nvSpPr>
        <p:spPr>
          <a:xfrm>
            <a:off x="838201" y="1027906"/>
            <a:ext cx="4518600" cy="578821"/>
          </a:xfrm>
          <a:prstGeom prst="rect">
            <a:avLst/>
          </a:prstGeom>
        </p:spPr>
        <p:txBody>
          <a:bodyPr/>
          <a:lstStyle>
            <a:lvl1pPr marL="0" indent="0" algn="r">
              <a:lnSpc>
                <a:spcPts val="2000"/>
              </a:lnSpc>
              <a:buNone/>
              <a:defRPr sz="1800"/>
            </a:lvl1pPr>
            <a:lvl2pPr marL="457200" indent="0">
              <a:buNone/>
              <a:defRPr/>
            </a:lvl2pPr>
            <a:lvl5pPr marL="1828800" indent="0">
              <a:buNone/>
              <a:defRPr/>
            </a:lvl5pPr>
          </a:lstStyle>
          <a:p>
            <a:pPr lvl="0"/>
            <a:r>
              <a:rPr lang="en-US" dirty="0"/>
              <a:t>Breve </a:t>
            </a:r>
            <a:r>
              <a:rPr lang="en-US" dirty="0" err="1"/>
              <a:t>descrição</a:t>
            </a:r>
            <a:r>
              <a:rPr lang="en-US" dirty="0"/>
              <a:t> </a:t>
            </a:r>
          </a:p>
          <a:p>
            <a:pPr lvl="0"/>
            <a:r>
              <a:rPr lang="en-US" dirty="0"/>
              <a:t>de </a:t>
            </a:r>
            <a:r>
              <a:rPr lang="en-US" dirty="0" err="1"/>
              <a:t>até</a:t>
            </a:r>
            <a:r>
              <a:rPr lang="en-US" dirty="0"/>
              <a:t> </a:t>
            </a:r>
            <a:r>
              <a:rPr lang="en-US" dirty="0" err="1"/>
              <a:t>duas</a:t>
            </a:r>
            <a:r>
              <a:rPr lang="en-US" dirty="0"/>
              <a:t> </a:t>
            </a:r>
            <a:r>
              <a:rPr lang="en-US" dirty="0" err="1"/>
              <a:t>linhas</a:t>
            </a:r>
            <a:endParaRPr lang="en-US" dirty="0"/>
          </a:p>
          <a:p>
            <a:pPr lvl="0"/>
            <a:endParaRPr lang="en-US" dirty="0"/>
          </a:p>
        </p:txBody>
      </p:sp>
      <p:sp>
        <p:nvSpPr>
          <p:cNvPr id="96" name="Date Placeholder 3">
            <a:extLst>
              <a:ext uri="{FF2B5EF4-FFF2-40B4-BE49-F238E27FC236}">
                <a16:creationId xmlns:a16="http://schemas.microsoft.com/office/drawing/2014/main" id="{535CE7C5-3CFF-433B-8868-6CD71D648672}"/>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lumMod val="65000"/>
                  </a:schemeClr>
                </a:solidFill>
              </a:rPr>
              <a:t>www.fit-tecnologia.org.br</a:t>
            </a:r>
            <a:endParaRPr lang="pt-BR" dirty="0">
              <a:solidFill>
                <a:schemeClr val="bg1">
                  <a:lumMod val="65000"/>
                </a:schemeClr>
              </a:solidFill>
            </a:endParaRPr>
          </a:p>
        </p:txBody>
      </p:sp>
      <p:sp>
        <p:nvSpPr>
          <p:cNvPr id="97" name="Oval 96">
            <a:extLst>
              <a:ext uri="{FF2B5EF4-FFF2-40B4-BE49-F238E27FC236}">
                <a16:creationId xmlns:a16="http://schemas.microsoft.com/office/drawing/2014/main" id="{E89B1F46-6DAB-47F6-B95D-BE48E1209BA4}"/>
              </a:ext>
            </a:extLst>
          </p:cNvPr>
          <p:cNvSpPr/>
          <p:nvPr/>
        </p:nvSpPr>
        <p:spPr>
          <a:xfrm>
            <a:off x="1294566" y="5399699"/>
            <a:ext cx="108000" cy="108000"/>
          </a:xfrm>
          <a:prstGeom prst="ellipse">
            <a:avLst/>
          </a:prstGeom>
          <a:solidFill>
            <a:srgbClr val="E02B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8" name="Oval 97">
            <a:extLst>
              <a:ext uri="{FF2B5EF4-FFF2-40B4-BE49-F238E27FC236}">
                <a16:creationId xmlns:a16="http://schemas.microsoft.com/office/drawing/2014/main" id="{88FC5BCA-AFDE-4106-8E66-7CC64B55463C}"/>
              </a:ext>
            </a:extLst>
          </p:cNvPr>
          <p:cNvSpPr/>
          <p:nvPr/>
        </p:nvSpPr>
        <p:spPr>
          <a:xfrm>
            <a:off x="3194740" y="5056496"/>
            <a:ext cx="108000" cy="108000"/>
          </a:xfrm>
          <a:prstGeom prst="ellipse">
            <a:avLst/>
          </a:prstGeom>
          <a:solidFill>
            <a:srgbClr val="DF1B1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9" name="Oval 98">
            <a:extLst>
              <a:ext uri="{FF2B5EF4-FFF2-40B4-BE49-F238E27FC236}">
                <a16:creationId xmlns:a16="http://schemas.microsoft.com/office/drawing/2014/main" id="{4BA5EF49-473E-48E9-898A-BF466FFC1B6F}"/>
              </a:ext>
            </a:extLst>
          </p:cNvPr>
          <p:cNvSpPr/>
          <p:nvPr/>
        </p:nvSpPr>
        <p:spPr>
          <a:xfrm>
            <a:off x="5094914" y="4687440"/>
            <a:ext cx="108000" cy="108000"/>
          </a:xfrm>
          <a:prstGeom prst="ellipse">
            <a:avLst/>
          </a:prstGeom>
          <a:solidFill>
            <a:srgbClr val="F962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0" name="Oval 99">
            <a:extLst>
              <a:ext uri="{FF2B5EF4-FFF2-40B4-BE49-F238E27FC236}">
                <a16:creationId xmlns:a16="http://schemas.microsoft.com/office/drawing/2014/main" id="{37A8564D-F43C-41CB-8532-916110A54E7A}"/>
              </a:ext>
            </a:extLst>
          </p:cNvPr>
          <p:cNvSpPr/>
          <p:nvPr/>
        </p:nvSpPr>
        <p:spPr>
          <a:xfrm>
            <a:off x="6995088" y="4338399"/>
            <a:ext cx="108000" cy="108000"/>
          </a:xfrm>
          <a:prstGeom prst="ellipse">
            <a:avLst/>
          </a:prstGeom>
          <a:solidFill>
            <a:srgbClr val="F9C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1" name="Oval 100">
            <a:extLst>
              <a:ext uri="{FF2B5EF4-FFF2-40B4-BE49-F238E27FC236}">
                <a16:creationId xmlns:a16="http://schemas.microsoft.com/office/drawing/2014/main" id="{E2449CC2-5BEE-4605-8593-A54F23210BDA}"/>
              </a:ext>
            </a:extLst>
          </p:cNvPr>
          <p:cNvSpPr/>
          <p:nvPr/>
        </p:nvSpPr>
        <p:spPr>
          <a:xfrm>
            <a:off x="8895262" y="3990810"/>
            <a:ext cx="108000" cy="108000"/>
          </a:xfrm>
          <a:prstGeom prst="ellipse">
            <a:avLst/>
          </a:prstGeom>
          <a:solidFill>
            <a:srgbClr val="00BC2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2" name="Oval 101">
            <a:extLst>
              <a:ext uri="{FF2B5EF4-FFF2-40B4-BE49-F238E27FC236}">
                <a16:creationId xmlns:a16="http://schemas.microsoft.com/office/drawing/2014/main" id="{0BCE3463-BF68-41E3-B87B-72954E3C65D2}"/>
              </a:ext>
            </a:extLst>
          </p:cNvPr>
          <p:cNvSpPr/>
          <p:nvPr/>
        </p:nvSpPr>
        <p:spPr>
          <a:xfrm>
            <a:off x="10795437" y="3630095"/>
            <a:ext cx="108000" cy="108000"/>
          </a:xfrm>
          <a:prstGeom prst="ellipse">
            <a:avLst/>
          </a:prstGeom>
          <a:solidFill>
            <a:srgbClr val="009AD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1932982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Closing - Green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6"/>
            <a:ext cx="6109588" cy="3381265"/>
          </a:xfrm>
        </p:spPr>
        <p:txBody>
          <a:bodyPr anchor="t">
            <a:normAutofit/>
          </a:bodyPr>
          <a:lstStyle>
            <a:lvl1pPr>
              <a:defRPr sz="6000"/>
            </a:lvl1pPr>
          </a:lstStyle>
          <a:p>
            <a:r>
              <a:rPr lang="en-US"/>
              <a:t>Click to add short closing sentence</a:t>
            </a:r>
          </a:p>
        </p:txBody>
      </p:sp>
    </p:spTree>
    <p:extLst>
      <p:ext uri="{BB962C8B-B14F-4D97-AF65-F5344CB8AC3E}">
        <p14:creationId xmlns:p14="http://schemas.microsoft.com/office/powerpoint/2010/main" val="1553501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meline Up Vazia">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C9D02DB8-AA3E-4CEE-A97B-58A53BFEE0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7" name="Rectangle 76">
            <a:extLst>
              <a:ext uri="{FF2B5EF4-FFF2-40B4-BE49-F238E27FC236}">
                <a16:creationId xmlns:a16="http://schemas.microsoft.com/office/drawing/2014/main" id="{ABF4D071-58FA-4458-B165-7FC7E199AA89}"/>
              </a:ext>
            </a:extLst>
          </p:cNvPr>
          <p:cNvSpPr/>
          <p:nvPr/>
        </p:nvSpPr>
        <p:spPr>
          <a:xfrm>
            <a:off x="484566"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8" name="Rectangle 87">
            <a:extLst>
              <a:ext uri="{FF2B5EF4-FFF2-40B4-BE49-F238E27FC236}">
                <a16:creationId xmlns:a16="http://schemas.microsoft.com/office/drawing/2014/main" id="{2D55A468-0AB9-4B01-9398-6DB2C85A6B53}"/>
              </a:ext>
            </a:extLst>
          </p:cNvPr>
          <p:cNvSpPr/>
          <p:nvPr/>
        </p:nvSpPr>
        <p:spPr>
          <a:xfrm>
            <a:off x="2384740"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1" name="Rectangle 90">
            <a:extLst>
              <a:ext uri="{FF2B5EF4-FFF2-40B4-BE49-F238E27FC236}">
                <a16:creationId xmlns:a16="http://schemas.microsoft.com/office/drawing/2014/main" id="{E50F6F03-E14C-48F3-B294-AF6D68EEB050}"/>
              </a:ext>
            </a:extLst>
          </p:cNvPr>
          <p:cNvSpPr/>
          <p:nvPr/>
        </p:nvSpPr>
        <p:spPr>
          <a:xfrm>
            <a:off x="4284914"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2" name="Rectangle 91">
            <a:extLst>
              <a:ext uri="{FF2B5EF4-FFF2-40B4-BE49-F238E27FC236}">
                <a16:creationId xmlns:a16="http://schemas.microsoft.com/office/drawing/2014/main" id="{4FD1C82C-A8C3-42F2-B098-04F916D5C987}"/>
              </a:ext>
            </a:extLst>
          </p:cNvPr>
          <p:cNvSpPr/>
          <p:nvPr/>
        </p:nvSpPr>
        <p:spPr>
          <a:xfrm>
            <a:off x="6185088"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3" name="Rectangle 92">
            <a:extLst>
              <a:ext uri="{FF2B5EF4-FFF2-40B4-BE49-F238E27FC236}">
                <a16:creationId xmlns:a16="http://schemas.microsoft.com/office/drawing/2014/main" id="{0E5FA59D-8CB4-484F-BDDB-46BE6D018777}"/>
              </a:ext>
            </a:extLst>
          </p:cNvPr>
          <p:cNvSpPr/>
          <p:nvPr/>
        </p:nvSpPr>
        <p:spPr>
          <a:xfrm>
            <a:off x="9985437"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4" name="Rectangle 93">
            <a:extLst>
              <a:ext uri="{FF2B5EF4-FFF2-40B4-BE49-F238E27FC236}">
                <a16:creationId xmlns:a16="http://schemas.microsoft.com/office/drawing/2014/main" id="{30565DA8-ECF9-40E4-9B53-48D83DD3C148}"/>
              </a:ext>
            </a:extLst>
          </p:cNvPr>
          <p:cNvSpPr/>
          <p:nvPr/>
        </p:nvSpPr>
        <p:spPr>
          <a:xfrm>
            <a:off x="8085262" y="0"/>
            <a:ext cx="1728000" cy="6858001"/>
          </a:xfrm>
          <a:prstGeom prst="rect">
            <a:avLst/>
          </a:prstGeom>
          <a:solidFill>
            <a:srgbClr val="F5F7F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0" name="Title 89">
            <a:extLst>
              <a:ext uri="{FF2B5EF4-FFF2-40B4-BE49-F238E27FC236}">
                <a16:creationId xmlns:a16="http://schemas.microsoft.com/office/drawing/2014/main" id="{CF5E0141-F7AA-4027-88D8-1E12F14B184A}"/>
              </a:ext>
            </a:extLst>
          </p:cNvPr>
          <p:cNvSpPr>
            <a:spLocks noGrp="1"/>
          </p:cNvSpPr>
          <p:nvPr>
            <p:ph type="title" hasCustomPrompt="1"/>
          </p:nvPr>
        </p:nvSpPr>
        <p:spPr>
          <a:xfrm>
            <a:off x="612607" y="365126"/>
            <a:ext cx="4744193" cy="633284"/>
          </a:xfrm>
          <a:prstGeom prst="rect">
            <a:avLst/>
          </a:prstGeom>
        </p:spPr>
        <p:txBody>
          <a:bodyPr/>
          <a:lstStyle>
            <a:lvl1pPr algn="r">
              <a:defRPr b="1"/>
            </a:lvl1pPr>
          </a:lstStyle>
          <a:p>
            <a:r>
              <a:rPr lang="en-US" dirty="0"/>
              <a:t>Timeline</a:t>
            </a:r>
            <a:endParaRPr lang="pt-BR" dirty="0"/>
          </a:p>
        </p:txBody>
      </p:sp>
      <p:cxnSp>
        <p:nvCxnSpPr>
          <p:cNvPr id="4" name="Straight Connector 3">
            <a:extLst>
              <a:ext uri="{FF2B5EF4-FFF2-40B4-BE49-F238E27FC236}">
                <a16:creationId xmlns:a16="http://schemas.microsoft.com/office/drawing/2014/main" id="{593F9DB1-76EB-4C43-8FC5-9BFC12270F53}"/>
              </a:ext>
            </a:extLst>
          </p:cNvPr>
          <p:cNvCxnSpPr>
            <a:cxnSpLocks/>
          </p:cNvCxnSpPr>
          <p:nvPr/>
        </p:nvCxnSpPr>
        <p:spPr>
          <a:xfrm>
            <a:off x="5595486" y="1027906"/>
            <a:ext cx="6596514" cy="0"/>
          </a:xfrm>
          <a:prstGeom prst="line">
            <a:avLst/>
          </a:prstGeom>
          <a:ln w="19050">
            <a:solidFill>
              <a:srgbClr val="00053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7CD7165-08B9-4D59-BF35-C7089F7482B0}"/>
              </a:ext>
            </a:extLst>
          </p:cNvPr>
          <p:cNvSpPr/>
          <p:nvPr/>
        </p:nvSpPr>
        <p:spPr>
          <a:xfrm>
            <a:off x="5595486" y="1027906"/>
            <a:ext cx="1894966" cy="36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6" name="Straight Connector 5">
            <a:extLst>
              <a:ext uri="{FF2B5EF4-FFF2-40B4-BE49-F238E27FC236}">
                <a16:creationId xmlns:a16="http://schemas.microsoft.com/office/drawing/2014/main" id="{D4322714-6C6C-44DC-B41C-9E5E55F0C9D4}"/>
              </a:ext>
            </a:extLst>
          </p:cNvPr>
          <p:cNvCxnSpPr>
            <a:cxnSpLocks/>
          </p:cNvCxnSpPr>
          <p:nvPr/>
        </p:nvCxnSpPr>
        <p:spPr>
          <a:xfrm flipV="1">
            <a:off x="0" y="3429000"/>
            <a:ext cx="12192000" cy="2279200"/>
          </a:xfrm>
          <a:prstGeom prst="line">
            <a:avLst/>
          </a:prstGeom>
          <a:ln w="28575">
            <a:solidFill>
              <a:srgbClr val="DADCE0"/>
            </a:solidFill>
            <a:prstDash val="sysDot"/>
          </a:ln>
        </p:spPr>
        <p:style>
          <a:lnRef idx="1">
            <a:schemeClr val="accent1"/>
          </a:lnRef>
          <a:fillRef idx="0">
            <a:schemeClr val="accent1"/>
          </a:fillRef>
          <a:effectRef idx="0">
            <a:schemeClr val="accent1"/>
          </a:effectRef>
          <a:fontRef idx="minor">
            <a:schemeClr val="tx1"/>
          </a:fontRef>
        </p:style>
      </p:cxnSp>
      <p:sp>
        <p:nvSpPr>
          <p:cNvPr id="7" name="Cross 6">
            <a:extLst>
              <a:ext uri="{FF2B5EF4-FFF2-40B4-BE49-F238E27FC236}">
                <a16:creationId xmlns:a16="http://schemas.microsoft.com/office/drawing/2014/main" id="{547219A6-6120-4C02-9CD5-645AD0F0E8A7}"/>
              </a:ext>
            </a:extLst>
          </p:cNvPr>
          <p:cNvSpPr/>
          <p:nvPr/>
        </p:nvSpPr>
        <p:spPr>
          <a:xfrm>
            <a:off x="247216"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5" name="Text Placeholder 11">
            <a:extLst>
              <a:ext uri="{FF2B5EF4-FFF2-40B4-BE49-F238E27FC236}">
                <a16:creationId xmlns:a16="http://schemas.microsoft.com/office/drawing/2014/main" id="{0127D5F5-8CAE-4A5B-A9FE-211D6FFD0178}"/>
              </a:ext>
            </a:extLst>
          </p:cNvPr>
          <p:cNvSpPr>
            <a:spLocks noGrp="1"/>
          </p:cNvSpPr>
          <p:nvPr>
            <p:ph type="body" sz="quarter" idx="11" hasCustomPrompt="1"/>
          </p:nvPr>
        </p:nvSpPr>
        <p:spPr>
          <a:xfrm>
            <a:off x="838201" y="1027906"/>
            <a:ext cx="4518600" cy="578821"/>
          </a:xfrm>
          <a:prstGeom prst="rect">
            <a:avLst/>
          </a:prstGeom>
        </p:spPr>
        <p:txBody>
          <a:bodyPr/>
          <a:lstStyle>
            <a:lvl1pPr marL="0" indent="0" algn="r">
              <a:lnSpc>
                <a:spcPts val="2000"/>
              </a:lnSpc>
              <a:buNone/>
              <a:defRPr sz="1800"/>
            </a:lvl1pPr>
            <a:lvl2pPr marL="457200" indent="0">
              <a:buNone/>
              <a:defRPr/>
            </a:lvl2pPr>
            <a:lvl5pPr marL="1828800" indent="0">
              <a:buNone/>
              <a:defRPr/>
            </a:lvl5pPr>
          </a:lstStyle>
          <a:p>
            <a:pPr lvl="0"/>
            <a:r>
              <a:rPr lang="en-US" dirty="0"/>
              <a:t>Breve </a:t>
            </a:r>
            <a:r>
              <a:rPr lang="en-US" dirty="0" err="1"/>
              <a:t>descrição</a:t>
            </a:r>
            <a:r>
              <a:rPr lang="en-US" dirty="0"/>
              <a:t> </a:t>
            </a:r>
          </a:p>
          <a:p>
            <a:pPr lvl="0"/>
            <a:r>
              <a:rPr lang="en-US" dirty="0"/>
              <a:t>de </a:t>
            </a:r>
            <a:r>
              <a:rPr lang="en-US" dirty="0" err="1"/>
              <a:t>até</a:t>
            </a:r>
            <a:r>
              <a:rPr lang="en-US" dirty="0"/>
              <a:t> </a:t>
            </a:r>
            <a:r>
              <a:rPr lang="en-US" dirty="0" err="1"/>
              <a:t>duas</a:t>
            </a:r>
            <a:r>
              <a:rPr lang="en-US" dirty="0"/>
              <a:t> </a:t>
            </a:r>
            <a:r>
              <a:rPr lang="en-US" dirty="0" err="1"/>
              <a:t>linhas</a:t>
            </a:r>
            <a:endParaRPr lang="en-US" dirty="0"/>
          </a:p>
          <a:p>
            <a:pPr lvl="0"/>
            <a:endParaRPr lang="en-US" dirty="0"/>
          </a:p>
        </p:txBody>
      </p:sp>
      <p:sp>
        <p:nvSpPr>
          <p:cNvPr id="96" name="Date Placeholder 3">
            <a:extLst>
              <a:ext uri="{FF2B5EF4-FFF2-40B4-BE49-F238E27FC236}">
                <a16:creationId xmlns:a16="http://schemas.microsoft.com/office/drawing/2014/main" id="{535CE7C5-3CFF-433B-8868-6CD71D648672}"/>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lumMod val="65000"/>
                  </a:schemeClr>
                </a:solidFill>
              </a:rPr>
              <a:t>www.fit-tecnologia.org.br</a:t>
            </a:r>
            <a:endParaRPr lang="pt-BR" dirty="0">
              <a:solidFill>
                <a:schemeClr val="bg1">
                  <a:lumMod val="65000"/>
                </a:schemeClr>
              </a:solidFill>
            </a:endParaRPr>
          </a:p>
        </p:txBody>
      </p:sp>
    </p:spTree>
    <p:extLst>
      <p:ext uri="{BB962C8B-B14F-4D97-AF65-F5344CB8AC3E}">
        <p14:creationId xmlns:p14="http://schemas.microsoft.com/office/powerpoint/2010/main" val="4258101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Améric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5821912" y="586803"/>
            <a:ext cx="5716766" cy="713762"/>
          </a:xfrm>
          <a:prstGeom prst="rect">
            <a:avLst/>
          </a:prstGeom>
        </p:spPr>
        <p:txBody>
          <a:bodyPr/>
          <a:lstStyle>
            <a:lvl1pPr algn="l">
              <a:defRPr b="1">
                <a:solidFill>
                  <a:schemeClr val="tx1"/>
                </a:solidFill>
              </a:defRPr>
            </a:lvl1pPr>
          </a:lstStyle>
          <a:p>
            <a:r>
              <a:rPr lang="en-US" dirty="0" err="1"/>
              <a:t>Mapas</a:t>
            </a:r>
            <a:endParaRPr lang="pt-BR" dirty="0"/>
          </a:p>
        </p:txBody>
      </p:sp>
      <p:sp>
        <p:nvSpPr>
          <p:cNvPr id="9" name="Rectangle 8">
            <a:extLst>
              <a:ext uri="{FF2B5EF4-FFF2-40B4-BE49-F238E27FC236}">
                <a16:creationId xmlns:a16="http://schemas.microsoft.com/office/drawing/2014/main" id="{4FC03788-24AE-45DB-A56D-04E43C645E62}"/>
              </a:ext>
            </a:extLst>
          </p:cNvPr>
          <p:cNvSpPr/>
          <p:nvPr/>
        </p:nvSpPr>
        <p:spPr>
          <a:xfrm>
            <a:off x="11542295"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10">
            <a:extLst>
              <a:ext uri="{FF2B5EF4-FFF2-40B4-BE49-F238E27FC236}">
                <a16:creationId xmlns:a16="http://schemas.microsoft.com/office/drawing/2014/main" id="{339EA585-583E-4E38-BD2F-4313598349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Text Placeholder 11">
            <a:extLst>
              <a:ext uri="{FF2B5EF4-FFF2-40B4-BE49-F238E27FC236}">
                <a16:creationId xmlns:a16="http://schemas.microsoft.com/office/drawing/2014/main" id="{F94A6109-5BEF-4390-8DF4-F59AE16F75B7}"/>
              </a:ext>
            </a:extLst>
          </p:cNvPr>
          <p:cNvSpPr>
            <a:spLocks noGrp="1"/>
          </p:cNvSpPr>
          <p:nvPr>
            <p:ph type="body" sz="quarter" idx="12" hasCustomPrompt="1"/>
          </p:nvPr>
        </p:nvSpPr>
        <p:spPr>
          <a:xfrm>
            <a:off x="5821912" y="1973263"/>
            <a:ext cx="4726807"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cxnSp>
        <p:nvCxnSpPr>
          <p:cNvPr id="17" name="Straight Connector 16">
            <a:extLst>
              <a:ext uri="{FF2B5EF4-FFF2-40B4-BE49-F238E27FC236}">
                <a16:creationId xmlns:a16="http://schemas.microsoft.com/office/drawing/2014/main" id="{5EDD3D07-19E4-42E3-BA0F-AEBF6F890C7F}"/>
              </a:ext>
            </a:extLst>
          </p:cNvPr>
          <p:cNvCxnSpPr>
            <a:cxnSpLocks/>
          </p:cNvCxnSpPr>
          <p:nvPr/>
        </p:nvCxnSpPr>
        <p:spPr>
          <a:xfrm flipH="1">
            <a:off x="0" y="943684"/>
            <a:ext cx="5357091" cy="0"/>
          </a:xfrm>
          <a:prstGeom prst="line">
            <a:avLst/>
          </a:prstGeom>
          <a:solidFill>
            <a:srgbClr val="009ADD"/>
          </a:solidFill>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17725F7-9188-4B29-8BA2-2B7F53BB967E}"/>
              </a:ext>
            </a:extLst>
          </p:cNvPr>
          <p:cNvSpPr/>
          <p:nvPr/>
        </p:nvSpPr>
        <p:spPr>
          <a:xfrm flipH="1">
            <a:off x="3463934" y="943684"/>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Cross 18">
            <a:extLst>
              <a:ext uri="{FF2B5EF4-FFF2-40B4-BE49-F238E27FC236}">
                <a16:creationId xmlns:a16="http://schemas.microsoft.com/office/drawing/2014/main" id="{E92C6C7B-0C4B-4AA2-918C-86ACFDCE79D4}"/>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2" name="Graphic 11">
            <a:extLst>
              <a:ext uri="{FF2B5EF4-FFF2-40B4-BE49-F238E27FC236}">
                <a16:creationId xmlns:a16="http://schemas.microsoft.com/office/drawing/2014/main" id="{F557D137-594B-4DA5-96F0-B670B30ED4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179" y="251206"/>
            <a:ext cx="4837652" cy="6355588"/>
          </a:xfrm>
          <a:prstGeom prst="rect">
            <a:avLst/>
          </a:prstGeom>
        </p:spPr>
      </p:pic>
    </p:spTree>
    <p:extLst>
      <p:ext uri="{BB962C8B-B14F-4D97-AF65-F5344CB8AC3E}">
        <p14:creationId xmlns:p14="http://schemas.microsoft.com/office/powerpoint/2010/main" val="1248234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rasil">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flipH="1">
            <a:off x="0" y="943684"/>
            <a:ext cx="5357091" cy="0"/>
          </a:xfrm>
          <a:prstGeom prst="line">
            <a:avLst/>
          </a:prstGeom>
          <a:solidFill>
            <a:srgbClr val="009ADD"/>
          </a:solidFill>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flipH="1">
            <a:off x="3463934" y="943684"/>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5821912" y="586803"/>
            <a:ext cx="5716766" cy="713762"/>
          </a:xfrm>
          <a:prstGeom prst="rect">
            <a:avLst/>
          </a:prstGeom>
        </p:spPr>
        <p:txBody>
          <a:bodyPr/>
          <a:lstStyle>
            <a:lvl1pPr algn="l">
              <a:defRPr b="1">
                <a:solidFill>
                  <a:schemeClr val="tx1"/>
                </a:solidFill>
              </a:defRPr>
            </a:lvl1pPr>
          </a:lstStyle>
          <a:p>
            <a:r>
              <a:rPr lang="en-US" dirty="0" err="1"/>
              <a:t>Mapas</a:t>
            </a:r>
            <a:endParaRPr lang="pt-BR" dirty="0"/>
          </a:p>
        </p:txBody>
      </p:sp>
      <p:sp>
        <p:nvSpPr>
          <p:cNvPr id="10" name="Cross 9">
            <a:extLst>
              <a:ext uri="{FF2B5EF4-FFF2-40B4-BE49-F238E27FC236}">
                <a16:creationId xmlns:a16="http://schemas.microsoft.com/office/drawing/2014/main" id="{0E909C6A-5397-4FC5-904F-DD4410DC2110}"/>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Rectangle 8">
            <a:extLst>
              <a:ext uri="{FF2B5EF4-FFF2-40B4-BE49-F238E27FC236}">
                <a16:creationId xmlns:a16="http://schemas.microsoft.com/office/drawing/2014/main" id="{4FC03788-24AE-45DB-A56D-04E43C645E62}"/>
              </a:ext>
            </a:extLst>
          </p:cNvPr>
          <p:cNvSpPr/>
          <p:nvPr/>
        </p:nvSpPr>
        <p:spPr>
          <a:xfrm>
            <a:off x="11542295"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10">
            <a:extLst>
              <a:ext uri="{FF2B5EF4-FFF2-40B4-BE49-F238E27FC236}">
                <a16:creationId xmlns:a16="http://schemas.microsoft.com/office/drawing/2014/main" id="{339EA585-583E-4E38-BD2F-4313598349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Text Placeholder 11">
            <a:extLst>
              <a:ext uri="{FF2B5EF4-FFF2-40B4-BE49-F238E27FC236}">
                <a16:creationId xmlns:a16="http://schemas.microsoft.com/office/drawing/2014/main" id="{F94A6109-5BEF-4390-8DF4-F59AE16F75B7}"/>
              </a:ext>
            </a:extLst>
          </p:cNvPr>
          <p:cNvSpPr>
            <a:spLocks noGrp="1"/>
          </p:cNvSpPr>
          <p:nvPr>
            <p:ph type="body" sz="quarter" idx="12" hasCustomPrompt="1"/>
          </p:nvPr>
        </p:nvSpPr>
        <p:spPr>
          <a:xfrm>
            <a:off x="5821912" y="1973263"/>
            <a:ext cx="4726807"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pic>
        <p:nvPicPr>
          <p:cNvPr id="12" name="Graphic 11">
            <a:extLst>
              <a:ext uri="{FF2B5EF4-FFF2-40B4-BE49-F238E27FC236}">
                <a16:creationId xmlns:a16="http://schemas.microsoft.com/office/drawing/2014/main" id="{43E4BD66-B3B8-4AFE-9CBB-9D8593A1D43E}"/>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7057" b="20663"/>
          <a:stretch/>
        </p:blipFill>
        <p:spPr>
          <a:xfrm>
            <a:off x="0" y="1"/>
            <a:ext cx="5458811" cy="6858000"/>
          </a:xfrm>
          <a:prstGeom prst="rect">
            <a:avLst/>
          </a:prstGeom>
        </p:spPr>
      </p:pic>
    </p:spTree>
    <p:extLst>
      <p:ext uri="{BB962C8B-B14F-4D97-AF65-F5344CB8AC3E}">
        <p14:creationId xmlns:p14="http://schemas.microsoft.com/office/powerpoint/2010/main" val="3924248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Mapa Mundi 1">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flipH="1">
            <a:off x="0" y="943684"/>
            <a:ext cx="5357091" cy="0"/>
          </a:xfrm>
          <a:prstGeom prst="line">
            <a:avLst/>
          </a:prstGeom>
          <a:solidFill>
            <a:srgbClr val="009ADD"/>
          </a:solidFill>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flipH="1">
            <a:off x="3463934" y="943684"/>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5821912" y="586803"/>
            <a:ext cx="5716766" cy="713762"/>
          </a:xfrm>
          <a:prstGeom prst="rect">
            <a:avLst/>
          </a:prstGeom>
        </p:spPr>
        <p:txBody>
          <a:bodyPr/>
          <a:lstStyle>
            <a:lvl1pPr algn="l">
              <a:defRPr b="1">
                <a:solidFill>
                  <a:schemeClr val="tx1"/>
                </a:solidFill>
              </a:defRPr>
            </a:lvl1pPr>
          </a:lstStyle>
          <a:p>
            <a:r>
              <a:rPr lang="en-US" dirty="0" err="1"/>
              <a:t>Mapas</a:t>
            </a:r>
            <a:endParaRPr lang="pt-BR" dirty="0"/>
          </a:p>
        </p:txBody>
      </p:sp>
      <p:sp>
        <p:nvSpPr>
          <p:cNvPr id="10" name="Cross 9">
            <a:extLst>
              <a:ext uri="{FF2B5EF4-FFF2-40B4-BE49-F238E27FC236}">
                <a16:creationId xmlns:a16="http://schemas.microsoft.com/office/drawing/2014/main" id="{0E909C6A-5397-4FC5-904F-DD4410DC2110}"/>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Rectangle 8">
            <a:extLst>
              <a:ext uri="{FF2B5EF4-FFF2-40B4-BE49-F238E27FC236}">
                <a16:creationId xmlns:a16="http://schemas.microsoft.com/office/drawing/2014/main" id="{4FC03788-24AE-45DB-A56D-04E43C645E62}"/>
              </a:ext>
            </a:extLst>
          </p:cNvPr>
          <p:cNvSpPr/>
          <p:nvPr/>
        </p:nvSpPr>
        <p:spPr>
          <a:xfrm>
            <a:off x="11542295"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10">
            <a:extLst>
              <a:ext uri="{FF2B5EF4-FFF2-40B4-BE49-F238E27FC236}">
                <a16:creationId xmlns:a16="http://schemas.microsoft.com/office/drawing/2014/main" id="{339EA585-583E-4E38-BD2F-4313598349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6" name="Picture 5">
            <a:extLst>
              <a:ext uri="{FF2B5EF4-FFF2-40B4-BE49-F238E27FC236}">
                <a16:creationId xmlns:a16="http://schemas.microsoft.com/office/drawing/2014/main" id="{0B699D4B-665D-44E5-9C24-322DA6065521}"/>
              </a:ext>
            </a:extLst>
          </p:cNvPr>
          <p:cNvPicPr>
            <a:picLocks noChangeAspect="1"/>
          </p:cNvPicPr>
          <p:nvPr/>
        </p:nvPicPr>
        <p:blipFill rotWithShape="1">
          <a:blip r:embed="rId2">
            <a:extLst>
              <a:ext uri="{28A0092B-C50C-407E-A947-70E740481C1C}">
                <a14:useLocalDpi xmlns:a14="http://schemas.microsoft.com/office/drawing/2010/main" val="0"/>
              </a:ext>
            </a:extLst>
          </a:blip>
          <a:srcRect l="6448"/>
          <a:stretch/>
        </p:blipFill>
        <p:spPr>
          <a:xfrm>
            <a:off x="0" y="1973263"/>
            <a:ext cx="5821912" cy="3480351"/>
          </a:xfrm>
          <a:prstGeom prst="rect">
            <a:avLst/>
          </a:prstGeom>
        </p:spPr>
      </p:pic>
      <p:sp>
        <p:nvSpPr>
          <p:cNvPr id="13" name="Text Placeholder 11">
            <a:extLst>
              <a:ext uri="{FF2B5EF4-FFF2-40B4-BE49-F238E27FC236}">
                <a16:creationId xmlns:a16="http://schemas.microsoft.com/office/drawing/2014/main" id="{4820FFAA-BCEB-495D-8A6A-74F6926CE702}"/>
              </a:ext>
            </a:extLst>
          </p:cNvPr>
          <p:cNvSpPr>
            <a:spLocks noGrp="1"/>
          </p:cNvSpPr>
          <p:nvPr>
            <p:ph type="body" sz="quarter" idx="12" hasCustomPrompt="1"/>
          </p:nvPr>
        </p:nvSpPr>
        <p:spPr>
          <a:xfrm>
            <a:off x="5821912" y="1973263"/>
            <a:ext cx="4726807" cy="4042994"/>
          </a:xfrm>
          <a:prstGeom prst="rect">
            <a:avLst/>
          </a:prstGeom>
        </p:spPr>
        <p:txBody>
          <a:bodyPr/>
          <a:lstStyle>
            <a:lvl1pPr marL="0" indent="0">
              <a:buNone/>
              <a:defRPr sz="2000"/>
            </a:lvl1pPr>
            <a:lvl2pPr marL="457200" indent="0">
              <a:buNone/>
              <a:defRPr/>
            </a:lvl2pPr>
            <a:lvl5pPr marL="1828800" indent="0">
              <a:buNone/>
              <a:defRPr/>
            </a:lvl5pPr>
          </a:lstStyle>
          <a:p>
            <a:pPr lvl="0"/>
            <a:r>
              <a:rPr lang="en-US" dirty="0" err="1"/>
              <a:t>Aenean</a:t>
            </a:r>
            <a:r>
              <a:rPr lang="en-US" dirty="0"/>
              <a:t> diam </a:t>
            </a:r>
            <a:r>
              <a:rPr lang="en-US" dirty="0" err="1"/>
              <a:t>odio</a:t>
            </a:r>
            <a:r>
              <a:rPr lang="en-US" dirty="0"/>
              <a:t>, </a:t>
            </a:r>
            <a:r>
              <a:rPr lang="en-US" dirty="0" err="1"/>
              <a:t>bibendum</a:t>
            </a:r>
            <a:r>
              <a:rPr lang="en-US" dirty="0"/>
              <a:t> at </a:t>
            </a:r>
            <a:r>
              <a:rPr lang="en-US" dirty="0" err="1"/>
              <a:t>accumsan</a:t>
            </a:r>
            <a:r>
              <a:rPr lang="en-US" dirty="0"/>
              <a:t> id, </a:t>
            </a:r>
            <a:r>
              <a:rPr lang="en-US" dirty="0" err="1"/>
              <a:t>sagittis</a:t>
            </a:r>
            <a:r>
              <a:rPr lang="en-US" dirty="0"/>
              <a:t> </a:t>
            </a:r>
            <a:r>
              <a:rPr lang="en-US" dirty="0" err="1"/>
              <a:t>eu</a:t>
            </a:r>
            <a:r>
              <a:rPr lang="en-US" dirty="0"/>
              <a:t> </a:t>
            </a:r>
            <a:r>
              <a:rPr lang="en-US" dirty="0" err="1"/>
              <a:t>sapien</a:t>
            </a:r>
            <a:r>
              <a:rPr lang="en-US" dirty="0"/>
              <a:t>. Vestibulum </a:t>
            </a:r>
            <a:r>
              <a:rPr lang="en-US" dirty="0" err="1"/>
              <a:t>porttitor</a:t>
            </a:r>
            <a:r>
              <a:rPr lang="en-US" dirty="0"/>
              <a:t>, </a:t>
            </a:r>
            <a:r>
              <a:rPr lang="en-US" dirty="0" err="1"/>
              <a:t>velit</a:t>
            </a:r>
            <a:r>
              <a:rPr lang="en-US" dirty="0"/>
              <a:t> a </a:t>
            </a:r>
            <a:r>
              <a:rPr lang="en-US" dirty="0" err="1"/>
              <a:t>interdum</a:t>
            </a:r>
            <a:r>
              <a:rPr lang="en-US" dirty="0"/>
              <a:t> </a:t>
            </a:r>
            <a:r>
              <a:rPr lang="en-US" dirty="0" err="1"/>
              <a:t>fringilla</a:t>
            </a:r>
            <a:r>
              <a:rPr lang="en-US" dirty="0"/>
              <a:t>, dolor dui </a:t>
            </a:r>
            <a:r>
              <a:rPr lang="en-US" dirty="0" err="1"/>
              <a:t>sollicitudin</a:t>
            </a:r>
            <a:r>
              <a:rPr lang="en-US" dirty="0"/>
              <a:t> </a:t>
            </a:r>
            <a:r>
              <a:rPr lang="en-US" dirty="0" err="1"/>
              <a:t>augue</a:t>
            </a:r>
            <a:r>
              <a:rPr lang="en-US" dirty="0"/>
              <a:t>, sed </a:t>
            </a:r>
            <a:r>
              <a:rPr lang="en-US" dirty="0" err="1"/>
              <a:t>feugiat</a:t>
            </a:r>
            <a:r>
              <a:rPr lang="en-US" dirty="0"/>
              <a:t> ligula </a:t>
            </a:r>
            <a:r>
              <a:rPr lang="en-US" dirty="0" err="1"/>
              <a:t>quam</a:t>
            </a:r>
            <a:r>
              <a:rPr lang="en-US" dirty="0"/>
              <a:t> in </a:t>
            </a:r>
            <a:r>
              <a:rPr lang="en-US" dirty="0" err="1"/>
              <a:t>lígula</a:t>
            </a:r>
            <a:r>
              <a:rPr lang="en-US" dirty="0"/>
              <a:t>.</a:t>
            </a:r>
          </a:p>
          <a:p>
            <a:pPr lvl="0"/>
            <a:r>
              <a:rPr lang="en-US" dirty="0" err="1"/>
              <a:t>Donec</a:t>
            </a:r>
            <a:r>
              <a:rPr lang="en-US" dirty="0"/>
              <a:t> </a:t>
            </a:r>
            <a:r>
              <a:rPr lang="en-US" dirty="0" err="1"/>
              <a:t>nec</a:t>
            </a:r>
            <a:r>
              <a:rPr lang="en-US" dirty="0"/>
              <a:t> mi </a:t>
            </a:r>
            <a:r>
              <a:rPr lang="en-US" dirty="0" err="1"/>
              <a:t>interdum</a:t>
            </a:r>
            <a:r>
              <a:rPr lang="en-US" dirty="0"/>
              <a:t>, </a:t>
            </a:r>
            <a:r>
              <a:rPr lang="en-US" dirty="0" err="1"/>
              <a:t>auctor</a:t>
            </a:r>
            <a:r>
              <a:rPr lang="en-US" dirty="0"/>
              <a:t> ipsum </a:t>
            </a:r>
            <a:r>
              <a:rPr lang="en-US" dirty="0" err="1"/>
              <a:t>ut</a:t>
            </a:r>
            <a:r>
              <a:rPr lang="en-US" dirty="0"/>
              <a:t>, </a:t>
            </a:r>
            <a:r>
              <a:rPr lang="en-US" dirty="0" err="1"/>
              <a:t>ornare</a:t>
            </a:r>
            <a:r>
              <a:rPr lang="en-US" dirty="0"/>
              <a:t> </a:t>
            </a:r>
            <a:r>
              <a:rPr lang="en-US" dirty="0" err="1"/>
              <a:t>quam</a:t>
            </a:r>
            <a:r>
              <a:rPr lang="en-US" dirty="0"/>
              <a:t>. </a:t>
            </a:r>
            <a:r>
              <a:rPr lang="en-US" dirty="0" err="1"/>
              <a:t>Vivamus</a:t>
            </a:r>
            <a:r>
              <a:rPr lang="en-US" dirty="0"/>
              <a:t> </a:t>
            </a:r>
            <a:r>
              <a:rPr lang="en-US" dirty="0" err="1"/>
              <a:t>feugiat</a:t>
            </a:r>
            <a:r>
              <a:rPr lang="en-US" dirty="0"/>
              <a:t> dolor non </a:t>
            </a:r>
            <a:r>
              <a:rPr lang="en-US" dirty="0" err="1"/>
              <a:t>commodo</a:t>
            </a:r>
            <a:r>
              <a:rPr lang="en-US" dirty="0"/>
              <a:t> tempus. </a:t>
            </a:r>
          </a:p>
          <a:p>
            <a:pPr lvl="0"/>
            <a:endParaRPr lang="en-US" dirty="0"/>
          </a:p>
        </p:txBody>
      </p:sp>
    </p:spTree>
    <p:extLst>
      <p:ext uri="{BB962C8B-B14F-4D97-AF65-F5344CB8AC3E}">
        <p14:creationId xmlns:p14="http://schemas.microsoft.com/office/powerpoint/2010/main" val="705261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Mapa Mundi 2">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43C184E-0DC7-4967-B985-58603616057F}"/>
              </a:ext>
            </a:extLst>
          </p:cNvPr>
          <p:cNvCxnSpPr>
            <a:cxnSpLocks/>
          </p:cNvCxnSpPr>
          <p:nvPr/>
        </p:nvCxnSpPr>
        <p:spPr>
          <a:xfrm flipH="1">
            <a:off x="0" y="943684"/>
            <a:ext cx="5357091" cy="0"/>
          </a:xfrm>
          <a:prstGeom prst="line">
            <a:avLst/>
          </a:prstGeom>
          <a:solidFill>
            <a:srgbClr val="009ADD"/>
          </a:solidFill>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76D8E9F-8BE4-421C-9151-6381C6DE6A4E}"/>
              </a:ext>
            </a:extLst>
          </p:cNvPr>
          <p:cNvSpPr/>
          <p:nvPr/>
        </p:nvSpPr>
        <p:spPr>
          <a:xfrm flipH="1">
            <a:off x="3463934" y="943684"/>
            <a:ext cx="1894966"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itle 1">
            <a:extLst>
              <a:ext uri="{FF2B5EF4-FFF2-40B4-BE49-F238E27FC236}">
                <a16:creationId xmlns:a16="http://schemas.microsoft.com/office/drawing/2014/main" id="{56669BB9-CF32-4C88-84CF-9CBD123B462E}"/>
              </a:ext>
            </a:extLst>
          </p:cNvPr>
          <p:cNvSpPr>
            <a:spLocks noGrp="1"/>
          </p:cNvSpPr>
          <p:nvPr>
            <p:ph type="title" hasCustomPrompt="1"/>
          </p:nvPr>
        </p:nvSpPr>
        <p:spPr>
          <a:xfrm>
            <a:off x="5821912" y="586803"/>
            <a:ext cx="5716766" cy="713762"/>
          </a:xfrm>
          <a:prstGeom prst="rect">
            <a:avLst/>
          </a:prstGeom>
        </p:spPr>
        <p:txBody>
          <a:bodyPr/>
          <a:lstStyle>
            <a:lvl1pPr algn="l">
              <a:defRPr b="1">
                <a:solidFill>
                  <a:schemeClr val="tx1"/>
                </a:solidFill>
              </a:defRPr>
            </a:lvl1pPr>
          </a:lstStyle>
          <a:p>
            <a:r>
              <a:rPr lang="en-US" dirty="0" err="1"/>
              <a:t>Mapas</a:t>
            </a:r>
            <a:endParaRPr lang="pt-BR" dirty="0"/>
          </a:p>
        </p:txBody>
      </p:sp>
      <p:sp>
        <p:nvSpPr>
          <p:cNvPr id="10" name="Cross 9">
            <a:extLst>
              <a:ext uri="{FF2B5EF4-FFF2-40B4-BE49-F238E27FC236}">
                <a16:creationId xmlns:a16="http://schemas.microsoft.com/office/drawing/2014/main" id="{0E909C6A-5397-4FC5-904F-DD4410DC2110}"/>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Rectangle 8">
            <a:extLst>
              <a:ext uri="{FF2B5EF4-FFF2-40B4-BE49-F238E27FC236}">
                <a16:creationId xmlns:a16="http://schemas.microsoft.com/office/drawing/2014/main" id="{4FC03788-24AE-45DB-A56D-04E43C645E62}"/>
              </a:ext>
            </a:extLst>
          </p:cNvPr>
          <p:cNvSpPr/>
          <p:nvPr/>
        </p:nvSpPr>
        <p:spPr>
          <a:xfrm>
            <a:off x="11542295" y="0"/>
            <a:ext cx="649705"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ross 10">
            <a:extLst>
              <a:ext uri="{FF2B5EF4-FFF2-40B4-BE49-F238E27FC236}">
                <a16:creationId xmlns:a16="http://schemas.microsoft.com/office/drawing/2014/main" id="{339EA585-583E-4E38-BD2F-4313598349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6" name="Picture 5">
            <a:extLst>
              <a:ext uri="{FF2B5EF4-FFF2-40B4-BE49-F238E27FC236}">
                <a16:creationId xmlns:a16="http://schemas.microsoft.com/office/drawing/2014/main" id="{0B699D4B-665D-44E5-9C24-322DA6065521}"/>
              </a:ext>
            </a:extLst>
          </p:cNvPr>
          <p:cNvPicPr>
            <a:picLocks noChangeAspect="1"/>
          </p:cNvPicPr>
          <p:nvPr/>
        </p:nvPicPr>
        <p:blipFill rotWithShape="1">
          <a:blip r:embed="rId2">
            <a:extLst>
              <a:ext uri="{28A0092B-C50C-407E-A947-70E740481C1C}">
                <a14:useLocalDpi xmlns:a14="http://schemas.microsoft.com/office/drawing/2010/main" val="0"/>
              </a:ext>
            </a:extLst>
          </a:blip>
          <a:srcRect l="223"/>
          <a:stretch/>
        </p:blipFill>
        <p:spPr>
          <a:xfrm>
            <a:off x="1078235" y="1086117"/>
            <a:ext cx="9785512" cy="5484856"/>
          </a:xfrm>
          <a:prstGeom prst="rect">
            <a:avLst/>
          </a:prstGeom>
        </p:spPr>
      </p:pic>
    </p:spTree>
    <p:extLst>
      <p:ext uri="{BB962C8B-B14F-4D97-AF65-F5344CB8AC3E}">
        <p14:creationId xmlns:p14="http://schemas.microsoft.com/office/powerpoint/2010/main" val="1845610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Ícone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B5EAA4D-2CAF-4CB5-9797-39F53243C7F1}"/>
              </a:ext>
            </a:extLst>
          </p:cNvPr>
          <p:cNvSpPr/>
          <p:nvPr/>
        </p:nvSpPr>
        <p:spPr>
          <a:xfrm>
            <a:off x="3183599" y="0"/>
            <a:ext cx="9008402" cy="6858000"/>
          </a:xfrm>
          <a:prstGeom prst="rect">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3" name="Straight Connector 2">
            <a:extLst>
              <a:ext uri="{FF2B5EF4-FFF2-40B4-BE49-F238E27FC236}">
                <a16:creationId xmlns:a16="http://schemas.microsoft.com/office/drawing/2014/main" id="{A38BF1E0-180B-4A4B-81E6-0C3CFD5859EF}"/>
              </a:ext>
            </a:extLst>
          </p:cNvPr>
          <p:cNvCxnSpPr>
            <a:cxnSpLocks/>
          </p:cNvCxnSpPr>
          <p:nvPr/>
        </p:nvCxnSpPr>
        <p:spPr>
          <a:xfrm>
            <a:off x="642486" y="0"/>
            <a:ext cx="0" cy="1479134"/>
          </a:xfrm>
          <a:prstGeom prst="line">
            <a:avLst/>
          </a:prstGeom>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26A7B54-4468-45DC-8873-9BCFB625B381}"/>
              </a:ext>
            </a:extLst>
          </p:cNvPr>
          <p:cNvSpPr/>
          <p:nvPr/>
        </p:nvSpPr>
        <p:spPr>
          <a:xfrm rot="5400000">
            <a:off x="192563" y="987393"/>
            <a:ext cx="947483"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F0885524-DEE6-4687-BBD8-55EE9015E95A}"/>
              </a:ext>
            </a:extLst>
          </p:cNvPr>
          <p:cNvSpPr/>
          <p:nvPr/>
        </p:nvSpPr>
        <p:spPr>
          <a:xfrm>
            <a:off x="11780800" y="209618"/>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ross 11">
            <a:extLst>
              <a:ext uri="{FF2B5EF4-FFF2-40B4-BE49-F238E27FC236}">
                <a16:creationId xmlns:a16="http://schemas.microsoft.com/office/drawing/2014/main" id="{A4294596-0225-4BFB-8531-311083773819}"/>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8" name="Cross 17">
            <a:extLst>
              <a:ext uri="{FF2B5EF4-FFF2-40B4-BE49-F238E27FC236}">
                <a16:creationId xmlns:a16="http://schemas.microsoft.com/office/drawing/2014/main" id="{EA0990D6-FC4E-4F40-9617-DB1AFD2BBBA4}"/>
              </a:ext>
            </a:extLst>
          </p:cNvPr>
          <p:cNvSpPr/>
          <p:nvPr/>
        </p:nvSpPr>
        <p:spPr>
          <a:xfrm>
            <a:off x="11790911" y="6493565"/>
            <a:ext cx="152472" cy="154817"/>
          </a:xfrm>
          <a:prstGeom prst="plus">
            <a:avLst>
              <a:gd name="adj" fmla="val 330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8" name="Title 1">
            <a:extLst>
              <a:ext uri="{FF2B5EF4-FFF2-40B4-BE49-F238E27FC236}">
                <a16:creationId xmlns:a16="http://schemas.microsoft.com/office/drawing/2014/main" id="{DD1ECF30-CD87-47F3-AB89-A725825B7D4A}"/>
              </a:ext>
            </a:extLst>
          </p:cNvPr>
          <p:cNvSpPr>
            <a:spLocks noGrp="1"/>
          </p:cNvSpPr>
          <p:nvPr>
            <p:ph type="title" hasCustomPrompt="1"/>
          </p:nvPr>
        </p:nvSpPr>
        <p:spPr>
          <a:xfrm>
            <a:off x="879274" y="843287"/>
            <a:ext cx="2304324" cy="713762"/>
          </a:xfrm>
          <a:prstGeom prst="rect">
            <a:avLst/>
          </a:prstGeom>
        </p:spPr>
        <p:txBody>
          <a:bodyPr/>
          <a:lstStyle>
            <a:lvl1pPr algn="l">
              <a:defRPr b="1">
                <a:solidFill>
                  <a:schemeClr val="tx1"/>
                </a:solidFill>
              </a:defRPr>
            </a:lvl1pPr>
          </a:lstStyle>
          <a:p>
            <a:r>
              <a:rPr lang="en-US" dirty="0" err="1"/>
              <a:t>Título</a:t>
            </a:r>
            <a:endParaRPr lang="pt-BR" dirty="0"/>
          </a:p>
        </p:txBody>
      </p:sp>
    </p:spTree>
    <p:extLst>
      <p:ext uri="{BB962C8B-B14F-4D97-AF65-F5344CB8AC3E}">
        <p14:creationId xmlns:p14="http://schemas.microsoft.com/office/powerpoint/2010/main" val="1244983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Limpo com Títul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38BF1E0-180B-4A4B-81E6-0C3CFD5859EF}"/>
              </a:ext>
            </a:extLst>
          </p:cNvPr>
          <p:cNvCxnSpPr>
            <a:cxnSpLocks/>
          </p:cNvCxnSpPr>
          <p:nvPr/>
        </p:nvCxnSpPr>
        <p:spPr>
          <a:xfrm>
            <a:off x="642486" y="0"/>
            <a:ext cx="0" cy="1479134"/>
          </a:xfrm>
          <a:prstGeom prst="line">
            <a:avLst/>
          </a:prstGeom>
          <a:ln w="19050">
            <a:solidFill>
              <a:srgbClr val="009ADD"/>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26A7B54-4468-45DC-8873-9BCFB625B381}"/>
              </a:ext>
            </a:extLst>
          </p:cNvPr>
          <p:cNvSpPr/>
          <p:nvPr/>
        </p:nvSpPr>
        <p:spPr>
          <a:xfrm rot="5400000">
            <a:off x="192563" y="987393"/>
            <a:ext cx="947483" cy="36000"/>
          </a:xfrm>
          <a:prstGeom prst="rect">
            <a:avLst/>
          </a:prstGeom>
          <a:solidFill>
            <a:srgbClr val="009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ross 8">
            <a:extLst>
              <a:ext uri="{FF2B5EF4-FFF2-40B4-BE49-F238E27FC236}">
                <a16:creationId xmlns:a16="http://schemas.microsoft.com/office/drawing/2014/main" id="{F0885524-DEE6-4687-BBD8-55EE9015E95A}"/>
              </a:ext>
            </a:extLst>
          </p:cNvPr>
          <p:cNvSpPr/>
          <p:nvPr/>
        </p:nvSpPr>
        <p:spPr>
          <a:xfrm>
            <a:off x="11780800" y="209618"/>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ross 11">
            <a:extLst>
              <a:ext uri="{FF2B5EF4-FFF2-40B4-BE49-F238E27FC236}">
                <a16:creationId xmlns:a16="http://schemas.microsoft.com/office/drawing/2014/main" id="{A4294596-0225-4BFB-8531-311083773819}"/>
              </a:ext>
            </a:extLst>
          </p:cNvPr>
          <p:cNvSpPr/>
          <p:nvPr/>
        </p:nvSpPr>
        <p:spPr>
          <a:xfrm>
            <a:off x="247216" y="6493565"/>
            <a:ext cx="152472" cy="154817"/>
          </a:xfrm>
          <a:prstGeom prst="plus">
            <a:avLst>
              <a:gd name="adj" fmla="val 33070"/>
            </a:avLst>
          </a:prstGeom>
          <a:solidFill>
            <a:srgbClr val="00B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8" name="Cross 17">
            <a:extLst>
              <a:ext uri="{FF2B5EF4-FFF2-40B4-BE49-F238E27FC236}">
                <a16:creationId xmlns:a16="http://schemas.microsoft.com/office/drawing/2014/main" id="{EA0990D6-FC4E-4F40-9617-DB1AFD2BBBA4}"/>
              </a:ext>
            </a:extLst>
          </p:cNvPr>
          <p:cNvSpPr/>
          <p:nvPr/>
        </p:nvSpPr>
        <p:spPr>
          <a:xfrm>
            <a:off x="11790911" y="6493565"/>
            <a:ext cx="152472" cy="154817"/>
          </a:xfrm>
          <a:prstGeom prst="plus">
            <a:avLst>
              <a:gd name="adj" fmla="val 33070"/>
            </a:avLst>
          </a:prstGeom>
          <a:solidFill>
            <a:srgbClr val="000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4" name="Title 1">
            <a:extLst>
              <a:ext uri="{FF2B5EF4-FFF2-40B4-BE49-F238E27FC236}">
                <a16:creationId xmlns:a16="http://schemas.microsoft.com/office/drawing/2014/main" id="{E540A984-F6AF-4FD3-B128-5D50D46AA6E4}"/>
              </a:ext>
            </a:extLst>
          </p:cNvPr>
          <p:cNvSpPr>
            <a:spLocks noGrp="1"/>
          </p:cNvSpPr>
          <p:nvPr>
            <p:ph type="title" hasCustomPrompt="1"/>
          </p:nvPr>
        </p:nvSpPr>
        <p:spPr>
          <a:xfrm>
            <a:off x="879274" y="843287"/>
            <a:ext cx="5716766" cy="713762"/>
          </a:xfrm>
          <a:prstGeom prst="rect">
            <a:avLst/>
          </a:prstGeom>
        </p:spPr>
        <p:txBody>
          <a:bodyPr/>
          <a:lstStyle>
            <a:lvl1pPr algn="l">
              <a:defRPr b="1">
                <a:solidFill>
                  <a:schemeClr val="tx1"/>
                </a:solidFill>
              </a:defRPr>
            </a:lvl1pPr>
          </a:lstStyle>
          <a:p>
            <a:r>
              <a:rPr lang="en-US" dirty="0" err="1"/>
              <a:t>Título</a:t>
            </a:r>
            <a:endParaRPr lang="pt-BR" dirty="0"/>
          </a:p>
        </p:txBody>
      </p:sp>
    </p:spTree>
    <p:extLst>
      <p:ext uri="{BB962C8B-B14F-4D97-AF65-F5344CB8AC3E}">
        <p14:creationId xmlns:p14="http://schemas.microsoft.com/office/powerpoint/2010/main" val="3505098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Fechamen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AAE077F-C467-49F1-B749-2958227598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3">
            <a:extLst>
              <a:ext uri="{FF2B5EF4-FFF2-40B4-BE49-F238E27FC236}">
                <a16:creationId xmlns:a16="http://schemas.microsoft.com/office/drawing/2014/main" id="{F32F8191-763C-4AEF-9545-0C82B30B2F12}"/>
              </a:ext>
            </a:extLst>
          </p:cNvPr>
          <p:cNvSpPr>
            <a:spLocks noGrp="1"/>
          </p:cNvSpPr>
          <p:nvPr>
            <p:ph type="title" hasCustomPrompt="1"/>
          </p:nvPr>
        </p:nvSpPr>
        <p:spPr>
          <a:xfrm>
            <a:off x="618461" y="4483099"/>
            <a:ext cx="3315586" cy="707311"/>
          </a:xfrm>
          <a:prstGeom prst="rect">
            <a:avLst/>
          </a:prstGeom>
        </p:spPr>
        <p:txBody>
          <a:bodyPr/>
          <a:lstStyle>
            <a:lvl1pPr algn="r">
              <a:defRPr b="1">
                <a:solidFill>
                  <a:schemeClr val="bg1"/>
                </a:solidFill>
              </a:defRPr>
            </a:lvl1pPr>
          </a:lstStyle>
          <a:p>
            <a:r>
              <a:rPr lang="en-US" dirty="0" err="1"/>
              <a:t>Obrigado</a:t>
            </a:r>
            <a:endParaRPr lang="pt-BR" dirty="0"/>
          </a:p>
        </p:txBody>
      </p:sp>
      <p:cxnSp>
        <p:nvCxnSpPr>
          <p:cNvPr id="7" name="Straight Connector 6">
            <a:extLst>
              <a:ext uri="{FF2B5EF4-FFF2-40B4-BE49-F238E27FC236}">
                <a16:creationId xmlns:a16="http://schemas.microsoft.com/office/drawing/2014/main" id="{4C1E501C-C2A3-42B9-8B05-DD324E106494}"/>
              </a:ext>
            </a:extLst>
          </p:cNvPr>
          <p:cNvCxnSpPr>
            <a:cxnSpLocks/>
          </p:cNvCxnSpPr>
          <p:nvPr/>
        </p:nvCxnSpPr>
        <p:spPr>
          <a:xfrm>
            <a:off x="4552508" y="4851383"/>
            <a:ext cx="763949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33BBDBC-9825-493B-A4D9-84D911ABD61A}"/>
              </a:ext>
            </a:extLst>
          </p:cNvPr>
          <p:cNvSpPr/>
          <p:nvPr/>
        </p:nvSpPr>
        <p:spPr>
          <a:xfrm>
            <a:off x="4552508" y="4853731"/>
            <a:ext cx="1894966"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1166023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8737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F08C5F74-853F-8822-789F-5389D4F8F758}"/>
              </a:ext>
            </a:extLst>
          </p:cNvPr>
          <p:cNvSpPr>
            <a:spLocks noGrp="1"/>
          </p:cNvSpPr>
          <p:nvPr>
            <p:ph type="pic" sz="quarter" idx="10"/>
          </p:nvPr>
        </p:nvSpPr>
        <p:spPr>
          <a:xfrm>
            <a:off x="1316085" y="1168688"/>
            <a:ext cx="3907174" cy="1090613"/>
          </a:xfrm>
          <a:prstGeom prst="roundRect">
            <a:avLst>
              <a:gd name="adj" fmla="val 4440"/>
            </a:avLst>
          </a:prstGeom>
          <a:solidFill>
            <a:schemeClr val="bg1">
              <a:lumMod val="65000"/>
              <a:alpha val="15000"/>
            </a:schemeClr>
          </a:solidFill>
        </p:spPr>
        <p:txBody>
          <a:bodyPr wrap="square" anchor="ctr">
            <a:noAutofit/>
          </a:bodyPr>
          <a:lstStyle>
            <a:lvl1pPr>
              <a:defRPr lang="en-US" sz="1200">
                <a:solidFill>
                  <a:schemeClr val="bg1">
                    <a:lumMod val="65000"/>
                  </a:schemeClr>
                </a:solidFill>
              </a:defRPr>
            </a:lvl1pPr>
          </a:lstStyle>
          <a:p>
            <a:pPr marL="0" lvl="0" indent="0" algn="ctr">
              <a:buNone/>
            </a:pPr>
            <a:endParaRPr lang="en-US"/>
          </a:p>
        </p:txBody>
      </p:sp>
      <p:sp>
        <p:nvSpPr>
          <p:cNvPr id="21" name="Picture Placeholder 19">
            <a:extLst>
              <a:ext uri="{FF2B5EF4-FFF2-40B4-BE49-F238E27FC236}">
                <a16:creationId xmlns:a16="http://schemas.microsoft.com/office/drawing/2014/main" id="{122EE322-3804-3654-4186-8DD792287C7B}"/>
              </a:ext>
            </a:extLst>
          </p:cNvPr>
          <p:cNvSpPr>
            <a:spLocks noGrp="1"/>
          </p:cNvSpPr>
          <p:nvPr>
            <p:ph type="pic" sz="quarter" idx="11"/>
          </p:nvPr>
        </p:nvSpPr>
        <p:spPr>
          <a:xfrm>
            <a:off x="7020807" y="3861910"/>
            <a:ext cx="3907174" cy="1090613"/>
          </a:xfrm>
          <a:prstGeom prst="roundRect">
            <a:avLst>
              <a:gd name="adj" fmla="val 5022"/>
            </a:avLst>
          </a:prstGeom>
          <a:solidFill>
            <a:schemeClr val="bg1">
              <a:lumMod val="65000"/>
              <a:alpha val="15000"/>
            </a:schemeClr>
          </a:solidFill>
        </p:spPr>
        <p:txBody>
          <a:bodyPr wrap="square" anchor="ctr">
            <a:noAutofit/>
          </a:bodyPr>
          <a:lstStyle>
            <a:lvl1pPr>
              <a:defRPr lang="en-US" sz="1200">
                <a:solidFill>
                  <a:schemeClr val="bg1">
                    <a:lumMod val="65000"/>
                  </a:schemeClr>
                </a:solidFill>
              </a:defRPr>
            </a:lvl1pPr>
          </a:lstStyle>
          <a:p>
            <a:pPr marL="0" lvl="0" indent="0" algn="ctr">
              <a:buNone/>
            </a:pPr>
            <a:endParaRPr lang="en-US"/>
          </a:p>
        </p:txBody>
      </p:sp>
    </p:spTree>
    <p:extLst>
      <p:ext uri="{BB962C8B-B14F-4D97-AF65-F5344CB8AC3E}">
        <p14:creationId xmlns:p14="http://schemas.microsoft.com/office/powerpoint/2010/main" val="1859006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 Fuschia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A9AD33F6-1416-4A9E-93DD-CB80F116A1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688" t="-449" r="2175" b="29077"/>
          <a:stretch/>
        </p:blipFill>
        <p:spPr bwMode="black">
          <a:xfrm rot="16200000">
            <a:off x="5888459" y="554451"/>
            <a:ext cx="6857998" cy="5749090"/>
          </a:xfrm>
          <a:prstGeom prst="rect">
            <a:avLst/>
          </a:prstGeom>
        </p:spPr>
      </p:pic>
      <p:sp>
        <p:nvSpPr>
          <p:cNvPr id="4" name="Title 3">
            <a:extLst>
              <a:ext uri="{FF2B5EF4-FFF2-40B4-BE49-F238E27FC236}">
                <a16:creationId xmlns:a16="http://schemas.microsoft.com/office/drawing/2014/main" id="{732A62C7-DE6E-41CE-BE44-090856989E47}"/>
              </a:ext>
            </a:extLst>
          </p:cNvPr>
          <p:cNvSpPr>
            <a:spLocks noGrp="1"/>
          </p:cNvSpPr>
          <p:nvPr>
            <p:ph type="title" hasCustomPrompt="1"/>
          </p:nvPr>
        </p:nvSpPr>
        <p:spPr>
          <a:xfrm>
            <a:off x="639555" y="2665026"/>
            <a:ext cx="5693153" cy="3381265"/>
          </a:xfrm>
        </p:spPr>
        <p:txBody>
          <a:bodyPr anchor="t">
            <a:normAutofit/>
          </a:bodyPr>
          <a:lstStyle>
            <a:lvl1pPr>
              <a:defRPr sz="6000"/>
            </a:lvl1pPr>
          </a:lstStyle>
          <a:p>
            <a:r>
              <a:rPr lang="en-US"/>
              <a:t>Click to add short closing sentence</a:t>
            </a:r>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0038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3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0005101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ackground + títul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757C211D-1C8A-4078-B1CB-385CD86EB604}"/>
              </a:ext>
            </a:extLst>
          </p:cNvPr>
          <p:cNvSpPr/>
          <p:nvPr userDrawn="1"/>
        </p:nvSpPr>
        <p:spPr>
          <a:xfrm>
            <a:off x="0" y="0"/>
            <a:ext cx="12192000" cy="6858000"/>
          </a:xfrm>
          <a:prstGeom prst="rect">
            <a:avLst/>
          </a:prstGeom>
          <a:solidFill>
            <a:srgbClr val="3138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ítulo 1">
            <a:extLst>
              <a:ext uri="{FF2B5EF4-FFF2-40B4-BE49-F238E27FC236}">
                <a16:creationId xmlns:a16="http://schemas.microsoft.com/office/drawing/2014/main" id="{B2BA84B5-9AE0-434A-8C69-DC8B2E32C8CB}"/>
              </a:ext>
            </a:extLst>
          </p:cNvPr>
          <p:cNvSpPr>
            <a:spLocks noGrp="1"/>
          </p:cNvSpPr>
          <p:nvPr>
            <p:ph type="title"/>
          </p:nvPr>
        </p:nvSpPr>
        <p:spPr>
          <a:xfrm>
            <a:off x="1028700" y="1993901"/>
            <a:ext cx="10134600" cy="2335212"/>
          </a:xfrm>
        </p:spPr>
        <p:txBody>
          <a:bodyPr/>
          <a:lstStyle>
            <a:lvl1pPr algn="ctr">
              <a:defRPr>
                <a:solidFill>
                  <a:srgbClr val="FFFFFF"/>
                </a:solidFill>
              </a:defRPr>
            </a:lvl1pPr>
          </a:lstStyle>
          <a:p>
            <a:r>
              <a:rPr lang="pt-BR" dirty="0"/>
              <a:t>Clique para editar o título Mestre</a:t>
            </a:r>
          </a:p>
        </p:txBody>
      </p:sp>
      <p:sp>
        <p:nvSpPr>
          <p:cNvPr id="6" name="CaixaDeTexto 5">
            <a:extLst>
              <a:ext uri="{FF2B5EF4-FFF2-40B4-BE49-F238E27FC236}">
                <a16:creationId xmlns:a16="http://schemas.microsoft.com/office/drawing/2014/main" id="{B13447A0-6CCE-493C-87E7-1D68FDF56A02}"/>
              </a:ext>
            </a:extLst>
          </p:cNvPr>
          <p:cNvSpPr txBox="1"/>
          <p:nvPr userDrawn="1"/>
        </p:nvSpPr>
        <p:spPr>
          <a:xfrm>
            <a:off x="-2" y="-904318"/>
            <a:ext cx="6972301" cy="369332"/>
          </a:xfrm>
          <a:prstGeom prst="rect">
            <a:avLst/>
          </a:prstGeom>
          <a:noFill/>
        </p:spPr>
        <p:txBody>
          <a:bodyPr wrap="square" rtlCol="0">
            <a:spAutoFit/>
          </a:bodyPr>
          <a:lstStyle/>
          <a:p>
            <a:r>
              <a:rPr lang="pt-BR" b="1" dirty="0"/>
              <a:t>Para inserir uma imagem no fundo </a:t>
            </a:r>
            <a:r>
              <a:rPr lang="pt-BR" dirty="0"/>
              <a:t>do slide edite o plano de fundo:</a:t>
            </a:r>
          </a:p>
        </p:txBody>
      </p:sp>
      <p:sp>
        <p:nvSpPr>
          <p:cNvPr id="7" name="CaixaDeTexto 6">
            <a:extLst>
              <a:ext uri="{FF2B5EF4-FFF2-40B4-BE49-F238E27FC236}">
                <a16:creationId xmlns:a16="http://schemas.microsoft.com/office/drawing/2014/main" id="{AB7C39C5-9023-42EB-947B-16325BF39F24}"/>
              </a:ext>
            </a:extLst>
          </p:cNvPr>
          <p:cNvSpPr txBox="1"/>
          <p:nvPr userDrawn="1"/>
        </p:nvSpPr>
        <p:spPr>
          <a:xfrm>
            <a:off x="-2" y="-534986"/>
            <a:ext cx="7715252" cy="369332"/>
          </a:xfrm>
          <a:prstGeom prst="rect">
            <a:avLst/>
          </a:prstGeom>
          <a:noFill/>
        </p:spPr>
        <p:txBody>
          <a:bodyPr wrap="square" rtlCol="0">
            <a:spAutoFit/>
          </a:bodyPr>
          <a:lstStyle/>
          <a:p>
            <a:r>
              <a:rPr lang="pt-BR" dirty="0"/>
              <a:t>Botão direito, formatar plano de fundo, preenchimento com imagem </a:t>
            </a:r>
            <a:r>
              <a:rPr lang="pt-BR"/>
              <a:t>e inserir.</a:t>
            </a:r>
            <a:endParaRPr lang="pt-BR" dirty="0"/>
          </a:p>
        </p:txBody>
      </p:sp>
    </p:spTree>
    <p:extLst>
      <p:ext uri="{BB962C8B-B14F-4D97-AF65-F5344CB8AC3E}">
        <p14:creationId xmlns:p14="http://schemas.microsoft.com/office/powerpoint/2010/main" val="2108672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ema Livre + Texto direita">
    <p:spTree>
      <p:nvGrpSpPr>
        <p:cNvPr id="1" name=""/>
        <p:cNvGrpSpPr/>
        <p:nvPr/>
      </p:nvGrpSpPr>
      <p:grpSpPr>
        <a:xfrm>
          <a:off x="0" y="0"/>
          <a:ext cx="0" cy="0"/>
          <a:chOff x="0" y="0"/>
          <a:chExt cx="0" cy="0"/>
        </a:xfrm>
      </p:grpSpPr>
      <p:sp>
        <p:nvSpPr>
          <p:cNvPr id="12" name="Espaço Reservado para Imagem 11">
            <a:extLst>
              <a:ext uri="{FF2B5EF4-FFF2-40B4-BE49-F238E27FC236}">
                <a16:creationId xmlns:a16="http://schemas.microsoft.com/office/drawing/2014/main" id="{229E68F1-7D3F-417E-9517-DA38CED10B1A}"/>
              </a:ext>
            </a:extLst>
          </p:cNvPr>
          <p:cNvSpPr>
            <a:spLocks noGrp="1"/>
          </p:cNvSpPr>
          <p:nvPr>
            <p:ph type="pic" sz="quarter" idx="10"/>
          </p:nvPr>
        </p:nvSpPr>
        <p:spPr>
          <a:xfrm>
            <a:off x="0" y="0"/>
            <a:ext cx="2264229" cy="2264229"/>
          </a:xfrm>
          <a:prstGeom prst="rect">
            <a:avLst/>
          </a:prstGeom>
          <a:solidFill>
            <a:srgbClr val="006D93"/>
          </a:solidFill>
        </p:spPr>
        <p:txBody>
          <a:bodyPr>
            <a:normAutofit/>
          </a:bodyPr>
          <a:lstStyle>
            <a:lvl1pPr marL="0" indent="0">
              <a:buNone/>
              <a:defRPr sz="1800">
                <a:solidFill>
                  <a:schemeClr val="bg1"/>
                </a:solidFill>
              </a:defRPr>
            </a:lvl1pPr>
          </a:lstStyle>
          <a:p>
            <a:endParaRPr lang="pt-BR" dirty="0"/>
          </a:p>
        </p:txBody>
      </p:sp>
      <p:sp>
        <p:nvSpPr>
          <p:cNvPr id="16" name="Espaço Reservado para Imagem 11">
            <a:extLst>
              <a:ext uri="{FF2B5EF4-FFF2-40B4-BE49-F238E27FC236}">
                <a16:creationId xmlns:a16="http://schemas.microsoft.com/office/drawing/2014/main" id="{67A70C11-56F4-4F33-803C-76225C3631E9}"/>
              </a:ext>
            </a:extLst>
          </p:cNvPr>
          <p:cNvSpPr>
            <a:spLocks noGrp="1"/>
          </p:cNvSpPr>
          <p:nvPr>
            <p:ph type="pic" sz="quarter" idx="11"/>
          </p:nvPr>
        </p:nvSpPr>
        <p:spPr>
          <a:xfrm>
            <a:off x="2264229" y="2296885"/>
            <a:ext cx="2264229" cy="2264229"/>
          </a:xfrm>
          <a:prstGeom prst="rect">
            <a:avLst/>
          </a:prstGeom>
          <a:solidFill>
            <a:srgbClr val="8DC44B"/>
          </a:solidFill>
        </p:spPr>
        <p:txBody>
          <a:bodyPr>
            <a:normAutofit/>
          </a:bodyPr>
          <a:lstStyle>
            <a:lvl1pPr marL="0" indent="0">
              <a:buNone/>
              <a:defRPr sz="1800">
                <a:solidFill>
                  <a:schemeClr val="bg1"/>
                </a:solidFill>
              </a:defRPr>
            </a:lvl1pPr>
          </a:lstStyle>
          <a:p>
            <a:endParaRPr lang="pt-BR" dirty="0"/>
          </a:p>
        </p:txBody>
      </p:sp>
      <p:sp>
        <p:nvSpPr>
          <p:cNvPr id="17" name="Espaço Reservado para Imagem 11">
            <a:extLst>
              <a:ext uri="{FF2B5EF4-FFF2-40B4-BE49-F238E27FC236}">
                <a16:creationId xmlns:a16="http://schemas.microsoft.com/office/drawing/2014/main" id="{30A98F20-A99A-4A0F-90AE-10A217F0773D}"/>
              </a:ext>
            </a:extLst>
          </p:cNvPr>
          <p:cNvSpPr>
            <a:spLocks noGrp="1"/>
          </p:cNvSpPr>
          <p:nvPr>
            <p:ph type="pic" sz="quarter" idx="12"/>
          </p:nvPr>
        </p:nvSpPr>
        <p:spPr>
          <a:xfrm>
            <a:off x="0" y="4593771"/>
            <a:ext cx="2264229" cy="2264229"/>
          </a:xfrm>
          <a:prstGeom prst="rect">
            <a:avLst/>
          </a:prstGeom>
          <a:solidFill>
            <a:srgbClr val="313847"/>
          </a:solidFill>
        </p:spPr>
        <p:txBody>
          <a:bodyPr>
            <a:normAutofit/>
          </a:bodyPr>
          <a:lstStyle>
            <a:lvl1pPr marL="0" indent="0">
              <a:buNone/>
              <a:defRPr sz="1800">
                <a:solidFill>
                  <a:schemeClr val="bg1"/>
                </a:solidFill>
              </a:defRPr>
            </a:lvl1pPr>
          </a:lstStyle>
          <a:p>
            <a:endParaRPr lang="pt-BR"/>
          </a:p>
        </p:txBody>
      </p:sp>
      <p:sp>
        <p:nvSpPr>
          <p:cNvPr id="18" name="Espaço Reservado para Imagem 11">
            <a:extLst>
              <a:ext uri="{FF2B5EF4-FFF2-40B4-BE49-F238E27FC236}">
                <a16:creationId xmlns:a16="http://schemas.microsoft.com/office/drawing/2014/main" id="{D0EE4BD9-31ED-4B77-B89A-1E2E453B7DBC}"/>
              </a:ext>
            </a:extLst>
          </p:cNvPr>
          <p:cNvSpPr>
            <a:spLocks noGrp="1"/>
          </p:cNvSpPr>
          <p:nvPr>
            <p:ph type="pic" sz="quarter" idx="13"/>
          </p:nvPr>
        </p:nvSpPr>
        <p:spPr>
          <a:xfrm>
            <a:off x="4528458" y="1001486"/>
            <a:ext cx="1262743" cy="1262743"/>
          </a:xfrm>
          <a:prstGeom prst="rect">
            <a:avLst/>
          </a:prstGeom>
          <a:solidFill>
            <a:srgbClr val="74BDE1"/>
          </a:solidFill>
        </p:spPr>
        <p:txBody>
          <a:bodyPr>
            <a:normAutofit/>
          </a:bodyPr>
          <a:lstStyle>
            <a:lvl1pPr marL="0" indent="0">
              <a:buNone/>
              <a:defRPr sz="1600">
                <a:solidFill>
                  <a:schemeClr val="bg1"/>
                </a:solidFill>
              </a:defRPr>
            </a:lvl1pPr>
          </a:lstStyle>
          <a:p>
            <a:endParaRPr lang="pt-BR" dirty="0"/>
          </a:p>
        </p:txBody>
      </p:sp>
      <p:sp>
        <p:nvSpPr>
          <p:cNvPr id="19" name="Espaço Reservado para Imagem 11">
            <a:extLst>
              <a:ext uri="{FF2B5EF4-FFF2-40B4-BE49-F238E27FC236}">
                <a16:creationId xmlns:a16="http://schemas.microsoft.com/office/drawing/2014/main" id="{69411563-D6C6-4058-8EC7-55026E7D7F13}"/>
              </a:ext>
            </a:extLst>
          </p:cNvPr>
          <p:cNvSpPr>
            <a:spLocks noGrp="1"/>
          </p:cNvSpPr>
          <p:nvPr>
            <p:ph type="pic" sz="quarter" idx="14"/>
          </p:nvPr>
        </p:nvSpPr>
        <p:spPr>
          <a:xfrm>
            <a:off x="5791201" y="2296885"/>
            <a:ext cx="1262743" cy="1262743"/>
          </a:xfrm>
          <a:prstGeom prst="rect">
            <a:avLst/>
          </a:prstGeom>
          <a:solidFill>
            <a:srgbClr val="006D93"/>
          </a:solidFill>
        </p:spPr>
        <p:txBody>
          <a:bodyPr>
            <a:normAutofit/>
          </a:bodyPr>
          <a:lstStyle>
            <a:lvl1pPr marL="0" indent="0">
              <a:buNone/>
              <a:defRPr sz="1800">
                <a:solidFill>
                  <a:schemeClr val="bg1"/>
                </a:solidFill>
              </a:defRPr>
            </a:lvl1pPr>
          </a:lstStyle>
          <a:p>
            <a:endParaRPr lang="pt-BR" dirty="0"/>
          </a:p>
        </p:txBody>
      </p:sp>
      <p:sp>
        <p:nvSpPr>
          <p:cNvPr id="20" name="Título 19">
            <a:extLst>
              <a:ext uri="{FF2B5EF4-FFF2-40B4-BE49-F238E27FC236}">
                <a16:creationId xmlns:a16="http://schemas.microsoft.com/office/drawing/2014/main" id="{3C8CB662-2DFD-43C1-9900-B289CC3CB67D}"/>
              </a:ext>
            </a:extLst>
          </p:cNvPr>
          <p:cNvSpPr>
            <a:spLocks noGrp="1"/>
          </p:cNvSpPr>
          <p:nvPr>
            <p:ph type="title" hasCustomPrompt="1"/>
          </p:nvPr>
        </p:nvSpPr>
        <p:spPr>
          <a:xfrm>
            <a:off x="7053944" y="3592284"/>
            <a:ext cx="4397827" cy="876868"/>
          </a:xfrm>
        </p:spPr>
        <p:txBody>
          <a:bodyPr anchor="b">
            <a:noAutofit/>
          </a:bodyPr>
          <a:lstStyle>
            <a:lvl1pPr algn="l">
              <a:defRPr sz="2800">
                <a:latin typeface="Montserrat Medium" panose="00000600000000000000" pitchFamily="2" charset="0"/>
              </a:defRPr>
            </a:lvl1pPr>
          </a:lstStyle>
          <a:p>
            <a:r>
              <a:rPr lang="pt-BR" dirty="0"/>
              <a:t>CLIQUE PARA EDITAR O TÍTULO MESTRE</a:t>
            </a:r>
          </a:p>
        </p:txBody>
      </p:sp>
      <p:sp>
        <p:nvSpPr>
          <p:cNvPr id="23" name="Espaço Reservado para Texto 22">
            <a:extLst>
              <a:ext uri="{FF2B5EF4-FFF2-40B4-BE49-F238E27FC236}">
                <a16:creationId xmlns:a16="http://schemas.microsoft.com/office/drawing/2014/main" id="{099F634F-7891-488A-8582-D9C573D3C002}"/>
              </a:ext>
            </a:extLst>
          </p:cNvPr>
          <p:cNvSpPr>
            <a:spLocks noGrp="1"/>
          </p:cNvSpPr>
          <p:nvPr>
            <p:ph type="body" sz="quarter" idx="15" hasCustomPrompt="1"/>
          </p:nvPr>
        </p:nvSpPr>
        <p:spPr>
          <a:xfrm>
            <a:off x="7053263" y="4637311"/>
            <a:ext cx="4398962" cy="1936750"/>
          </a:xfrm>
          <a:prstGeom prst="rect">
            <a:avLst/>
          </a:prstGeom>
        </p:spPr>
        <p:txBody>
          <a:bodyPr>
            <a:noAutofit/>
          </a:bodyPr>
          <a:lstStyle>
            <a:lvl1pPr marL="0" indent="0" algn="l">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24" name="Rectangle 18">
            <a:extLst>
              <a:ext uri="{FF2B5EF4-FFF2-40B4-BE49-F238E27FC236}">
                <a16:creationId xmlns:a16="http://schemas.microsoft.com/office/drawing/2014/main" id="{E1B32CE4-CDD8-464E-93FA-D660F742DDD3}"/>
              </a:ext>
            </a:extLst>
          </p:cNvPr>
          <p:cNvSpPr/>
          <p:nvPr userDrawn="1"/>
        </p:nvSpPr>
        <p:spPr>
          <a:xfrm rot="5400000">
            <a:off x="9576649" y="1978421"/>
            <a:ext cx="91963" cy="5138737"/>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25" name="Group 24">
            <a:extLst>
              <a:ext uri="{FF2B5EF4-FFF2-40B4-BE49-F238E27FC236}">
                <a16:creationId xmlns:a16="http://schemas.microsoft.com/office/drawing/2014/main" id="{65DE52B5-0B28-45E3-B836-9612761BCCF8}"/>
              </a:ext>
            </a:extLst>
          </p:cNvPr>
          <p:cNvGrpSpPr/>
          <p:nvPr userDrawn="1"/>
        </p:nvGrpSpPr>
        <p:grpSpPr>
          <a:xfrm>
            <a:off x="11571410" y="237255"/>
            <a:ext cx="405420" cy="405472"/>
            <a:chOff x="9847755" y="226389"/>
            <a:chExt cx="516502" cy="516568"/>
          </a:xfrm>
        </p:grpSpPr>
        <p:sp>
          <p:nvSpPr>
            <p:cNvPr id="26" name="Rectangle 25">
              <a:extLst>
                <a:ext uri="{FF2B5EF4-FFF2-40B4-BE49-F238E27FC236}">
                  <a16:creationId xmlns:a16="http://schemas.microsoft.com/office/drawing/2014/main" id="{E57030E7-FD06-4191-8DDD-CA3B5E161E9D}"/>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665B22E0-C27D-4823-9B71-27A35CE3C340}"/>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D57F066-47F9-4053-BC8A-2DFC297F34E7}"/>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58835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ma Livre + Texto esquerda">
    <p:spTree>
      <p:nvGrpSpPr>
        <p:cNvPr id="1" name=""/>
        <p:cNvGrpSpPr/>
        <p:nvPr/>
      </p:nvGrpSpPr>
      <p:grpSpPr>
        <a:xfrm>
          <a:off x="0" y="0"/>
          <a:ext cx="0" cy="0"/>
          <a:chOff x="0" y="0"/>
          <a:chExt cx="0" cy="0"/>
        </a:xfrm>
      </p:grpSpPr>
      <p:sp>
        <p:nvSpPr>
          <p:cNvPr id="12" name="Espaço Reservado para Imagem 11">
            <a:extLst>
              <a:ext uri="{FF2B5EF4-FFF2-40B4-BE49-F238E27FC236}">
                <a16:creationId xmlns:a16="http://schemas.microsoft.com/office/drawing/2014/main" id="{229E68F1-7D3F-417E-9517-DA38CED10B1A}"/>
              </a:ext>
            </a:extLst>
          </p:cNvPr>
          <p:cNvSpPr>
            <a:spLocks noGrp="1"/>
          </p:cNvSpPr>
          <p:nvPr>
            <p:ph type="pic" sz="quarter" idx="10"/>
          </p:nvPr>
        </p:nvSpPr>
        <p:spPr>
          <a:xfrm>
            <a:off x="7474856" y="642727"/>
            <a:ext cx="4717143" cy="1621502"/>
          </a:xfrm>
          <a:prstGeom prst="rect">
            <a:avLst/>
          </a:prstGeom>
          <a:solidFill>
            <a:srgbClr val="006D93"/>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6" name="Espaço Reservado para Imagem 11">
            <a:extLst>
              <a:ext uri="{FF2B5EF4-FFF2-40B4-BE49-F238E27FC236}">
                <a16:creationId xmlns:a16="http://schemas.microsoft.com/office/drawing/2014/main" id="{67A70C11-56F4-4F33-803C-76225C3631E9}"/>
              </a:ext>
            </a:extLst>
          </p:cNvPr>
          <p:cNvSpPr>
            <a:spLocks noGrp="1"/>
          </p:cNvSpPr>
          <p:nvPr>
            <p:ph type="pic" sz="quarter" idx="11"/>
          </p:nvPr>
        </p:nvSpPr>
        <p:spPr>
          <a:xfrm>
            <a:off x="7474856" y="3526972"/>
            <a:ext cx="2264229" cy="2264229"/>
          </a:xfrm>
          <a:prstGeom prst="rect">
            <a:avLst/>
          </a:prstGeom>
          <a:solidFill>
            <a:srgbClr val="8DC44B"/>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8" name="Espaço Reservado para Imagem 11">
            <a:extLst>
              <a:ext uri="{FF2B5EF4-FFF2-40B4-BE49-F238E27FC236}">
                <a16:creationId xmlns:a16="http://schemas.microsoft.com/office/drawing/2014/main" id="{D0EE4BD9-31ED-4B77-B89A-1E2E453B7DBC}"/>
              </a:ext>
            </a:extLst>
          </p:cNvPr>
          <p:cNvSpPr>
            <a:spLocks noGrp="1"/>
          </p:cNvSpPr>
          <p:nvPr>
            <p:ph type="pic" sz="quarter" idx="13"/>
          </p:nvPr>
        </p:nvSpPr>
        <p:spPr>
          <a:xfrm>
            <a:off x="6212113" y="2264229"/>
            <a:ext cx="1262743" cy="1262743"/>
          </a:xfrm>
          <a:prstGeom prst="rect">
            <a:avLst/>
          </a:prstGeom>
          <a:solidFill>
            <a:srgbClr val="74BDE1"/>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9" name="Espaço Reservado para Imagem 11">
            <a:extLst>
              <a:ext uri="{FF2B5EF4-FFF2-40B4-BE49-F238E27FC236}">
                <a16:creationId xmlns:a16="http://schemas.microsoft.com/office/drawing/2014/main" id="{69411563-D6C6-4058-8EC7-55026E7D7F13}"/>
              </a:ext>
            </a:extLst>
          </p:cNvPr>
          <p:cNvSpPr>
            <a:spLocks noGrp="1"/>
          </p:cNvSpPr>
          <p:nvPr>
            <p:ph type="pic" sz="quarter" idx="14"/>
          </p:nvPr>
        </p:nvSpPr>
        <p:spPr>
          <a:xfrm>
            <a:off x="2452915" y="5791201"/>
            <a:ext cx="5021941" cy="1066799"/>
          </a:xfrm>
          <a:prstGeom prst="rect">
            <a:avLst/>
          </a:prstGeom>
          <a:solidFill>
            <a:srgbClr val="006D93"/>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20" name="Título 19">
            <a:extLst>
              <a:ext uri="{FF2B5EF4-FFF2-40B4-BE49-F238E27FC236}">
                <a16:creationId xmlns:a16="http://schemas.microsoft.com/office/drawing/2014/main" id="{3C8CB662-2DFD-43C1-9900-B289CC3CB67D}"/>
              </a:ext>
            </a:extLst>
          </p:cNvPr>
          <p:cNvSpPr>
            <a:spLocks noGrp="1"/>
          </p:cNvSpPr>
          <p:nvPr>
            <p:ph type="title" hasCustomPrompt="1"/>
          </p:nvPr>
        </p:nvSpPr>
        <p:spPr>
          <a:xfrm>
            <a:off x="675258" y="767347"/>
            <a:ext cx="4397827" cy="876868"/>
          </a:xfrm>
        </p:spPr>
        <p:txBody>
          <a:bodyPr anchor="b">
            <a:noAutofit/>
          </a:bodyPr>
          <a:lstStyle>
            <a:lvl1pPr>
              <a:defRPr sz="2800">
                <a:latin typeface="Montserrat Medium" panose="00000600000000000000" pitchFamily="2" charset="0"/>
              </a:defRPr>
            </a:lvl1pPr>
          </a:lstStyle>
          <a:p>
            <a:r>
              <a:rPr lang="pt-BR" dirty="0"/>
              <a:t>CLIQUE PARA EDITAR O TÍTULO MESTRE</a:t>
            </a:r>
          </a:p>
        </p:txBody>
      </p:sp>
      <p:sp>
        <p:nvSpPr>
          <p:cNvPr id="23" name="Espaço Reservado para Texto 22">
            <a:extLst>
              <a:ext uri="{FF2B5EF4-FFF2-40B4-BE49-F238E27FC236}">
                <a16:creationId xmlns:a16="http://schemas.microsoft.com/office/drawing/2014/main" id="{099F634F-7891-488A-8582-D9C573D3C002}"/>
              </a:ext>
            </a:extLst>
          </p:cNvPr>
          <p:cNvSpPr>
            <a:spLocks noGrp="1"/>
          </p:cNvSpPr>
          <p:nvPr>
            <p:ph type="body" sz="quarter" idx="15" hasCustomPrompt="1"/>
          </p:nvPr>
        </p:nvSpPr>
        <p:spPr>
          <a:xfrm>
            <a:off x="674577" y="1820180"/>
            <a:ext cx="4398962" cy="193675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24" name="Rectangle 18">
            <a:extLst>
              <a:ext uri="{FF2B5EF4-FFF2-40B4-BE49-F238E27FC236}">
                <a16:creationId xmlns:a16="http://schemas.microsoft.com/office/drawing/2014/main" id="{E1B32CE4-CDD8-464E-93FA-D660F742DDD3}"/>
              </a:ext>
            </a:extLst>
          </p:cNvPr>
          <p:cNvSpPr/>
          <p:nvPr userDrawn="1"/>
        </p:nvSpPr>
        <p:spPr>
          <a:xfrm rot="5400000">
            <a:off x="-758607" y="758609"/>
            <a:ext cx="1644214" cy="126998"/>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1553442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Imagens Circulos">
    <p:spTree>
      <p:nvGrpSpPr>
        <p:cNvPr id="1" name=""/>
        <p:cNvGrpSpPr/>
        <p:nvPr/>
      </p:nvGrpSpPr>
      <p:grpSpPr>
        <a:xfrm>
          <a:off x="0" y="0"/>
          <a:ext cx="0" cy="0"/>
          <a:chOff x="0" y="0"/>
          <a:chExt cx="0" cy="0"/>
        </a:xfrm>
      </p:grpSpPr>
      <p:sp>
        <p:nvSpPr>
          <p:cNvPr id="21" name="Rectangle 21">
            <a:extLst>
              <a:ext uri="{FF2B5EF4-FFF2-40B4-BE49-F238E27FC236}">
                <a16:creationId xmlns:a16="http://schemas.microsoft.com/office/drawing/2014/main" id="{9EF35EA5-EB7C-4E4A-8333-7A67908CFED0}"/>
              </a:ext>
            </a:extLst>
          </p:cNvPr>
          <p:cNvSpPr/>
          <p:nvPr userDrawn="1"/>
        </p:nvSpPr>
        <p:spPr>
          <a:xfrm>
            <a:off x="7445036" y="3124178"/>
            <a:ext cx="867761" cy="1944915"/>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ctangle 21">
            <a:extLst>
              <a:ext uri="{FF2B5EF4-FFF2-40B4-BE49-F238E27FC236}">
                <a16:creationId xmlns:a16="http://schemas.microsoft.com/office/drawing/2014/main" id="{A3806EA7-FDCC-47AE-A524-526F0D3B92B6}"/>
              </a:ext>
            </a:extLst>
          </p:cNvPr>
          <p:cNvSpPr/>
          <p:nvPr userDrawn="1"/>
        </p:nvSpPr>
        <p:spPr>
          <a:xfrm rot="16200000">
            <a:off x="6811585" y="2510113"/>
            <a:ext cx="867761" cy="399144"/>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ítulo 19">
            <a:extLst>
              <a:ext uri="{FF2B5EF4-FFF2-40B4-BE49-F238E27FC236}">
                <a16:creationId xmlns:a16="http://schemas.microsoft.com/office/drawing/2014/main" id="{45D6096A-013A-47E3-87CD-27691C0DE646}"/>
              </a:ext>
            </a:extLst>
          </p:cNvPr>
          <p:cNvSpPr>
            <a:spLocks noGrp="1"/>
          </p:cNvSpPr>
          <p:nvPr>
            <p:ph type="title" hasCustomPrompt="1"/>
          </p:nvPr>
        </p:nvSpPr>
        <p:spPr>
          <a:xfrm>
            <a:off x="675258" y="1911687"/>
            <a:ext cx="4397827" cy="876868"/>
          </a:xfrm>
        </p:spPr>
        <p:txBody>
          <a:bodyPr anchor="b">
            <a:noAutofit/>
          </a:bodyPr>
          <a:lstStyle>
            <a:lvl1pPr>
              <a:defRPr sz="2800">
                <a:latin typeface="Montserrat Medium" panose="00000600000000000000" pitchFamily="2" charset="0"/>
              </a:defRPr>
            </a:lvl1pPr>
          </a:lstStyle>
          <a:p>
            <a:r>
              <a:rPr lang="pt-BR" dirty="0"/>
              <a:t>CLIQUE PARA EDITAR O TÍTULO MESTRE</a:t>
            </a:r>
          </a:p>
        </p:txBody>
      </p:sp>
      <p:sp>
        <p:nvSpPr>
          <p:cNvPr id="5" name="Espaço Reservado para Texto 22">
            <a:extLst>
              <a:ext uri="{FF2B5EF4-FFF2-40B4-BE49-F238E27FC236}">
                <a16:creationId xmlns:a16="http://schemas.microsoft.com/office/drawing/2014/main" id="{EA99B78D-122A-4162-A5A1-5CEA04879677}"/>
              </a:ext>
            </a:extLst>
          </p:cNvPr>
          <p:cNvSpPr>
            <a:spLocks noGrp="1"/>
          </p:cNvSpPr>
          <p:nvPr>
            <p:ph type="body" sz="quarter" idx="15" hasCustomPrompt="1"/>
          </p:nvPr>
        </p:nvSpPr>
        <p:spPr>
          <a:xfrm>
            <a:off x="674577" y="2964520"/>
            <a:ext cx="4398962" cy="193675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6" name="Rectangle 18">
            <a:extLst>
              <a:ext uri="{FF2B5EF4-FFF2-40B4-BE49-F238E27FC236}">
                <a16:creationId xmlns:a16="http://schemas.microsoft.com/office/drawing/2014/main" id="{9F5FAF70-E222-4E57-A66E-1CDE494EFE54}"/>
              </a:ext>
            </a:extLst>
          </p:cNvPr>
          <p:cNvSpPr/>
          <p:nvPr userDrawn="1"/>
        </p:nvSpPr>
        <p:spPr>
          <a:xfrm rot="5400000">
            <a:off x="-2070143" y="3332883"/>
            <a:ext cx="4267282"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Espaço Reservado para Imagem 16">
            <a:extLst>
              <a:ext uri="{FF2B5EF4-FFF2-40B4-BE49-F238E27FC236}">
                <a16:creationId xmlns:a16="http://schemas.microsoft.com/office/drawing/2014/main" id="{6A5A8305-8A6D-4D22-B856-40E0319FDB1B}"/>
              </a:ext>
            </a:extLst>
          </p:cNvPr>
          <p:cNvSpPr>
            <a:spLocks noGrp="1"/>
          </p:cNvSpPr>
          <p:nvPr>
            <p:ph type="pic" sz="quarter" idx="16"/>
          </p:nvPr>
        </p:nvSpPr>
        <p:spPr>
          <a:xfrm>
            <a:off x="8763000" y="0"/>
            <a:ext cx="6857999" cy="6858000"/>
          </a:xfrm>
          <a:prstGeom prst="blockArc">
            <a:avLst>
              <a:gd name="adj1" fmla="val 5403971"/>
              <a:gd name="adj2" fmla="val 16206846"/>
              <a:gd name="adj3" fmla="val 24815"/>
            </a:avLst>
          </a:prstGeom>
          <a:solidFill>
            <a:srgbClr val="313847"/>
          </a:solidFill>
        </p:spPr>
        <p:txBody>
          <a:bodyPr/>
          <a:lstStyle/>
          <a:p>
            <a:endParaRPr lang="pt-BR" dirty="0"/>
          </a:p>
        </p:txBody>
      </p:sp>
      <p:sp>
        <p:nvSpPr>
          <p:cNvPr id="19" name="Rectangle 20">
            <a:extLst>
              <a:ext uri="{FF2B5EF4-FFF2-40B4-BE49-F238E27FC236}">
                <a16:creationId xmlns:a16="http://schemas.microsoft.com/office/drawing/2014/main" id="{1A34CD57-3E25-4C93-83FD-EF207EAC5C72}"/>
              </a:ext>
            </a:extLst>
          </p:cNvPr>
          <p:cNvSpPr/>
          <p:nvPr userDrawn="1"/>
        </p:nvSpPr>
        <p:spPr>
          <a:xfrm>
            <a:off x="6646748" y="5060928"/>
            <a:ext cx="798288" cy="856539"/>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ctangle 20">
            <a:extLst>
              <a:ext uri="{FF2B5EF4-FFF2-40B4-BE49-F238E27FC236}">
                <a16:creationId xmlns:a16="http://schemas.microsoft.com/office/drawing/2014/main" id="{BDD47301-9FB8-4DDE-9A62-D32D2AE26807}"/>
              </a:ext>
            </a:extLst>
          </p:cNvPr>
          <p:cNvSpPr/>
          <p:nvPr userDrawn="1"/>
        </p:nvSpPr>
        <p:spPr>
          <a:xfrm>
            <a:off x="6602234" y="1799772"/>
            <a:ext cx="443658" cy="476032"/>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Rectangle 20">
            <a:extLst>
              <a:ext uri="{FF2B5EF4-FFF2-40B4-BE49-F238E27FC236}">
                <a16:creationId xmlns:a16="http://schemas.microsoft.com/office/drawing/2014/main" id="{86144BBE-5083-4AD5-9D30-26E431F38727}"/>
              </a:ext>
            </a:extLst>
          </p:cNvPr>
          <p:cNvSpPr/>
          <p:nvPr userDrawn="1"/>
        </p:nvSpPr>
        <p:spPr>
          <a:xfrm>
            <a:off x="7445036" y="1422400"/>
            <a:ext cx="798288" cy="856539"/>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732539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FC9FEB-6D11-4C3A-AF4A-CE658248F088}"/>
              </a:ext>
            </a:extLst>
          </p:cNvPr>
          <p:cNvSpPr>
            <a:spLocks noGrp="1"/>
          </p:cNvSpPr>
          <p:nvPr>
            <p:ph type="title" hasCustomPrompt="1"/>
          </p:nvPr>
        </p:nvSpPr>
        <p:spPr>
          <a:xfrm>
            <a:off x="787400" y="3143250"/>
            <a:ext cx="10756900" cy="673100"/>
          </a:xfrm>
        </p:spPr>
        <p:txBody>
          <a:bodyPr anchor="b">
            <a:normAutofit/>
          </a:bodyPr>
          <a:lstStyle>
            <a:lvl1pPr algn="ctr">
              <a:defRPr sz="4000">
                <a:solidFill>
                  <a:srgbClr val="313847"/>
                </a:solidFill>
              </a:defRPr>
            </a:lvl1pPr>
          </a:lstStyle>
          <a:p>
            <a:r>
              <a:rPr lang="pt-BR" dirty="0"/>
              <a:t>TÍTULO DUPLO</a:t>
            </a:r>
          </a:p>
        </p:txBody>
      </p:sp>
      <p:sp>
        <p:nvSpPr>
          <p:cNvPr id="5" name="Espaço Reservado para Imagem 4">
            <a:extLst>
              <a:ext uri="{FF2B5EF4-FFF2-40B4-BE49-F238E27FC236}">
                <a16:creationId xmlns:a16="http://schemas.microsoft.com/office/drawing/2014/main" id="{C1ABA50A-D002-47ED-BB1E-08DA544F8935}"/>
              </a:ext>
            </a:extLst>
          </p:cNvPr>
          <p:cNvSpPr>
            <a:spLocks noGrp="1"/>
          </p:cNvSpPr>
          <p:nvPr>
            <p:ph type="pic" sz="quarter" idx="10"/>
          </p:nvPr>
        </p:nvSpPr>
        <p:spPr>
          <a:xfrm>
            <a:off x="127000" y="0"/>
            <a:ext cx="12065000" cy="2717800"/>
          </a:xfrm>
          <a:solidFill>
            <a:srgbClr val="006D93"/>
          </a:solidFill>
        </p:spPr>
        <p:txBody>
          <a:bodyPr/>
          <a:lstStyle>
            <a:lvl1pPr algn="ctr">
              <a:defRPr>
                <a:solidFill>
                  <a:schemeClr val="bg1"/>
                </a:solidFill>
              </a:defRPr>
            </a:lvl1pPr>
          </a:lstStyle>
          <a:p>
            <a:endParaRPr lang="pt-BR"/>
          </a:p>
        </p:txBody>
      </p:sp>
      <p:sp>
        <p:nvSpPr>
          <p:cNvPr id="6" name="Rectangle 18">
            <a:extLst>
              <a:ext uri="{FF2B5EF4-FFF2-40B4-BE49-F238E27FC236}">
                <a16:creationId xmlns:a16="http://schemas.microsoft.com/office/drawing/2014/main" id="{1DB52220-5FBD-4C67-A107-D4438B8EA107}"/>
              </a:ext>
            </a:extLst>
          </p:cNvPr>
          <p:cNvSpPr/>
          <p:nvPr userDrawn="1"/>
        </p:nvSpPr>
        <p:spPr>
          <a:xfrm>
            <a:off x="1" y="0"/>
            <a:ext cx="126998" cy="2717800"/>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Espaço Reservado para Texto 2">
            <a:extLst>
              <a:ext uri="{FF2B5EF4-FFF2-40B4-BE49-F238E27FC236}">
                <a16:creationId xmlns:a16="http://schemas.microsoft.com/office/drawing/2014/main" id="{70FDF02B-2CA4-4B9C-BBD7-ED8FDCDF3B82}"/>
              </a:ext>
            </a:extLst>
          </p:cNvPr>
          <p:cNvSpPr>
            <a:spLocks noGrp="1"/>
          </p:cNvSpPr>
          <p:nvPr>
            <p:ph type="body" sz="quarter" idx="11" hasCustomPrompt="1"/>
          </p:nvPr>
        </p:nvSpPr>
        <p:spPr>
          <a:xfrm>
            <a:off x="787400" y="4241801"/>
            <a:ext cx="10756900" cy="2209799"/>
          </a:xfrm>
        </p:spPr>
        <p:txBody>
          <a:bodyPr numCol="1">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p>
          <a:p>
            <a:pPr lvl="0"/>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a:t>
            </a:r>
            <a:r>
              <a:rPr lang="pt-BR" dirty="0"/>
              <a:t>  </a:t>
            </a:r>
            <a:r>
              <a:rPr lang="pt-BR" dirty="0" err="1"/>
              <a:t>aliquet</a:t>
            </a:r>
            <a:r>
              <a:rPr lang="pt-BR" dirty="0"/>
              <a:t> </a:t>
            </a:r>
            <a:r>
              <a:rPr lang="pt-BR" dirty="0" err="1"/>
              <a:t>ligula</a:t>
            </a:r>
            <a:r>
              <a:rPr lang="pt-BR" dirty="0"/>
              <a:t>  </a:t>
            </a:r>
            <a:r>
              <a:rPr lang="pt-BR" dirty="0" err="1"/>
              <a:t>la</a:t>
            </a:r>
            <a:r>
              <a:rPr lang="pt-BR" dirty="0"/>
              <a:t>  </a:t>
            </a:r>
            <a:r>
              <a:rPr lang="pt-BR" dirty="0" err="1"/>
              <a:t>Curabitur</a:t>
            </a:r>
            <a:r>
              <a:rPr lang="pt-BR" dirty="0"/>
              <a:t> ut </a:t>
            </a:r>
            <a:r>
              <a:rPr lang="pt-BR" dirty="0" err="1"/>
              <a:t>ex</a:t>
            </a:r>
            <a:r>
              <a:rPr lang="pt-BR" dirty="0"/>
              <a:t> ó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a:p>
            <a:pPr lvl="0"/>
            <a:endParaRPr lang="pt-BR" dirty="0"/>
          </a:p>
        </p:txBody>
      </p:sp>
    </p:spTree>
    <p:extLst>
      <p:ext uri="{BB962C8B-B14F-4D97-AF65-F5344CB8AC3E}">
        <p14:creationId xmlns:p14="http://schemas.microsoft.com/office/powerpoint/2010/main" val="165277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FC9FEB-6D11-4C3A-AF4A-CE658248F088}"/>
              </a:ext>
            </a:extLst>
          </p:cNvPr>
          <p:cNvSpPr>
            <a:spLocks noGrp="1"/>
          </p:cNvSpPr>
          <p:nvPr>
            <p:ph type="title" hasCustomPrompt="1"/>
          </p:nvPr>
        </p:nvSpPr>
        <p:spPr>
          <a:xfrm>
            <a:off x="787400" y="3143250"/>
            <a:ext cx="5549900" cy="1352550"/>
          </a:xfrm>
        </p:spPr>
        <p:txBody>
          <a:bodyPr anchor="t">
            <a:normAutofit/>
          </a:bodyPr>
          <a:lstStyle>
            <a:lvl1pPr algn="l">
              <a:defRPr sz="4000">
                <a:solidFill>
                  <a:srgbClr val="313847"/>
                </a:solidFill>
              </a:defRPr>
            </a:lvl1pPr>
          </a:lstStyle>
          <a:p>
            <a:r>
              <a:rPr lang="pt-BR" dirty="0"/>
              <a:t>TÍTULO DUPLO COM MUITO TEXTO</a:t>
            </a:r>
          </a:p>
        </p:txBody>
      </p:sp>
      <p:sp>
        <p:nvSpPr>
          <p:cNvPr id="5" name="Espaço Reservado para Imagem 4">
            <a:extLst>
              <a:ext uri="{FF2B5EF4-FFF2-40B4-BE49-F238E27FC236}">
                <a16:creationId xmlns:a16="http://schemas.microsoft.com/office/drawing/2014/main" id="{C1ABA50A-D002-47ED-BB1E-08DA544F8935}"/>
              </a:ext>
            </a:extLst>
          </p:cNvPr>
          <p:cNvSpPr>
            <a:spLocks noGrp="1"/>
          </p:cNvSpPr>
          <p:nvPr>
            <p:ph type="pic" sz="quarter" idx="10"/>
          </p:nvPr>
        </p:nvSpPr>
        <p:spPr>
          <a:xfrm>
            <a:off x="127000" y="0"/>
            <a:ext cx="12065000" cy="2717800"/>
          </a:xfrm>
          <a:solidFill>
            <a:srgbClr val="006D93"/>
          </a:solidFill>
        </p:spPr>
        <p:txBody>
          <a:bodyPr/>
          <a:lstStyle>
            <a:lvl1pPr algn="ctr">
              <a:defRPr>
                <a:solidFill>
                  <a:schemeClr val="bg1"/>
                </a:solidFill>
              </a:defRPr>
            </a:lvl1pPr>
          </a:lstStyle>
          <a:p>
            <a:endParaRPr lang="pt-BR"/>
          </a:p>
        </p:txBody>
      </p:sp>
      <p:sp>
        <p:nvSpPr>
          <p:cNvPr id="6" name="Rectangle 18">
            <a:extLst>
              <a:ext uri="{FF2B5EF4-FFF2-40B4-BE49-F238E27FC236}">
                <a16:creationId xmlns:a16="http://schemas.microsoft.com/office/drawing/2014/main" id="{1DB52220-5FBD-4C67-A107-D4438B8EA107}"/>
              </a:ext>
            </a:extLst>
          </p:cNvPr>
          <p:cNvSpPr/>
          <p:nvPr userDrawn="1"/>
        </p:nvSpPr>
        <p:spPr>
          <a:xfrm>
            <a:off x="1" y="0"/>
            <a:ext cx="126998" cy="2717800"/>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Espaço Reservado para Texto 2">
            <a:extLst>
              <a:ext uri="{FF2B5EF4-FFF2-40B4-BE49-F238E27FC236}">
                <a16:creationId xmlns:a16="http://schemas.microsoft.com/office/drawing/2014/main" id="{70FDF02B-2CA4-4B9C-BBD7-ED8FDCDF3B82}"/>
              </a:ext>
            </a:extLst>
          </p:cNvPr>
          <p:cNvSpPr>
            <a:spLocks noGrp="1"/>
          </p:cNvSpPr>
          <p:nvPr>
            <p:ph type="body" sz="quarter" idx="11" hasCustomPrompt="1"/>
          </p:nvPr>
        </p:nvSpPr>
        <p:spPr>
          <a:xfrm>
            <a:off x="787400" y="4679949"/>
            <a:ext cx="5562600" cy="1682751"/>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Tree>
    <p:extLst>
      <p:ext uri="{BB962C8B-B14F-4D97-AF65-F5344CB8AC3E}">
        <p14:creationId xmlns:p14="http://schemas.microsoft.com/office/powerpoint/2010/main" val="9229725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Slide Livre">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B4D66405-85AE-4577-87B2-8A8F34658A54}"/>
              </a:ext>
            </a:extLst>
          </p:cNvPr>
          <p:cNvSpPr txBox="1"/>
          <p:nvPr userDrawn="1"/>
        </p:nvSpPr>
        <p:spPr>
          <a:xfrm>
            <a:off x="0" y="-478972"/>
            <a:ext cx="4281714" cy="369332"/>
          </a:xfrm>
          <a:prstGeom prst="rect">
            <a:avLst/>
          </a:prstGeom>
          <a:noFill/>
        </p:spPr>
        <p:txBody>
          <a:bodyPr wrap="square" rtlCol="0">
            <a:spAutoFit/>
          </a:bodyPr>
          <a:lstStyle/>
          <a:p>
            <a:r>
              <a:rPr lang="pt-BR" dirty="0"/>
              <a:t>Slide em </a:t>
            </a:r>
            <a:r>
              <a:rPr lang="pt-BR"/>
              <a:t>branco livre</a:t>
            </a:r>
          </a:p>
        </p:txBody>
      </p:sp>
    </p:spTree>
    <p:extLst>
      <p:ext uri="{BB962C8B-B14F-4D97-AF65-F5344CB8AC3E}">
        <p14:creationId xmlns:p14="http://schemas.microsoft.com/office/powerpoint/2010/main" val="3789493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Título Central e graficos laterais">
    <p:spTree>
      <p:nvGrpSpPr>
        <p:cNvPr id="1" name=""/>
        <p:cNvGrpSpPr/>
        <p:nvPr/>
      </p:nvGrpSpPr>
      <p:grpSpPr>
        <a:xfrm>
          <a:off x="0" y="0"/>
          <a:ext cx="0" cy="0"/>
          <a:chOff x="0" y="0"/>
          <a:chExt cx="0" cy="0"/>
        </a:xfrm>
      </p:grpSpPr>
      <p:pic>
        <p:nvPicPr>
          <p:cNvPr id="31" name="Graphic 29">
            <a:extLst>
              <a:ext uri="{FF2B5EF4-FFF2-40B4-BE49-F238E27FC236}">
                <a16:creationId xmlns:a16="http://schemas.microsoft.com/office/drawing/2014/main" id="{69637AC4-0B2E-4A17-87FF-6E8C6ADE16A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7108"/>
          <a:stretch/>
        </p:blipFill>
        <p:spPr>
          <a:xfrm rot="5400000">
            <a:off x="-2908335" y="2908335"/>
            <a:ext cx="6858002" cy="1041332"/>
          </a:xfrm>
          <a:prstGeom prst="rect">
            <a:avLst/>
          </a:prstGeom>
        </p:spPr>
      </p:pic>
      <p:pic>
        <p:nvPicPr>
          <p:cNvPr id="32" name="Graphic 30">
            <a:extLst>
              <a:ext uri="{FF2B5EF4-FFF2-40B4-BE49-F238E27FC236}">
                <a16:creationId xmlns:a16="http://schemas.microsoft.com/office/drawing/2014/main" id="{7005CBE9-5748-4FB7-B8D9-DB071ECDACF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2786"/>
          <a:stretch/>
        </p:blipFill>
        <p:spPr>
          <a:xfrm rot="16200000">
            <a:off x="8206557" y="2872558"/>
            <a:ext cx="6858002" cy="1112885"/>
          </a:xfrm>
          <a:prstGeom prst="rect">
            <a:avLst/>
          </a:prstGeom>
        </p:spPr>
      </p:pic>
      <p:sp>
        <p:nvSpPr>
          <p:cNvPr id="8" name="Espaço Reservado para Texto 2">
            <a:extLst>
              <a:ext uri="{FF2B5EF4-FFF2-40B4-BE49-F238E27FC236}">
                <a16:creationId xmlns:a16="http://schemas.microsoft.com/office/drawing/2014/main" id="{41B3F95B-A46D-40EE-8EA9-13EBDC234067}"/>
              </a:ext>
            </a:extLst>
          </p:cNvPr>
          <p:cNvSpPr>
            <a:spLocks noGrp="1"/>
          </p:cNvSpPr>
          <p:nvPr>
            <p:ph type="body" sz="quarter" idx="10"/>
          </p:nvPr>
        </p:nvSpPr>
        <p:spPr>
          <a:xfrm>
            <a:off x="1771650" y="555625"/>
            <a:ext cx="8648700" cy="1425575"/>
          </a:xfrm>
        </p:spPr>
        <p:txBody>
          <a:bodyPr vert="horz" lIns="91440" tIns="45720" rIns="91440" bIns="45720" rtlCol="0" anchor="t">
            <a:normAutofit/>
          </a:bodyPr>
          <a:lstStyle>
            <a:lvl1pPr>
              <a:defRPr lang="pt-BR" sz="4400" dirty="0" smtClean="0">
                <a:latin typeface="Montserrat Medium" panose="00000600000000000000" pitchFamily="2" charset="0"/>
                <a:ea typeface="+mj-ea"/>
                <a:cs typeface="+mj-cs"/>
              </a:defRPr>
            </a:lvl1pPr>
            <a:lvl2pPr>
              <a:defRPr lang="pt-BR" sz="1800" dirty="0" smtClean="0">
                <a:solidFill>
                  <a:schemeClr val="tx1"/>
                </a:solidFill>
                <a:latin typeface="+mn-lt"/>
              </a:defRPr>
            </a:lvl2pPr>
            <a:lvl3pPr>
              <a:defRPr lang="pt-BR" sz="1800" dirty="0" smtClean="0">
                <a:solidFill>
                  <a:schemeClr val="tx1"/>
                </a:solidFill>
                <a:latin typeface="+mn-lt"/>
              </a:defRPr>
            </a:lvl3pPr>
            <a:lvl4pPr>
              <a:defRPr lang="pt-BR" sz="1800" dirty="0" smtClean="0">
                <a:solidFill>
                  <a:schemeClr val="tx1"/>
                </a:solidFill>
                <a:latin typeface="+mn-lt"/>
              </a:defRPr>
            </a:lvl4pPr>
            <a:lvl5pPr>
              <a:defRPr lang="pt-BR" sz="1800" dirty="0">
                <a:solidFill>
                  <a:schemeClr val="tx1"/>
                </a:solidFill>
                <a:latin typeface="+mn-lt"/>
              </a:defRPr>
            </a:lvl5pPr>
          </a:lstStyle>
          <a:p>
            <a:pPr lvl="0" algn="ctr">
              <a:spcBef>
                <a:spcPct val="0"/>
              </a:spcBef>
            </a:pPr>
            <a:r>
              <a:rPr lang="pt-BR" dirty="0"/>
              <a:t>Clique para editar os estilos de texto Mestres</a:t>
            </a:r>
          </a:p>
        </p:txBody>
      </p:sp>
    </p:spTree>
    <p:extLst>
      <p:ext uri="{BB962C8B-B14F-4D97-AF65-F5344CB8AC3E}">
        <p14:creationId xmlns:p14="http://schemas.microsoft.com/office/powerpoint/2010/main" val="33930222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exto 2 Colunas">
    <p:spTree>
      <p:nvGrpSpPr>
        <p:cNvPr id="1" name=""/>
        <p:cNvGrpSpPr/>
        <p:nvPr/>
      </p:nvGrpSpPr>
      <p:grpSpPr>
        <a:xfrm>
          <a:off x="0" y="0"/>
          <a:ext cx="0" cy="0"/>
          <a:chOff x="0" y="0"/>
          <a:chExt cx="0" cy="0"/>
        </a:xfrm>
      </p:grpSpPr>
      <p:sp>
        <p:nvSpPr>
          <p:cNvPr id="4" name="Espaço Reservado para Texto 22">
            <a:extLst>
              <a:ext uri="{FF2B5EF4-FFF2-40B4-BE49-F238E27FC236}">
                <a16:creationId xmlns:a16="http://schemas.microsoft.com/office/drawing/2014/main" id="{C3F3BBD1-5E09-4937-B4DD-BCD9819A8406}"/>
              </a:ext>
            </a:extLst>
          </p:cNvPr>
          <p:cNvSpPr>
            <a:spLocks noGrp="1"/>
          </p:cNvSpPr>
          <p:nvPr>
            <p:ph type="body" sz="quarter" idx="15" hasCustomPrompt="1"/>
          </p:nvPr>
        </p:nvSpPr>
        <p:spPr>
          <a:xfrm>
            <a:off x="1066800" y="1622060"/>
            <a:ext cx="4653183" cy="455522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lvl="0"/>
            <a:endParaRPr lang="pt-BR" dirty="0"/>
          </a:p>
        </p:txBody>
      </p:sp>
      <p:sp>
        <p:nvSpPr>
          <p:cNvPr id="5" name="Espaço Reservado para Texto 22">
            <a:extLst>
              <a:ext uri="{FF2B5EF4-FFF2-40B4-BE49-F238E27FC236}">
                <a16:creationId xmlns:a16="http://schemas.microsoft.com/office/drawing/2014/main" id="{FD49813A-3A94-4A74-96BF-0A428863E457}"/>
              </a:ext>
            </a:extLst>
          </p:cNvPr>
          <p:cNvSpPr>
            <a:spLocks noGrp="1"/>
          </p:cNvSpPr>
          <p:nvPr>
            <p:ph type="body" sz="quarter" idx="16" hasCustomPrompt="1"/>
          </p:nvPr>
        </p:nvSpPr>
        <p:spPr>
          <a:xfrm>
            <a:off x="6459316" y="1622060"/>
            <a:ext cx="4653183" cy="455522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lvl="0"/>
            <a:endParaRPr lang="pt-BR" dirty="0"/>
          </a:p>
        </p:txBody>
      </p:sp>
      <p:grpSp>
        <p:nvGrpSpPr>
          <p:cNvPr id="7" name="Group 24">
            <a:extLst>
              <a:ext uri="{FF2B5EF4-FFF2-40B4-BE49-F238E27FC236}">
                <a16:creationId xmlns:a16="http://schemas.microsoft.com/office/drawing/2014/main" id="{ED610386-F1FC-4DC7-9A22-5AA3300DD8BC}"/>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25BD5945-DAF9-4622-8FA9-05B16C1F8F45}"/>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26">
              <a:extLst>
                <a:ext uri="{FF2B5EF4-FFF2-40B4-BE49-F238E27FC236}">
                  <a16:creationId xmlns:a16="http://schemas.microsoft.com/office/drawing/2014/main" id="{7A9402D1-0AA9-466E-8923-CC7D1BE769C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7">
              <a:extLst>
                <a:ext uri="{FF2B5EF4-FFF2-40B4-BE49-F238E27FC236}">
                  <a16:creationId xmlns:a16="http://schemas.microsoft.com/office/drawing/2014/main" id="{9011A8CF-727D-4792-86C6-A5C3D9482771}"/>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8">
            <a:extLst>
              <a:ext uri="{FF2B5EF4-FFF2-40B4-BE49-F238E27FC236}">
                <a16:creationId xmlns:a16="http://schemas.microsoft.com/office/drawing/2014/main" id="{144E36DF-CAEA-485A-B70F-E2AD90AD8C55}"/>
              </a:ext>
            </a:extLst>
          </p:cNvPr>
          <p:cNvSpPr/>
          <p:nvPr userDrawn="1"/>
        </p:nvSpPr>
        <p:spPr>
          <a:xfrm rot="5400000">
            <a:off x="-582931" y="582932"/>
            <a:ext cx="1280162" cy="114299"/>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Espaço Reservado para Texto 14">
            <a:extLst>
              <a:ext uri="{FF2B5EF4-FFF2-40B4-BE49-F238E27FC236}">
                <a16:creationId xmlns:a16="http://schemas.microsoft.com/office/drawing/2014/main" id="{E3B517DE-4F26-4423-A48B-F6FDE6D38739}"/>
              </a:ext>
            </a:extLst>
          </p:cNvPr>
          <p:cNvSpPr>
            <a:spLocks noGrp="1"/>
          </p:cNvSpPr>
          <p:nvPr>
            <p:ph type="body" sz="quarter" idx="17"/>
          </p:nvPr>
        </p:nvSpPr>
        <p:spPr>
          <a:xfrm>
            <a:off x="1066800" y="533400"/>
            <a:ext cx="10058400" cy="746125"/>
          </a:xfrm>
        </p:spPr>
        <p:txBody>
          <a:bodyPr vert="horz" lIns="91440" tIns="45720" rIns="91440" bIns="45720" rtlCol="0" anchor="b">
            <a:noAutofit/>
          </a:bodyPr>
          <a:lstStyle>
            <a:lvl1pPr>
              <a:defRPr lang="pt-BR" sz="2800" smtClean="0">
                <a:latin typeface="Montserrat Medium" panose="00000600000000000000" pitchFamily="2" charset="0"/>
                <a:ea typeface="+mj-ea"/>
                <a:cs typeface="+mj-cs"/>
              </a:defRPr>
            </a:lvl1pPr>
            <a:lvl2pPr>
              <a:defRPr lang="pt-BR" sz="1800" smtClean="0">
                <a:solidFill>
                  <a:schemeClr val="tx1"/>
                </a:solidFill>
                <a:latin typeface="+mn-lt"/>
              </a:defRPr>
            </a:lvl2pPr>
            <a:lvl3pPr>
              <a:defRPr lang="pt-BR" sz="1800" smtClean="0">
                <a:solidFill>
                  <a:schemeClr val="tx1"/>
                </a:solidFill>
                <a:latin typeface="+mn-lt"/>
              </a:defRPr>
            </a:lvl3pPr>
            <a:lvl4pPr>
              <a:defRPr lang="pt-BR" sz="1800" smtClean="0">
                <a:solidFill>
                  <a:schemeClr val="tx1"/>
                </a:solidFill>
                <a:latin typeface="+mn-lt"/>
              </a:defRPr>
            </a:lvl4pPr>
            <a:lvl5pPr>
              <a:defRPr lang="pt-BR" sz="1800">
                <a:solidFill>
                  <a:schemeClr val="tx1"/>
                </a:solidFill>
                <a:latin typeface="+mn-lt"/>
              </a:defRPr>
            </a:lvl5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2111433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losing - Gold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1C0BAD3-71E8-4F30-86E6-613BBF710A63}"/>
              </a:ext>
            </a:extLst>
          </p:cNvPr>
          <p:cNvSpPr>
            <a:spLocks noGrp="1"/>
          </p:cNvSpPr>
          <p:nvPr>
            <p:ph type="title" hasCustomPrompt="1"/>
          </p:nvPr>
        </p:nvSpPr>
        <p:spPr>
          <a:xfrm>
            <a:off x="639555" y="2665026"/>
            <a:ext cx="6109588" cy="3381265"/>
          </a:xfrm>
        </p:spPr>
        <p:txBody>
          <a:bodyPr anchor="t">
            <a:noAutofit/>
          </a:bodyPr>
          <a:lstStyle>
            <a:lvl1pPr>
              <a:defRPr sz="6000"/>
            </a:lvl1pPr>
          </a:lstStyle>
          <a:p>
            <a:r>
              <a:rPr lang="en-US"/>
              <a:t>Click to add short closing sentence</a:t>
            </a:r>
          </a:p>
        </p:txBody>
      </p:sp>
      <p:pic>
        <p:nvPicPr>
          <p:cNvPr id="71" name="Graphic 70">
            <a:extLst>
              <a:ext uri="{FF2B5EF4-FFF2-40B4-BE49-F238E27FC236}">
                <a16:creationId xmlns:a16="http://schemas.microsoft.com/office/drawing/2014/main" id="{D61F507B-2EC6-43D0-8C98-4FFE0C8EB930}"/>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4DD9EAB6-D427-4E29-9773-D39A5389478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7CA0B16D-EEDF-46B0-924E-4B559D093E2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31256" r="11043" b="34663"/>
          <a:stretch/>
        </p:blipFill>
        <p:spPr bwMode="black">
          <a:xfrm>
            <a:off x="7260383" y="1"/>
            <a:ext cx="4931618" cy="6858000"/>
          </a:xfrm>
          <a:prstGeom prst="rect">
            <a:avLst/>
          </a:prstGeom>
        </p:spPr>
      </p:pic>
    </p:spTree>
    <p:extLst>
      <p:ext uri="{BB962C8B-B14F-4D97-AF65-F5344CB8AC3E}">
        <p14:creationId xmlns:p14="http://schemas.microsoft.com/office/powerpoint/2010/main" val="3817916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ítulo grande esquerda">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1372556" y="3370896"/>
            <a:ext cx="2878457" cy="133352"/>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6" name="Group 24">
            <a:extLst>
              <a:ext uri="{FF2B5EF4-FFF2-40B4-BE49-F238E27FC236}">
                <a16:creationId xmlns:a16="http://schemas.microsoft.com/office/drawing/2014/main" id="{AF802E26-2BFE-4479-A610-FE5F91D4E22E}"/>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4388B93C-EFBE-4420-8244-D30337E3D117}"/>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6">
              <a:extLst>
                <a:ext uri="{FF2B5EF4-FFF2-40B4-BE49-F238E27FC236}">
                  <a16:creationId xmlns:a16="http://schemas.microsoft.com/office/drawing/2014/main" id="{AC636764-5796-4569-B1B5-44667BB6AC9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7">
              <a:extLst>
                <a:ext uri="{FF2B5EF4-FFF2-40B4-BE49-F238E27FC236}">
                  <a16:creationId xmlns:a16="http://schemas.microsoft.com/office/drawing/2014/main" id="{D97EA7A7-4CE7-48B3-A537-4209CBD5B9C9}"/>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Espaço Reservado para Texto 14">
            <a:extLst>
              <a:ext uri="{FF2B5EF4-FFF2-40B4-BE49-F238E27FC236}">
                <a16:creationId xmlns:a16="http://schemas.microsoft.com/office/drawing/2014/main" id="{BA25BACC-AE4F-4F84-AA76-87C979479277}"/>
              </a:ext>
            </a:extLst>
          </p:cNvPr>
          <p:cNvSpPr>
            <a:spLocks noGrp="1"/>
          </p:cNvSpPr>
          <p:nvPr>
            <p:ph type="body" sz="quarter" idx="18"/>
          </p:nvPr>
        </p:nvSpPr>
        <p:spPr>
          <a:xfrm>
            <a:off x="1066800" y="1303016"/>
            <a:ext cx="4546600" cy="42595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2254032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ulo + Imagem grande">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999493" y="2302509"/>
            <a:ext cx="2125983"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Espaço Reservado para Texto 22">
            <a:extLst>
              <a:ext uri="{FF2B5EF4-FFF2-40B4-BE49-F238E27FC236}">
                <a16:creationId xmlns:a16="http://schemas.microsoft.com/office/drawing/2014/main" id="{81CA1456-409A-44C3-97D6-C68C3967EE32}"/>
              </a:ext>
            </a:extLst>
          </p:cNvPr>
          <p:cNvSpPr>
            <a:spLocks noGrp="1"/>
          </p:cNvSpPr>
          <p:nvPr>
            <p:ph type="body" sz="quarter" idx="15" hasCustomPrompt="1"/>
          </p:nvPr>
        </p:nvSpPr>
        <p:spPr>
          <a:xfrm>
            <a:off x="1066801" y="3619500"/>
            <a:ext cx="4546600" cy="274828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9" name="Espaço Reservado para Imagem 8">
            <a:extLst>
              <a:ext uri="{FF2B5EF4-FFF2-40B4-BE49-F238E27FC236}">
                <a16:creationId xmlns:a16="http://schemas.microsoft.com/office/drawing/2014/main" id="{CECB90ED-434C-436C-A60F-D97AD87BA1F5}"/>
              </a:ext>
            </a:extLst>
          </p:cNvPr>
          <p:cNvSpPr>
            <a:spLocks noGrp="1"/>
          </p:cNvSpPr>
          <p:nvPr>
            <p:ph type="pic" sz="quarter" idx="16"/>
          </p:nvPr>
        </p:nvSpPr>
        <p:spPr>
          <a:xfrm>
            <a:off x="6096000" y="490538"/>
            <a:ext cx="5740400" cy="5876926"/>
          </a:xfrm>
          <a:solidFill>
            <a:srgbClr val="006D93"/>
          </a:solidFill>
        </p:spPr>
        <p:txBody>
          <a:bodyPr/>
          <a:lstStyle/>
          <a:p>
            <a:endParaRPr lang="pt-BR"/>
          </a:p>
        </p:txBody>
      </p:sp>
      <p:sp>
        <p:nvSpPr>
          <p:cNvPr id="10" name="Espaço Reservado para Texto 14">
            <a:extLst>
              <a:ext uri="{FF2B5EF4-FFF2-40B4-BE49-F238E27FC236}">
                <a16:creationId xmlns:a16="http://schemas.microsoft.com/office/drawing/2014/main" id="{5290BC70-E8F0-449B-AF8B-F9055D32FC22}"/>
              </a:ext>
            </a:extLst>
          </p:cNvPr>
          <p:cNvSpPr>
            <a:spLocks noGrp="1"/>
          </p:cNvSpPr>
          <p:nvPr>
            <p:ph type="body" sz="quarter" idx="18"/>
          </p:nvPr>
        </p:nvSpPr>
        <p:spPr>
          <a:xfrm>
            <a:off x="1066800" y="1303016"/>
            <a:ext cx="4546600" cy="21259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18714560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ulo + Imagens pequenas">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999493" y="2302509"/>
            <a:ext cx="2125983"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Espaço Reservado para Texto 22">
            <a:extLst>
              <a:ext uri="{FF2B5EF4-FFF2-40B4-BE49-F238E27FC236}">
                <a16:creationId xmlns:a16="http://schemas.microsoft.com/office/drawing/2014/main" id="{81CA1456-409A-44C3-97D6-C68C3967EE32}"/>
              </a:ext>
            </a:extLst>
          </p:cNvPr>
          <p:cNvSpPr>
            <a:spLocks noGrp="1"/>
          </p:cNvSpPr>
          <p:nvPr>
            <p:ph type="body" sz="quarter" idx="15" hasCustomPrompt="1"/>
          </p:nvPr>
        </p:nvSpPr>
        <p:spPr>
          <a:xfrm>
            <a:off x="1066801" y="3619500"/>
            <a:ext cx="4546600" cy="274828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9" name="Espaço Reservado para Imagem 8">
            <a:extLst>
              <a:ext uri="{FF2B5EF4-FFF2-40B4-BE49-F238E27FC236}">
                <a16:creationId xmlns:a16="http://schemas.microsoft.com/office/drawing/2014/main" id="{CECB90ED-434C-436C-A60F-D97AD87BA1F5}"/>
              </a:ext>
            </a:extLst>
          </p:cNvPr>
          <p:cNvSpPr>
            <a:spLocks noGrp="1"/>
          </p:cNvSpPr>
          <p:nvPr>
            <p:ph type="pic" sz="quarter" idx="16"/>
          </p:nvPr>
        </p:nvSpPr>
        <p:spPr>
          <a:xfrm>
            <a:off x="6096000" y="490538"/>
            <a:ext cx="5740400" cy="1528762"/>
          </a:xfrm>
          <a:solidFill>
            <a:srgbClr val="006D93"/>
          </a:solidFill>
        </p:spPr>
        <p:txBody>
          <a:bodyPr/>
          <a:lstStyle/>
          <a:p>
            <a:endParaRPr lang="pt-BR"/>
          </a:p>
        </p:txBody>
      </p:sp>
      <p:sp>
        <p:nvSpPr>
          <p:cNvPr id="8" name="Espaço Reservado para Imagem 8">
            <a:extLst>
              <a:ext uri="{FF2B5EF4-FFF2-40B4-BE49-F238E27FC236}">
                <a16:creationId xmlns:a16="http://schemas.microsoft.com/office/drawing/2014/main" id="{A33130E3-A69E-47CF-90B9-CA21EE48401F}"/>
              </a:ext>
            </a:extLst>
          </p:cNvPr>
          <p:cNvSpPr>
            <a:spLocks noGrp="1"/>
          </p:cNvSpPr>
          <p:nvPr>
            <p:ph type="pic" sz="quarter" idx="17"/>
          </p:nvPr>
        </p:nvSpPr>
        <p:spPr>
          <a:xfrm>
            <a:off x="6096000" y="2664619"/>
            <a:ext cx="5740400" cy="1528762"/>
          </a:xfrm>
          <a:solidFill>
            <a:srgbClr val="006D93"/>
          </a:solidFill>
        </p:spPr>
        <p:txBody>
          <a:bodyPr/>
          <a:lstStyle/>
          <a:p>
            <a:endParaRPr lang="pt-BR"/>
          </a:p>
        </p:txBody>
      </p:sp>
      <p:sp>
        <p:nvSpPr>
          <p:cNvPr id="10" name="Espaço Reservado para Imagem 8">
            <a:extLst>
              <a:ext uri="{FF2B5EF4-FFF2-40B4-BE49-F238E27FC236}">
                <a16:creationId xmlns:a16="http://schemas.microsoft.com/office/drawing/2014/main" id="{2337E1F5-E209-4227-8447-8BAAE8EB0192}"/>
              </a:ext>
            </a:extLst>
          </p:cNvPr>
          <p:cNvSpPr>
            <a:spLocks noGrp="1"/>
          </p:cNvSpPr>
          <p:nvPr>
            <p:ph type="pic" sz="quarter" idx="18"/>
          </p:nvPr>
        </p:nvSpPr>
        <p:spPr>
          <a:xfrm>
            <a:off x="6096000" y="4838700"/>
            <a:ext cx="5740400" cy="1528762"/>
          </a:xfrm>
          <a:solidFill>
            <a:srgbClr val="006D93"/>
          </a:solidFill>
        </p:spPr>
        <p:txBody>
          <a:bodyPr/>
          <a:lstStyle/>
          <a:p>
            <a:endParaRPr lang="pt-BR"/>
          </a:p>
        </p:txBody>
      </p:sp>
      <p:sp>
        <p:nvSpPr>
          <p:cNvPr id="11" name="Espaço Reservado para Texto 14">
            <a:extLst>
              <a:ext uri="{FF2B5EF4-FFF2-40B4-BE49-F238E27FC236}">
                <a16:creationId xmlns:a16="http://schemas.microsoft.com/office/drawing/2014/main" id="{F132F83C-A303-41CD-886E-F0D02A89EF37}"/>
              </a:ext>
            </a:extLst>
          </p:cNvPr>
          <p:cNvSpPr>
            <a:spLocks noGrp="1"/>
          </p:cNvSpPr>
          <p:nvPr>
            <p:ph type="body" sz="quarter" idx="19"/>
          </p:nvPr>
        </p:nvSpPr>
        <p:spPr>
          <a:xfrm>
            <a:off x="1066800" y="1303016"/>
            <a:ext cx="4546600" cy="21259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2669400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Destaque tópico 1">
    <p:spTree>
      <p:nvGrpSpPr>
        <p:cNvPr id="1" name=""/>
        <p:cNvGrpSpPr/>
        <p:nvPr/>
      </p:nvGrpSpPr>
      <p:grpSpPr>
        <a:xfrm>
          <a:off x="0" y="0"/>
          <a:ext cx="0" cy="0"/>
          <a:chOff x="0" y="0"/>
          <a:chExt cx="0" cy="0"/>
        </a:xfrm>
      </p:grpSpPr>
      <p:pic>
        <p:nvPicPr>
          <p:cNvPr id="3" name="Graphic 22">
            <a:extLst>
              <a:ext uri="{FF2B5EF4-FFF2-40B4-BE49-F238E27FC236}">
                <a16:creationId xmlns:a16="http://schemas.microsoft.com/office/drawing/2014/main" id="{42F196A8-7704-456B-9062-598A6FE254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6200000">
            <a:off x="3712713" y="2601131"/>
            <a:ext cx="6858002" cy="1655740"/>
          </a:xfrm>
          <a:prstGeom prst="rect">
            <a:avLst/>
          </a:prstGeom>
        </p:spPr>
      </p:pic>
      <p:sp>
        <p:nvSpPr>
          <p:cNvPr id="4" name="Rectangle 13">
            <a:extLst>
              <a:ext uri="{FF2B5EF4-FFF2-40B4-BE49-F238E27FC236}">
                <a16:creationId xmlns:a16="http://schemas.microsoft.com/office/drawing/2014/main" id="{5D086515-50AE-4A34-BAE8-D41D0187C29E}"/>
              </a:ext>
            </a:extLst>
          </p:cNvPr>
          <p:cNvSpPr/>
          <p:nvPr userDrawn="1"/>
        </p:nvSpPr>
        <p:spPr>
          <a:xfrm>
            <a:off x="7503812" y="0"/>
            <a:ext cx="2511983" cy="6858000"/>
          </a:xfrm>
          <a:prstGeom prst="rect">
            <a:avLst/>
          </a:prstGeom>
          <a:solidFill>
            <a:srgbClr val="DADE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Rectangle 10">
            <a:extLst>
              <a:ext uri="{FF2B5EF4-FFF2-40B4-BE49-F238E27FC236}">
                <a16:creationId xmlns:a16="http://schemas.microsoft.com/office/drawing/2014/main" id="{DAEA1D72-FC36-4D76-B78E-B77CFFB9A98C}"/>
              </a:ext>
            </a:extLst>
          </p:cNvPr>
          <p:cNvSpPr/>
          <p:nvPr userDrawn="1"/>
        </p:nvSpPr>
        <p:spPr>
          <a:xfrm>
            <a:off x="1192161" y="4286250"/>
            <a:ext cx="4662819" cy="252896"/>
          </a:xfrm>
          <a:prstGeom prst="rect">
            <a:avLst/>
          </a:prstGeom>
          <a:solidFill>
            <a:srgbClr val="006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ctangle 20">
            <a:extLst>
              <a:ext uri="{FF2B5EF4-FFF2-40B4-BE49-F238E27FC236}">
                <a16:creationId xmlns:a16="http://schemas.microsoft.com/office/drawing/2014/main" id="{BB35EA88-9A18-45A3-8EE7-26A460BD839B}"/>
              </a:ext>
            </a:extLst>
          </p:cNvPr>
          <p:cNvSpPr/>
          <p:nvPr userDrawn="1"/>
        </p:nvSpPr>
        <p:spPr>
          <a:xfrm>
            <a:off x="5854980" y="4539146"/>
            <a:ext cx="856539" cy="856539"/>
          </a:xfrm>
          <a:prstGeom prst="rect">
            <a:avLst/>
          </a:prstGeom>
          <a:solidFill>
            <a:srgbClr val="97B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ctangle 21">
            <a:extLst>
              <a:ext uri="{FF2B5EF4-FFF2-40B4-BE49-F238E27FC236}">
                <a16:creationId xmlns:a16="http://schemas.microsoft.com/office/drawing/2014/main" id="{F6858CDB-3137-4764-B347-AA4D034560DB}"/>
              </a:ext>
            </a:extLst>
          </p:cNvPr>
          <p:cNvSpPr/>
          <p:nvPr userDrawn="1"/>
        </p:nvSpPr>
        <p:spPr>
          <a:xfrm>
            <a:off x="9356726" y="1"/>
            <a:ext cx="398014" cy="1944204"/>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9" name="Group 24">
            <a:extLst>
              <a:ext uri="{FF2B5EF4-FFF2-40B4-BE49-F238E27FC236}">
                <a16:creationId xmlns:a16="http://schemas.microsoft.com/office/drawing/2014/main" id="{B6C9F094-D991-41A1-B1F1-6451F793370F}"/>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C92766C5-F362-438B-9E8E-6CDAB8FA45B7}"/>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6">
              <a:extLst>
                <a:ext uri="{FF2B5EF4-FFF2-40B4-BE49-F238E27FC236}">
                  <a16:creationId xmlns:a16="http://schemas.microsoft.com/office/drawing/2014/main" id="{B9BF8809-92EB-4CD2-AE96-5636E1FD883D}"/>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7">
              <a:extLst>
                <a:ext uri="{FF2B5EF4-FFF2-40B4-BE49-F238E27FC236}">
                  <a16:creationId xmlns:a16="http://schemas.microsoft.com/office/drawing/2014/main" id="{88C3D509-EF8D-470B-9E28-D2B8B06A052E}"/>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ítulo 14">
            <a:extLst>
              <a:ext uri="{FF2B5EF4-FFF2-40B4-BE49-F238E27FC236}">
                <a16:creationId xmlns:a16="http://schemas.microsoft.com/office/drawing/2014/main" id="{5E6D920B-1014-4E01-95D0-6D746EEF6DE0}"/>
              </a:ext>
            </a:extLst>
          </p:cNvPr>
          <p:cNvSpPr>
            <a:spLocks noGrp="1"/>
          </p:cNvSpPr>
          <p:nvPr>
            <p:ph type="title" hasCustomPrompt="1"/>
          </p:nvPr>
        </p:nvSpPr>
        <p:spPr>
          <a:xfrm>
            <a:off x="1191223" y="1944365"/>
            <a:ext cx="4686934" cy="2304114"/>
          </a:xfrm>
        </p:spPr>
        <p:txBody>
          <a:bodyPr anchor="b"/>
          <a:lstStyle>
            <a:lvl1pPr>
              <a:defRPr>
                <a:latin typeface="Montserrat Medium" panose="00000600000000000000" pitchFamily="2" charset="0"/>
              </a:defRPr>
            </a:lvl1pPr>
          </a:lstStyle>
          <a:p>
            <a:r>
              <a:rPr lang="pt-BR" dirty="0"/>
              <a:t>CLIQUE PARA EDITAR O TÍTULO</a:t>
            </a:r>
          </a:p>
        </p:txBody>
      </p:sp>
      <p:sp>
        <p:nvSpPr>
          <p:cNvPr id="18" name="Espaço Reservado para Imagem 16">
            <a:extLst>
              <a:ext uri="{FF2B5EF4-FFF2-40B4-BE49-F238E27FC236}">
                <a16:creationId xmlns:a16="http://schemas.microsoft.com/office/drawing/2014/main" id="{544C1A3D-A812-4F7F-9B87-D3BFE1A09A4D}"/>
              </a:ext>
            </a:extLst>
          </p:cNvPr>
          <p:cNvSpPr>
            <a:spLocks noGrp="1"/>
          </p:cNvSpPr>
          <p:nvPr>
            <p:ph type="pic" sz="quarter" idx="10"/>
          </p:nvPr>
        </p:nvSpPr>
        <p:spPr>
          <a:xfrm>
            <a:off x="6711950" y="1944688"/>
            <a:ext cx="2644775" cy="2593975"/>
          </a:xfrm>
          <a:solidFill>
            <a:srgbClr val="006D93"/>
          </a:solidFill>
          <a:ln>
            <a:noFill/>
          </a:ln>
        </p:spPr>
        <p:txBody>
          <a:bodyPr anchor="t">
            <a:normAutofit/>
          </a:bodyPr>
          <a:lstStyle>
            <a:lvl1pPr algn="ctr">
              <a:defRPr sz="1200">
                <a:solidFill>
                  <a:schemeClr val="tx1"/>
                </a:solidFill>
              </a:defRPr>
            </a:lvl1pPr>
          </a:lstStyle>
          <a:p>
            <a:endParaRPr lang="pt-BR" dirty="0"/>
          </a:p>
        </p:txBody>
      </p:sp>
      <p:sp>
        <p:nvSpPr>
          <p:cNvPr id="20" name="Espaço Reservado para Imagem 16">
            <a:extLst>
              <a:ext uri="{FF2B5EF4-FFF2-40B4-BE49-F238E27FC236}">
                <a16:creationId xmlns:a16="http://schemas.microsoft.com/office/drawing/2014/main" id="{A62B0548-C414-49EA-9F76-EB0052C7592E}"/>
              </a:ext>
            </a:extLst>
          </p:cNvPr>
          <p:cNvSpPr>
            <a:spLocks noGrp="1"/>
          </p:cNvSpPr>
          <p:nvPr>
            <p:ph type="pic" sz="quarter" idx="11"/>
          </p:nvPr>
        </p:nvSpPr>
        <p:spPr>
          <a:xfrm>
            <a:off x="9356725" y="4538663"/>
            <a:ext cx="2004352" cy="1974357"/>
          </a:xfrm>
          <a:solidFill>
            <a:srgbClr val="74BDE1"/>
          </a:solidFill>
        </p:spPr>
        <p:txBody>
          <a:bodyPr anchor="t">
            <a:normAutofit/>
          </a:bodyPr>
          <a:lstStyle>
            <a:lvl1pPr algn="ctr">
              <a:defRPr sz="1200">
                <a:solidFill>
                  <a:schemeClr val="tx1"/>
                </a:solidFill>
              </a:defRPr>
            </a:lvl1pPr>
          </a:lstStyle>
          <a:p>
            <a:endParaRPr lang="pt-BR" dirty="0"/>
          </a:p>
        </p:txBody>
      </p:sp>
    </p:spTree>
    <p:extLst>
      <p:ext uri="{BB962C8B-B14F-4D97-AF65-F5344CB8AC3E}">
        <p14:creationId xmlns:p14="http://schemas.microsoft.com/office/powerpoint/2010/main" val="2048586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Destaque tópico 2">
    <p:spTree>
      <p:nvGrpSpPr>
        <p:cNvPr id="1" name=""/>
        <p:cNvGrpSpPr/>
        <p:nvPr/>
      </p:nvGrpSpPr>
      <p:grpSpPr>
        <a:xfrm>
          <a:off x="0" y="0"/>
          <a:ext cx="0" cy="0"/>
          <a:chOff x="0" y="0"/>
          <a:chExt cx="0" cy="0"/>
        </a:xfrm>
      </p:grpSpPr>
      <p:pic>
        <p:nvPicPr>
          <p:cNvPr id="3" name="Graphic 22">
            <a:extLst>
              <a:ext uri="{FF2B5EF4-FFF2-40B4-BE49-F238E27FC236}">
                <a16:creationId xmlns:a16="http://schemas.microsoft.com/office/drawing/2014/main" id="{4728AD4C-F9F8-469C-8D52-1AC20D2F2C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6200000">
            <a:off x="3712713" y="2601131"/>
            <a:ext cx="6858002" cy="1655740"/>
          </a:xfrm>
          <a:prstGeom prst="rect">
            <a:avLst/>
          </a:prstGeom>
        </p:spPr>
      </p:pic>
      <p:sp>
        <p:nvSpPr>
          <p:cNvPr id="5" name="Rectangle 13">
            <a:extLst>
              <a:ext uri="{FF2B5EF4-FFF2-40B4-BE49-F238E27FC236}">
                <a16:creationId xmlns:a16="http://schemas.microsoft.com/office/drawing/2014/main" id="{0A719D3C-93DB-4AB3-85DD-568DC4356B05}"/>
              </a:ext>
            </a:extLst>
          </p:cNvPr>
          <p:cNvSpPr/>
          <p:nvPr userDrawn="1"/>
        </p:nvSpPr>
        <p:spPr>
          <a:xfrm>
            <a:off x="7503812" y="0"/>
            <a:ext cx="2511983" cy="6858000"/>
          </a:xfrm>
          <a:prstGeom prst="rect">
            <a:avLst/>
          </a:prstGeom>
          <a:solidFill>
            <a:srgbClr val="DADE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ctangle 10">
            <a:extLst>
              <a:ext uri="{FF2B5EF4-FFF2-40B4-BE49-F238E27FC236}">
                <a16:creationId xmlns:a16="http://schemas.microsoft.com/office/drawing/2014/main" id="{A6D1DB11-F5DC-46E9-84D6-4462E2EDA990}"/>
              </a:ext>
            </a:extLst>
          </p:cNvPr>
          <p:cNvSpPr/>
          <p:nvPr userDrawn="1"/>
        </p:nvSpPr>
        <p:spPr>
          <a:xfrm>
            <a:off x="1192161" y="3848100"/>
            <a:ext cx="274689" cy="3009900"/>
          </a:xfrm>
          <a:prstGeom prst="rect">
            <a:avLst/>
          </a:prstGeom>
          <a:solidFill>
            <a:srgbClr val="006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ctangle 20">
            <a:extLst>
              <a:ext uri="{FF2B5EF4-FFF2-40B4-BE49-F238E27FC236}">
                <a16:creationId xmlns:a16="http://schemas.microsoft.com/office/drawing/2014/main" id="{8B7A8FD3-6AF5-4433-86ED-9DA648A128CD}"/>
              </a:ext>
            </a:extLst>
          </p:cNvPr>
          <p:cNvSpPr/>
          <p:nvPr userDrawn="1"/>
        </p:nvSpPr>
        <p:spPr>
          <a:xfrm>
            <a:off x="5885574" y="4571886"/>
            <a:ext cx="856539" cy="856539"/>
          </a:xfrm>
          <a:prstGeom prst="rect">
            <a:avLst/>
          </a:prstGeom>
          <a:solidFill>
            <a:srgbClr val="97B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ctangle 21">
            <a:extLst>
              <a:ext uri="{FF2B5EF4-FFF2-40B4-BE49-F238E27FC236}">
                <a16:creationId xmlns:a16="http://schemas.microsoft.com/office/drawing/2014/main" id="{C105C129-F61E-4FD2-8D5E-11D3C682F877}"/>
              </a:ext>
            </a:extLst>
          </p:cNvPr>
          <p:cNvSpPr/>
          <p:nvPr userDrawn="1"/>
        </p:nvSpPr>
        <p:spPr>
          <a:xfrm>
            <a:off x="9357064" y="0"/>
            <a:ext cx="397675" cy="1950585"/>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0" name="Group 24">
            <a:extLst>
              <a:ext uri="{FF2B5EF4-FFF2-40B4-BE49-F238E27FC236}">
                <a16:creationId xmlns:a16="http://schemas.microsoft.com/office/drawing/2014/main" id="{DEB2DD15-3EBA-497C-9DAA-EFCFC818DBD8}"/>
              </a:ext>
            </a:extLst>
          </p:cNvPr>
          <p:cNvGrpSpPr/>
          <p:nvPr userDrawn="1"/>
        </p:nvGrpSpPr>
        <p:grpSpPr>
          <a:xfrm>
            <a:off x="11571410" y="237255"/>
            <a:ext cx="405420" cy="405472"/>
            <a:chOff x="9847755" y="226389"/>
            <a:chExt cx="516502" cy="516568"/>
          </a:xfrm>
        </p:grpSpPr>
        <p:sp>
          <p:nvSpPr>
            <p:cNvPr id="11" name="Rectangle 25">
              <a:extLst>
                <a:ext uri="{FF2B5EF4-FFF2-40B4-BE49-F238E27FC236}">
                  <a16:creationId xmlns:a16="http://schemas.microsoft.com/office/drawing/2014/main" id="{465A5CCD-538E-4CFA-A713-56C4B1A6D44D}"/>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F9B650BA-CBEE-4089-9ACC-F2CB417620FD}"/>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27">
              <a:extLst>
                <a:ext uri="{FF2B5EF4-FFF2-40B4-BE49-F238E27FC236}">
                  <a16:creationId xmlns:a16="http://schemas.microsoft.com/office/drawing/2014/main" id="{7BFF734E-0E8E-4C3B-BF15-707946C18508}"/>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Título 15">
            <a:extLst>
              <a:ext uri="{FF2B5EF4-FFF2-40B4-BE49-F238E27FC236}">
                <a16:creationId xmlns:a16="http://schemas.microsoft.com/office/drawing/2014/main" id="{09502A3F-BB55-47B2-ADE1-9246D9D61A9C}"/>
              </a:ext>
            </a:extLst>
          </p:cNvPr>
          <p:cNvSpPr>
            <a:spLocks noGrp="1"/>
          </p:cNvSpPr>
          <p:nvPr>
            <p:ph type="title" hasCustomPrompt="1"/>
          </p:nvPr>
        </p:nvSpPr>
        <p:spPr>
          <a:xfrm>
            <a:off x="1112929" y="1950585"/>
            <a:ext cx="4235467" cy="1897515"/>
          </a:xfrm>
        </p:spPr>
        <p:txBody>
          <a:bodyPr anchor="b"/>
          <a:lstStyle>
            <a:lvl1pPr>
              <a:defRPr>
                <a:latin typeface="Montserrat Medium" panose="00000600000000000000" pitchFamily="2" charset="0"/>
              </a:defRPr>
            </a:lvl1pPr>
          </a:lstStyle>
          <a:p>
            <a:r>
              <a:rPr lang="pt-BR" dirty="0"/>
              <a:t>CLIQUE PARA EDITAR O TÍTULO</a:t>
            </a:r>
          </a:p>
        </p:txBody>
      </p:sp>
      <p:sp>
        <p:nvSpPr>
          <p:cNvPr id="23" name="Espaço Reservado para Imagem 20">
            <a:extLst>
              <a:ext uri="{FF2B5EF4-FFF2-40B4-BE49-F238E27FC236}">
                <a16:creationId xmlns:a16="http://schemas.microsoft.com/office/drawing/2014/main" id="{4B4364CA-A850-46AE-9472-922587737002}"/>
              </a:ext>
            </a:extLst>
          </p:cNvPr>
          <p:cNvSpPr>
            <a:spLocks noGrp="1"/>
          </p:cNvSpPr>
          <p:nvPr>
            <p:ph type="pic" sz="quarter" idx="10"/>
          </p:nvPr>
        </p:nvSpPr>
        <p:spPr>
          <a:xfrm>
            <a:off x="5348288" y="563110"/>
            <a:ext cx="1387475" cy="1387475"/>
          </a:xfrm>
          <a:solidFill>
            <a:srgbClr val="74BDE1"/>
          </a:solidFill>
        </p:spPr>
        <p:txBody>
          <a:bodyPr>
            <a:normAutofit/>
          </a:bodyPr>
          <a:lstStyle>
            <a:lvl1pPr algn="ctr">
              <a:defRPr sz="1200">
                <a:solidFill>
                  <a:schemeClr val="tx1"/>
                </a:solidFill>
              </a:defRPr>
            </a:lvl1pPr>
          </a:lstStyle>
          <a:p>
            <a:endParaRPr lang="pt-BR" dirty="0"/>
          </a:p>
        </p:txBody>
      </p:sp>
      <p:sp>
        <p:nvSpPr>
          <p:cNvPr id="24" name="Espaço Reservado para Imagem 20">
            <a:extLst>
              <a:ext uri="{FF2B5EF4-FFF2-40B4-BE49-F238E27FC236}">
                <a16:creationId xmlns:a16="http://schemas.microsoft.com/office/drawing/2014/main" id="{F97A0732-FD75-49CD-838A-5837810203FE}"/>
              </a:ext>
            </a:extLst>
          </p:cNvPr>
          <p:cNvSpPr>
            <a:spLocks noGrp="1"/>
          </p:cNvSpPr>
          <p:nvPr>
            <p:ph type="pic" sz="quarter" idx="12"/>
          </p:nvPr>
        </p:nvSpPr>
        <p:spPr>
          <a:xfrm>
            <a:off x="6735763" y="1950585"/>
            <a:ext cx="2621301" cy="2621301"/>
          </a:xfrm>
          <a:solidFill>
            <a:srgbClr val="006D93"/>
          </a:solidFill>
        </p:spPr>
        <p:txBody>
          <a:bodyPr>
            <a:normAutofit/>
          </a:bodyPr>
          <a:lstStyle>
            <a:lvl1pPr algn="ctr">
              <a:defRPr sz="1200">
                <a:solidFill>
                  <a:schemeClr val="tx1"/>
                </a:solidFill>
              </a:defRPr>
            </a:lvl1pPr>
          </a:lstStyle>
          <a:p>
            <a:endParaRPr lang="pt-BR" dirty="0"/>
          </a:p>
        </p:txBody>
      </p:sp>
    </p:spTree>
    <p:extLst>
      <p:ext uri="{BB962C8B-B14F-4D97-AF65-F5344CB8AC3E}">
        <p14:creationId xmlns:p14="http://schemas.microsoft.com/office/powerpoint/2010/main" val="1756841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ópico + imagem direita">
    <p:spTree>
      <p:nvGrpSpPr>
        <p:cNvPr id="1" name=""/>
        <p:cNvGrpSpPr/>
        <p:nvPr/>
      </p:nvGrpSpPr>
      <p:grpSpPr>
        <a:xfrm>
          <a:off x="0" y="0"/>
          <a:ext cx="0" cy="0"/>
          <a:chOff x="0" y="0"/>
          <a:chExt cx="0" cy="0"/>
        </a:xfrm>
      </p:grpSpPr>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hasCustomPrompt="1"/>
          </p:nvPr>
        </p:nvSpPr>
        <p:spPr>
          <a:xfrm>
            <a:off x="838200" y="1291771"/>
            <a:ext cx="5969000" cy="4274456"/>
          </a:xfrm>
          <a:prstGeom prst="rect">
            <a:avLst/>
          </a:prstGeom>
        </p:spPr>
        <p:txBody>
          <a:bodyPr vert="horz" lIns="91440" tIns="45720" rIns="91440" bIns="45720" rtlCol="0" anchor="ctr">
            <a:normAutofit/>
          </a:bodyPr>
          <a:lstStyle>
            <a:lvl1pPr algn="r">
              <a:defRPr>
                <a:solidFill>
                  <a:srgbClr val="313847"/>
                </a:solidFill>
                <a:latin typeface="Montserrat Medium" panose="00000600000000000000" pitchFamily="2" charset="0"/>
              </a:defRPr>
            </a:lvl1pPr>
          </a:lstStyle>
          <a:p>
            <a:r>
              <a:rPr lang="pt-BR" dirty="0"/>
              <a:t>CLIQUE PARA EDITAR O TÍTULO MESTRE</a:t>
            </a:r>
          </a:p>
        </p:txBody>
      </p:sp>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a:off x="7489373" y="0"/>
            <a:ext cx="4702628" cy="6857999"/>
          </a:xfrm>
          <a:solidFill>
            <a:srgbClr val="006D93"/>
          </a:solidFill>
        </p:spPr>
        <p:txBody>
          <a:bodyPr/>
          <a:lstStyle>
            <a:lvl1pPr algn="ctr">
              <a:defRPr>
                <a:solidFill>
                  <a:schemeClr val="tx1"/>
                </a:solidFill>
              </a:defRPr>
            </a:lvl1pPr>
          </a:lstStyle>
          <a:p>
            <a:endParaRPr lang="pt-BR"/>
          </a:p>
        </p:txBody>
      </p:sp>
      <p:sp>
        <p:nvSpPr>
          <p:cNvPr id="25" name="Rectangle 18">
            <a:extLst>
              <a:ext uri="{FF2B5EF4-FFF2-40B4-BE49-F238E27FC236}">
                <a16:creationId xmlns:a16="http://schemas.microsoft.com/office/drawing/2014/main" id="{BA8576F5-0583-4B20-9914-E183C229BF57}"/>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7" name="Rectangle 18">
            <a:extLst>
              <a:ext uri="{FF2B5EF4-FFF2-40B4-BE49-F238E27FC236}">
                <a16:creationId xmlns:a16="http://schemas.microsoft.com/office/drawing/2014/main" id="{094EB730-B196-40BA-9441-E992B3560F59}"/>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636289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ópico + Parágrafo + Imagem Direita">
    <p:spTree>
      <p:nvGrpSpPr>
        <p:cNvPr id="1" name=""/>
        <p:cNvGrpSpPr/>
        <p:nvPr/>
      </p:nvGrpSpPr>
      <p:grpSpPr>
        <a:xfrm>
          <a:off x="0" y="0"/>
          <a:ext cx="0" cy="0"/>
          <a:chOff x="0" y="0"/>
          <a:chExt cx="0" cy="0"/>
        </a:xfrm>
      </p:grpSpPr>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hasCustomPrompt="1"/>
          </p:nvPr>
        </p:nvSpPr>
        <p:spPr>
          <a:xfrm>
            <a:off x="838200" y="1579335"/>
            <a:ext cx="5969000" cy="1413329"/>
          </a:xfrm>
          <a:prstGeom prst="rect">
            <a:avLst/>
          </a:prstGeom>
        </p:spPr>
        <p:txBody>
          <a:bodyPr vert="horz" lIns="91440" tIns="45720" rIns="91440" bIns="45720" rtlCol="0" anchor="b">
            <a:normAutofit/>
          </a:bodyPr>
          <a:lstStyle>
            <a:lvl1pPr algn="r">
              <a:defRPr>
                <a:solidFill>
                  <a:srgbClr val="313847"/>
                </a:solidFill>
                <a:latin typeface="Montserrat Medium" panose="00000600000000000000" pitchFamily="2" charset="0"/>
              </a:defRPr>
            </a:lvl1pPr>
          </a:lstStyle>
          <a:p>
            <a:r>
              <a:rPr lang="pt-BR" dirty="0"/>
              <a:t>CLIQUE PARA EDITAR O TÍTULO</a:t>
            </a:r>
          </a:p>
        </p:txBody>
      </p:sp>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a:off x="7489373" y="0"/>
            <a:ext cx="4702628" cy="6857999"/>
          </a:xfrm>
          <a:solidFill>
            <a:srgbClr val="006D93"/>
          </a:solidFill>
        </p:spPr>
        <p:txBody>
          <a:bodyPr/>
          <a:lstStyle>
            <a:lvl1pPr algn="ctr">
              <a:defRPr>
                <a:solidFill>
                  <a:schemeClr val="tx1"/>
                </a:solidFill>
              </a:defRPr>
            </a:lvl1pPr>
          </a:lstStyle>
          <a:p>
            <a:endParaRPr lang="pt-BR"/>
          </a:p>
        </p:txBody>
      </p:sp>
      <p:sp>
        <p:nvSpPr>
          <p:cNvPr id="27" name="Rectangle 18">
            <a:extLst>
              <a:ext uri="{FF2B5EF4-FFF2-40B4-BE49-F238E27FC236}">
                <a16:creationId xmlns:a16="http://schemas.microsoft.com/office/drawing/2014/main" id="{094EB730-B196-40BA-9441-E992B3560F59}"/>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 name="Espaço Reservado para Texto 2">
            <a:extLst>
              <a:ext uri="{FF2B5EF4-FFF2-40B4-BE49-F238E27FC236}">
                <a16:creationId xmlns:a16="http://schemas.microsoft.com/office/drawing/2014/main" id="{D0177C09-1F37-4EBF-A6DB-3E31FE6DFDEC}"/>
              </a:ext>
            </a:extLst>
          </p:cNvPr>
          <p:cNvSpPr>
            <a:spLocks noGrp="1"/>
          </p:cNvSpPr>
          <p:nvPr>
            <p:ph type="body" sz="quarter" idx="11" hasCustomPrompt="1"/>
          </p:nvPr>
        </p:nvSpPr>
        <p:spPr>
          <a:xfrm>
            <a:off x="819150" y="3429000"/>
            <a:ext cx="6019800" cy="2840038"/>
          </a:xfrm>
        </p:spPr>
        <p:txBody>
          <a:bodyPr>
            <a:normAutofit/>
          </a:bodyPr>
          <a:lstStyle>
            <a:lvl1pPr marL="0" indent="0" algn="r">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a:t>
            </a:r>
            <a:r>
              <a:rPr lang="pt-BR" dirty="0" err="1"/>
              <a:t>odio</a:t>
            </a:r>
            <a:r>
              <a:rPr lang="pt-BR" dirty="0"/>
              <a:t>. </a:t>
            </a:r>
          </a:p>
        </p:txBody>
      </p:sp>
      <p:sp>
        <p:nvSpPr>
          <p:cNvPr id="8" name="Rectangle 18">
            <a:extLst>
              <a:ext uri="{FF2B5EF4-FFF2-40B4-BE49-F238E27FC236}">
                <a16:creationId xmlns:a16="http://schemas.microsoft.com/office/drawing/2014/main" id="{97A2BC5F-8483-4EBA-B09E-6C2279585DBE}"/>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3" name="Espaço Reservado para Texto 2">
            <a:extLst>
              <a:ext uri="{FF2B5EF4-FFF2-40B4-BE49-F238E27FC236}">
                <a16:creationId xmlns:a16="http://schemas.microsoft.com/office/drawing/2014/main" id="{3CF3142B-AC2C-48F6-ABEC-96E7A28835B8}"/>
              </a:ext>
            </a:extLst>
          </p:cNvPr>
          <p:cNvSpPr>
            <a:spLocks noGrp="1"/>
          </p:cNvSpPr>
          <p:nvPr>
            <p:ph type="body" sz="quarter" idx="12" hasCustomPrompt="1"/>
          </p:nvPr>
        </p:nvSpPr>
        <p:spPr>
          <a:xfrm flipH="1">
            <a:off x="507998" y="588963"/>
            <a:ext cx="6299201" cy="430212"/>
          </a:xfrm>
        </p:spPr>
        <p:txBody>
          <a:bodyPr vert="horz" lIns="91440" tIns="45720" rIns="91440" bIns="45720" rtlCol="0" anchor="b">
            <a:normAutofit/>
          </a:bodyPr>
          <a:lstStyle>
            <a:lvl1pPr algn="r">
              <a:defRPr lang="pt-BR" dirty="0">
                <a:solidFill>
                  <a:srgbClr val="006D93"/>
                </a:solidFill>
                <a:latin typeface="Montserrat Medium" panose="00000600000000000000" pitchFamily="2" charset="0"/>
                <a:ea typeface="+mj-ea"/>
                <a:cs typeface="+mj-cs"/>
              </a:defRPr>
            </a:lvl1pPr>
          </a:lstStyle>
          <a:p>
            <a:pPr lvl="0">
              <a:spcBef>
                <a:spcPct val="0"/>
              </a:spcBef>
            </a:pPr>
            <a:r>
              <a:rPr lang="pt-BR" dirty="0"/>
              <a:t>TÓPICO</a:t>
            </a:r>
          </a:p>
        </p:txBody>
      </p:sp>
    </p:spTree>
    <p:extLst>
      <p:ext uri="{BB962C8B-B14F-4D97-AF65-F5344CB8AC3E}">
        <p14:creationId xmlns:p14="http://schemas.microsoft.com/office/powerpoint/2010/main" val="3375323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ópico + imagem direit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4688113" y="0"/>
            <a:ext cx="7489373" cy="6857999"/>
          </a:xfrm>
          <a:solidFill>
            <a:srgbClr val="006D93"/>
          </a:solidFill>
        </p:spPr>
        <p:txBody>
          <a:bodyPr/>
          <a:lstStyle>
            <a:lvl1pPr algn="ctr">
              <a:defRPr>
                <a:solidFill>
                  <a:schemeClr val="tx1"/>
                </a:solidFill>
              </a:defRPr>
            </a:lvl1pPr>
          </a:lstStyle>
          <a:p>
            <a:endParaRPr lang="pt-BR"/>
          </a:p>
        </p:txBody>
      </p:sp>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p:nvPr>
        </p:nvSpPr>
        <p:spPr>
          <a:xfrm flipH="1">
            <a:off x="508000" y="595086"/>
            <a:ext cx="3657600" cy="5689599"/>
          </a:xfrm>
          <a:prstGeom prst="rect">
            <a:avLst/>
          </a:prstGeom>
        </p:spPr>
        <p:txBody>
          <a:bodyPr vert="horz" lIns="91440" tIns="45720" rIns="91440" bIns="45720" rtlCol="0" anchor="ctr">
            <a:normAutofit/>
          </a:bodyPr>
          <a:lstStyle>
            <a:lvl1pPr algn="r">
              <a:defRPr sz="3600">
                <a:solidFill>
                  <a:srgbClr val="313847"/>
                </a:solidFill>
                <a:latin typeface="Montserrat Medium" panose="00000600000000000000" pitchFamily="2" charset="0"/>
              </a:defRPr>
            </a:lvl1pPr>
          </a:lstStyle>
          <a:p>
            <a:r>
              <a:rPr lang="pt-BR" dirty="0"/>
              <a:t>Clique para editar o título Mestre</a:t>
            </a:r>
          </a:p>
        </p:txBody>
      </p:sp>
      <p:sp>
        <p:nvSpPr>
          <p:cNvPr id="6" name="Rectangle 18">
            <a:extLst>
              <a:ext uri="{FF2B5EF4-FFF2-40B4-BE49-F238E27FC236}">
                <a16:creationId xmlns:a16="http://schemas.microsoft.com/office/drawing/2014/main" id="{6233913D-9D5A-4A07-991A-4AFE3A74DA4E}"/>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Rectangle 18">
            <a:extLst>
              <a:ext uri="{FF2B5EF4-FFF2-40B4-BE49-F238E27FC236}">
                <a16:creationId xmlns:a16="http://schemas.microsoft.com/office/drawing/2014/main" id="{D4525265-1703-43BA-AD0E-24D5CC0054CC}"/>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715428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ópico + Parágrafo + imagem direit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4688113" y="0"/>
            <a:ext cx="7489373" cy="6857999"/>
          </a:xfrm>
          <a:solidFill>
            <a:srgbClr val="006D93"/>
          </a:solidFill>
        </p:spPr>
        <p:txBody>
          <a:bodyPr/>
          <a:lstStyle>
            <a:lvl1pPr algn="ctr">
              <a:defRPr>
                <a:solidFill>
                  <a:schemeClr val="tx1"/>
                </a:solidFill>
              </a:defRPr>
            </a:lvl1pPr>
          </a:lstStyle>
          <a:p>
            <a:endParaRPr lang="pt-BR"/>
          </a:p>
        </p:txBody>
      </p:sp>
      <p:sp>
        <p:nvSpPr>
          <p:cNvPr id="6" name="Rectangle 18">
            <a:extLst>
              <a:ext uri="{FF2B5EF4-FFF2-40B4-BE49-F238E27FC236}">
                <a16:creationId xmlns:a16="http://schemas.microsoft.com/office/drawing/2014/main" id="{6233913D-9D5A-4A07-991A-4AFE3A74DA4E}"/>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4" name="Espaço Reservado para Texto 2">
            <a:extLst>
              <a:ext uri="{FF2B5EF4-FFF2-40B4-BE49-F238E27FC236}">
                <a16:creationId xmlns:a16="http://schemas.microsoft.com/office/drawing/2014/main" id="{A040D34D-F21E-4E6F-9582-CE95E1370F24}"/>
              </a:ext>
            </a:extLst>
          </p:cNvPr>
          <p:cNvSpPr>
            <a:spLocks noGrp="1"/>
          </p:cNvSpPr>
          <p:nvPr>
            <p:ph type="body" sz="quarter" idx="11" hasCustomPrompt="1"/>
          </p:nvPr>
        </p:nvSpPr>
        <p:spPr>
          <a:xfrm>
            <a:off x="611086" y="3429000"/>
            <a:ext cx="3586264" cy="2840038"/>
          </a:xfrm>
        </p:spPr>
        <p:txBody>
          <a:bodyPr>
            <a:normAutofit/>
          </a:bodyPr>
          <a:lstStyle>
            <a:lvl1pPr marL="0" indent="0" algn="r">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
        <p:nvSpPr>
          <p:cNvPr id="8" name="Rectangle 18">
            <a:extLst>
              <a:ext uri="{FF2B5EF4-FFF2-40B4-BE49-F238E27FC236}">
                <a16:creationId xmlns:a16="http://schemas.microsoft.com/office/drawing/2014/main" id="{BD1BE496-7620-4B84-9C1F-1DDBC160421C}"/>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Espaço Reservado para Título 6">
            <a:extLst>
              <a:ext uri="{FF2B5EF4-FFF2-40B4-BE49-F238E27FC236}">
                <a16:creationId xmlns:a16="http://schemas.microsoft.com/office/drawing/2014/main" id="{3FEC0A3C-D381-48AE-A675-E7376A95A4AA}"/>
              </a:ext>
            </a:extLst>
          </p:cNvPr>
          <p:cNvSpPr>
            <a:spLocks noGrp="1"/>
          </p:cNvSpPr>
          <p:nvPr>
            <p:ph type="title"/>
          </p:nvPr>
        </p:nvSpPr>
        <p:spPr>
          <a:xfrm flipH="1">
            <a:off x="508000" y="1276349"/>
            <a:ext cx="3657600" cy="1771651"/>
          </a:xfrm>
          <a:prstGeom prst="rect">
            <a:avLst/>
          </a:prstGeom>
        </p:spPr>
        <p:txBody>
          <a:bodyPr vert="horz" lIns="91440" tIns="45720" rIns="91440" bIns="45720" rtlCol="0" anchor="b">
            <a:normAutofit/>
          </a:bodyPr>
          <a:lstStyle>
            <a:lvl1pPr algn="r">
              <a:defRPr sz="3200">
                <a:solidFill>
                  <a:srgbClr val="313847"/>
                </a:solidFill>
                <a:latin typeface="Montserrat Medium" panose="00000600000000000000" pitchFamily="2" charset="0"/>
              </a:defRPr>
            </a:lvl1pPr>
          </a:lstStyle>
          <a:p>
            <a:r>
              <a:rPr lang="pt-BR" dirty="0"/>
              <a:t>Clique para editar o título Mestre</a:t>
            </a:r>
          </a:p>
        </p:txBody>
      </p:sp>
      <p:sp>
        <p:nvSpPr>
          <p:cNvPr id="12" name="Espaço Reservado para Texto 2">
            <a:extLst>
              <a:ext uri="{FF2B5EF4-FFF2-40B4-BE49-F238E27FC236}">
                <a16:creationId xmlns:a16="http://schemas.microsoft.com/office/drawing/2014/main" id="{41BF568E-DAC7-4897-B651-CCA4F51B8AD2}"/>
              </a:ext>
            </a:extLst>
          </p:cNvPr>
          <p:cNvSpPr>
            <a:spLocks noGrp="1"/>
          </p:cNvSpPr>
          <p:nvPr>
            <p:ph type="body" sz="quarter" idx="12" hasCustomPrompt="1"/>
          </p:nvPr>
        </p:nvSpPr>
        <p:spPr>
          <a:xfrm flipH="1">
            <a:off x="507999" y="588963"/>
            <a:ext cx="3657599" cy="430212"/>
          </a:xfrm>
        </p:spPr>
        <p:txBody>
          <a:bodyPr vert="horz" lIns="91440" tIns="45720" rIns="91440" bIns="45720" rtlCol="0" anchor="b">
            <a:normAutofit/>
          </a:bodyPr>
          <a:lstStyle>
            <a:lvl1pPr algn="r">
              <a:defRPr lang="pt-BR" dirty="0">
                <a:solidFill>
                  <a:srgbClr val="006D93"/>
                </a:solidFill>
                <a:latin typeface="Montserrat Medium" panose="00000600000000000000" pitchFamily="2" charset="0"/>
                <a:ea typeface="+mj-ea"/>
                <a:cs typeface="+mj-cs"/>
              </a:defRPr>
            </a:lvl1pPr>
          </a:lstStyle>
          <a:p>
            <a:pPr lvl="0">
              <a:spcBef>
                <a:spcPct val="0"/>
              </a:spcBef>
            </a:pPr>
            <a:r>
              <a:rPr lang="pt-BR" dirty="0"/>
              <a:t>TÓPICO</a:t>
            </a:r>
          </a:p>
        </p:txBody>
      </p:sp>
    </p:spTree>
    <p:extLst>
      <p:ext uri="{BB962C8B-B14F-4D97-AF65-F5344CB8AC3E}">
        <p14:creationId xmlns:p14="http://schemas.microsoft.com/office/powerpoint/2010/main" val="7076794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ópico + imagem esquerda pequena">
    <p:spTree>
      <p:nvGrpSpPr>
        <p:cNvPr id="1" name=""/>
        <p:cNvGrpSpPr/>
        <p:nvPr/>
      </p:nvGrpSpPr>
      <p:grpSpPr>
        <a:xfrm>
          <a:off x="0" y="0"/>
          <a:ext cx="0" cy="0"/>
          <a:chOff x="0" y="0"/>
          <a:chExt cx="0" cy="0"/>
        </a:xfrm>
      </p:grpSpPr>
      <p:sp>
        <p:nvSpPr>
          <p:cNvPr id="7" name="Espaço Reservado para Imagem 10">
            <a:extLst>
              <a:ext uri="{FF2B5EF4-FFF2-40B4-BE49-F238E27FC236}">
                <a16:creationId xmlns:a16="http://schemas.microsoft.com/office/drawing/2014/main" id="{CEC95818-4855-40B6-9119-A1DFF4DD5280}"/>
              </a:ext>
            </a:extLst>
          </p:cNvPr>
          <p:cNvSpPr>
            <a:spLocks noGrp="1"/>
          </p:cNvSpPr>
          <p:nvPr>
            <p:ph type="pic" sz="quarter" idx="10"/>
          </p:nvPr>
        </p:nvSpPr>
        <p:spPr>
          <a:xfrm>
            <a:off x="0" y="0"/>
            <a:ext cx="4702628" cy="6857999"/>
          </a:xfrm>
          <a:solidFill>
            <a:srgbClr val="006D93"/>
          </a:solidFill>
        </p:spPr>
        <p:txBody>
          <a:bodyPr/>
          <a:lstStyle>
            <a:lvl1pPr algn="ctr">
              <a:defRPr>
                <a:solidFill>
                  <a:schemeClr val="tx1"/>
                </a:solidFill>
              </a:defRPr>
            </a:lvl1pPr>
          </a:lstStyle>
          <a:p>
            <a:endParaRPr lang="pt-BR"/>
          </a:p>
        </p:txBody>
      </p:sp>
      <p:sp>
        <p:nvSpPr>
          <p:cNvPr id="8" name="Espaço Reservado para Título 6">
            <a:extLst>
              <a:ext uri="{FF2B5EF4-FFF2-40B4-BE49-F238E27FC236}">
                <a16:creationId xmlns:a16="http://schemas.microsoft.com/office/drawing/2014/main" id="{5965C689-1BD3-423F-A56F-AB9194FE2A9C}"/>
              </a:ext>
            </a:extLst>
          </p:cNvPr>
          <p:cNvSpPr>
            <a:spLocks noGrp="1"/>
          </p:cNvSpPr>
          <p:nvPr>
            <p:ph type="title"/>
          </p:nvPr>
        </p:nvSpPr>
        <p:spPr>
          <a:xfrm>
            <a:off x="5381172" y="1291771"/>
            <a:ext cx="5969000" cy="4274456"/>
          </a:xfrm>
          <a:prstGeom prst="rect">
            <a:avLst/>
          </a:prstGeom>
        </p:spPr>
        <p:txBody>
          <a:bodyPr vert="horz" lIns="91440" tIns="45720" rIns="91440" bIns="45720" rtlCol="0" anchor="ctr">
            <a:normAutofit/>
          </a:bodyPr>
          <a:lstStyle>
            <a:lvl1pPr algn="l">
              <a:defRPr>
                <a:solidFill>
                  <a:srgbClr val="313847"/>
                </a:solidFill>
                <a:latin typeface="Montserrat Medium" panose="00000600000000000000" pitchFamily="2" charset="0"/>
              </a:defRPr>
            </a:lvl1pPr>
          </a:lstStyle>
          <a:p>
            <a:r>
              <a:rPr lang="pt-BR" dirty="0"/>
              <a:t>Clique para editar o título Mestre</a:t>
            </a:r>
          </a:p>
        </p:txBody>
      </p:sp>
      <p:sp>
        <p:nvSpPr>
          <p:cNvPr id="11" name="Rectangle 18">
            <a:extLst>
              <a:ext uri="{FF2B5EF4-FFF2-40B4-BE49-F238E27FC236}">
                <a16:creationId xmlns:a16="http://schemas.microsoft.com/office/drawing/2014/main" id="{D77A4F3F-9DD8-4B03-B2DA-07993234DC33}"/>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Rectangle 18">
            <a:extLst>
              <a:ext uri="{FF2B5EF4-FFF2-40B4-BE49-F238E27FC236}">
                <a16:creationId xmlns:a16="http://schemas.microsoft.com/office/drawing/2014/main" id="{11BB2843-3CD8-44BC-8755-56EDA97281E4}"/>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9" name="Group 24">
            <a:extLst>
              <a:ext uri="{FF2B5EF4-FFF2-40B4-BE49-F238E27FC236}">
                <a16:creationId xmlns:a16="http://schemas.microsoft.com/office/drawing/2014/main" id="{F88EB72E-B24D-4E57-BAB5-2A4342703F64}"/>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F1D08435-47EA-4A25-9261-E8F67DAD25EF}"/>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F2EC54EF-3A53-4045-BD5C-0A288D21FDA9}"/>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27">
              <a:extLst>
                <a:ext uri="{FF2B5EF4-FFF2-40B4-BE49-F238E27FC236}">
                  <a16:creationId xmlns:a16="http://schemas.microsoft.com/office/drawing/2014/main" id="{A35083AC-2DA4-456E-BEF7-3A35B86EC78F}"/>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98044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438080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_Tópico + imagem esquerda pequena">
    <p:spTree>
      <p:nvGrpSpPr>
        <p:cNvPr id="1" name=""/>
        <p:cNvGrpSpPr/>
        <p:nvPr/>
      </p:nvGrpSpPr>
      <p:grpSpPr>
        <a:xfrm>
          <a:off x="0" y="0"/>
          <a:ext cx="0" cy="0"/>
          <a:chOff x="0" y="0"/>
          <a:chExt cx="0" cy="0"/>
        </a:xfrm>
      </p:grpSpPr>
      <p:sp>
        <p:nvSpPr>
          <p:cNvPr id="7" name="Espaço Reservado para Imagem 10">
            <a:extLst>
              <a:ext uri="{FF2B5EF4-FFF2-40B4-BE49-F238E27FC236}">
                <a16:creationId xmlns:a16="http://schemas.microsoft.com/office/drawing/2014/main" id="{CEC95818-4855-40B6-9119-A1DFF4DD5280}"/>
              </a:ext>
            </a:extLst>
          </p:cNvPr>
          <p:cNvSpPr>
            <a:spLocks noGrp="1"/>
          </p:cNvSpPr>
          <p:nvPr>
            <p:ph type="pic" sz="quarter" idx="10"/>
          </p:nvPr>
        </p:nvSpPr>
        <p:spPr>
          <a:xfrm>
            <a:off x="0" y="0"/>
            <a:ext cx="4702628" cy="6857999"/>
          </a:xfrm>
          <a:solidFill>
            <a:srgbClr val="006D93"/>
          </a:solidFill>
        </p:spPr>
        <p:txBody>
          <a:bodyPr/>
          <a:lstStyle>
            <a:lvl1pPr algn="ctr">
              <a:defRPr>
                <a:solidFill>
                  <a:schemeClr val="tx1"/>
                </a:solidFill>
              </a:defRPr>
            </a:lvl1pPr>
          </a:lstStyle>
          <a:p>
            <a:endParaRPr lang="pt-BR" dirty="0"/>
          </a:p>
        </p:txBody>
      </p:sp>
      <p:sp>
        <p:nvSpPr>
          <p:cNvPr id="11" name="Rectangle 18">
            <a:extLst>
              <a:ext uri="{FF2B5EF4-FFF2-40B4-BE49-F238E27FC236}">
                <a16:creationId xmlns:a16="http://schemas.microsoft.com/office/drawing/2014/main" id="{D77A4F3F-9DD8-4B03-B2DA-07993234DC33}"/>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Espaço Reservado para Texto 2">
            <a:extLst>
              <a:ext uri="{FF2B5EF4-FFF2-40B4-BE49-F238E27FC236}">
                <a16:creationId xmlns:a16="http://schemas.microsoft.com/office/drawing/2014/main" id="{BFE48FD9-AB7E-4DB2-B1B3-390085919E58}"/>
              </a:ext>
            </a:extLst>
          </p:cNvPr>
          <p:cNvSpPr>
            <a:spLocks noGrp="1"/>
          </p:cNvSpPr>
          <p:nvPr>
            <p:ph type="body" sz="quarter" idx="11" hasCustomPrompt="1"/>
          </p:nvPr>
        </p:nvSpPr>
        <p:spPr>
          <a:xfrm>
            <a:off x="5381172" y="3429000"/>
            <a:ext cx="6019800" cy="2840038"/>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a:t>
            </a:r>
            <a:r>
              <a:rPr lang="pt-BR" dirty="0" err="1"/>
              <a:t>odio</a:t>
            </a:r>
            <a:r>
              <a:rPr lang="pt-BR" dirty="0"/>
              <a:t>. </a:t>
            </a:r>
          </a:p>
        </p:txBody>
      </p:sp>
      <p:sp>
        <p:nvSpPr>
          <p:cNvPr id="8" name="Rectangle 18">
            <a:extLst>
              <a:ext uri="{FF2B5EF4-FFF2-40B4-BE49-F238E27FC236}">
                <a16:creationId xmlns:a16="http://schemas.microsoft.com/office/drawing/2014/main" id="{8CA5AC64-A934-4BFF-8208-79CB47A1F772}"/>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Espaço Reservado para Título 6">
            <a:extLst>
              <a:ext uri="{FF2B5EF4-FFF2-40B4-BE49-F238E27FC236}">
                <a16:creationId xmlns:a16="http://schemas.microsoft.com/office/drawing/2014/main" id="{CA23E4CC-ABE0-4C3E-8146-8AEE09AE1C2E}"/>
              </a:ext>
            </a:extLst>
          </p:cNvPr>
          <p:cNvSpPr>
            <a:spLocks noGrp="1"/>
          </p:cNvSpPr>
          <p:nvPr>
            <p:ph type="title"/>
          </p:nvPr>
        </p:nvSpPr>
        <p:spPr>
          <a:xfrm>
            <a:off x="5400222" y="1276349"/>
            <a:ext cx="5969000" cy="1771651"/>
          </a:xfrm>
          <a:prstGeom prst="rect">
            <a:avLst/>
          </a:prstGeom>
        </p:spPr>
        <p:txBody>
          <a:bodyPr vert="horz" lIns="91440" tIns="45720" rIns="91440" bIns="45720" rtlCol="0" anchor="b">
            <a:normAutofit/>
          </a:bodyPr>
          <a:lstStyle>
            <a:lvl1pPr algn="l">
              <a:defRPr sz="4400">
                <a:solidFill>
                  <a:srgbClr val="313847"/>
                </a:solidFill>
                <a:latin typeface="Montserrat Medium" panose="00000600000000000000" pitchFamily="2" charset="0"/>
              </a:defRPr>
            </a:lvl1pPr>
          </a:lstStyle>
          <a:p>
            <a:r>
              <a:rPr lang="pt-BR" dirty="0"/>
              <a:t>Clique para editar o título Mestre</a:t>
            </a:r>
          </a:p>
        </p:txBody>
      </p:sp>
      <p:sp>
        <p:nvSpPr>
          <p:cNvPr id="3" name="Espaço Reservado para Texto 2">
            <a:extLst>
              <a:ext uri="{FF2B5EF4-FFF2-40B4-BE49-F238E27FC236}">
                <a16:creationId xmlns:a16="http://schemas.microsoft.com/office/drawing/2014/main" id="{4D847AC7-7CCD-4072-BF1A-B86F67899CFB}"/>
              </a:ext>
            </a:extLst>
          </p:cNvPr>
          <p:cNvSpPr>
            <a:spLocks noGrp="1"/>
          </p:cNvSpPr>
          <p:nvPr>
            <p:ph type="body" sz="quarter" idx="12" hasCustomPrompt="1"/>
          </p:nvPr>
        </p:nvSpPr>
        <p:spPr>
          <a:xfrm>
            <a:off x="5381625" y="588963"/>
            <a:ext cx="3562350" cy="430212"/>
          </a:xfrm>
        </p:spPr>
        <p:txBody>
          <a:bodyPr vert="horz" lIns="91440" tIns="45720" rIns="91440" bIns="45720" rtlCol="0" anchor="b">
            <a:normAutofit/>
          </a:bodyPr>
          <a:lstStyle>
            <a:lvl1pPr>
              <a:defRPr lang="pt-BR" dirty="0">
                <a:solidFill>
                  <a:srgbClr val="006D93"/>
                </a:solidFill>
                <a:latin typeface="Montserrat Medium" panose="00000600000000000000" pitchFamily="2" charset="0"/>
                <a:ea typeface="+mj-ea"/>
                <a:cs typeface="+mj-cs"/>
              </a:defRPr>
            </a:lvl1pPr>
          </a:lstStyle>
          <a:p>
            <a:pPr lvl="0">
              <a:spcBef>
                <a:spcPct val="0"/>
              </a:spcBef>
            </a:pPr>
            <a:r>
              <a:rPr lang="pt-BR" dirty="0"/>
              <a:t>TÓPICO</a:t>
            </a:r>
          </a:p>
        </p:txBody>
      </p:sp>
      <p:grpSp>
        <p:nvGrpSpPr>
          <p:cNvPr id="13" name="Group 24">
            <a:extLst>
              <a:ext uri="{FF2B5EF4-FFF2-40B4-BE49-F238E27FC236}">
                <a16:creationId xmlns:a16="http://schemas.microsoft.com/office/drawing/2014/main" id="{4B84BEDA-56EA-4F55-93CC-72EA01823A2A}"/>
              </a:ext>
            </a:extLst>
          </p:cNvPr>
          <p:cNvGrpSpPr/>
          <p:nvPr userDrawn="1"/>
        </p:nvGrpSpPr>
        <p:grpSpPr>
          <a:xfrm>
            <a:off x="11571410" y="237255"/>
            <a:ext cx="405420" cy="405472"/>
            <a:chOff x="9847755" y="226389"/>
            <a:chExt cx="516502" cy="516568"/>
          </a:xfrm>
        </p:grpSpPr>
        <p:sp>
          <p:nvSpPr>
            <p:cNvPr id="14" name="Rectangle 25">
              <a:extLst>
                <a:ext uri="{FF2B5EF4-FFF2-40B4-BE49-F238E27FC236}">
                  <a16:creationId xmlns:a16="http://schemas.microsoft.com/office/drawing/2014/main" id="{81EBDE63-64FB-4698-BD51-5D1AC5987780}"/>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26">
              <a:extLst>
                <a:ext uri="{FF2B5EF4-FFF2-40B4-BE49-F238E27FC236}">
                  <a16:creationId xmlns:a16="http://schemas.microsoft.com/office/drawing/2014/main" id="{53716098-9B4A-4EC9-9EF8-E8E6F5666BB1}"/>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7">
              <a:extLst>
                <a:ext uri="{FF2B5EF4-FFF2-40B4-BE49-F238E27FC236}">
                  <a16:creationId xmlns:a16="http://schemas.microsoft.com/office/drawing/2014/main" id="{C66463B2-8D29-4A80-9590-EEC3094C6143}"/>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670335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ópico + imagem esquerd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0" y="0"/>
            <a:ext cx="7489373" cy="6857999"/>
          </a:xfrm>
          <a:solidFill>
            <a:srgbClr val="006D93"/>
          </a:solidFill>
        </p:spPr>
        <p:txBody>
          <a:bodyPr/>
          <a:lstStyle>
            <a:lvl1pPr algn="ctr">
              <a:defRPr>
                <a:solidFill>
                  <a:schemeClr val="tx1"/>
                </a:solidFill>
              </a:defRPr>
            </a:lvl1pPr>
          </a:lstStyle>
          <a:p>
            <a:endParaRPr lang="pt-BR"/>
          </a:p>
        </p:txBody>
      </p:sp>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p:nvPr>
        </p:nvSpPr>
        <p:spPr>
          <a:xfrm flipH="1">
            <a:off x="8229600" y="595086"/>
            <a:ext cx="3657600" cy="5689599"/>
          </a:xfrm>
          <a:prstGeom prst="rect">
            <a:avLst/>
          </a:prstGeom>
        </p:spPr>
        <p:txBody>
          <a:bodyPr vert="horz" lIns="91440" tIns="45720" rIns="91440" bIns="45720" rtlCol="0" anchor="ctr">
            <a:normAutofit/>
          </a:bodyPr>
          <a:lstStyle>
            <a:lvl1pPr algn="l">
              <a:defRPr sz="3600">
                <a:solidFill>
                  <a:srgbClr val="313847"/>
                </a:solidFill>
                <a:latin typeface="Montserrat Medium" panose="00000600000000000000" pitchFamily="2" charset="0"/>
              </a:defRPr>
            </a:lvl1pPr>
          </a:lstStyle>
          <a:p>
            <a:r>
              <a:rPr lang="pt-BR" dirty="0"/>
              <a:t>Clique para editar o título Mestre</a:t>
            </a:r>
          </a:p>
        </p:txBody>
      </p:sp>
      <p:sp>
        <p:nvSpPr>
          <p:cNvPr id="6" name="Rectangle 18">
            <a:extLst>
              <a:ext uri="{FF2B5EF4-FFF2-40B4-BE49-F238E27FC236}">
                <a16:creationId xmlns:a16="http://schemas.microsoft.com/office/drawing/2014/main" id="{623E05E0-660A-41F5-97D3-8A52DCC475F1}"/>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Rectangle 18">
            <a:extLst>
              <a:ext uri="{FF2B5EF4-FFF2-40B4-BE49-F238E27FC236}">
                <a16:creationId xmlns:a16="http://schemas.microsoft.com/office/drawing/2014/main" id="{894857C9-4546-4509-A170-B62E48B8F264}"/>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7" name="Group 24">
            <a:extLst>
              <a:ext uri="{FF2B5EF4-FFF2-40B4-BE49-F238E27FC236}">
                <a16:creationId xmlns:a16="http://schemas.microsoft.com/office/drawing/2014/main" id="{99B613B5-1D3A-420B-901F-D4FCA2F3F5CF}"/>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E618CA76-D67D-483B-AA51-D8AB54EFC773}"/>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6704812C-F02C-4FD0-A795-11635A57A655}"/>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27">
              <a:extLst>
                <a:ext uri="{FF2B5EF4-FFF2-40B4-BE49-F238E27FC236}">
                  <a16:creationId xmlns:a16="http://schemas.microsoft.com/office/drawing/2014/main" id="{E73186A7-7D33-47A6-9B46-62C000A02562}"/>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0594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ópico + Parágrafo + imagem esquerd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0" y="0"/>
            <a:ext cx="7489373" cy="6857999"/>
          </a:xfrm>
          <a:solidFill>
            <a:srgbClr val="006D93"/>
          </a:solidFill>
        </p:spPr>
        <p:txBody>
          <a:bodyPr/>
          <a:lstStyle>
            <a:lvl1pPr algn="ctr">
              <a:defRPr/>
            </a:lvl1pPr>
          </a:lstStyle>
          <a:p>
            <a:endParaRPr lang="pt-BR"/>
          </a:p>
        </p:txBody>
      </p:sp>
      <p:sp>
        <p:nvSpPr>
          <p:cNvPr id="6" name="Rectangle 18">
            <a:extLst>
              <a:ext uri="{FF2B5EF4-FFF2-40B4-BE49-F238E27FC236}">
                <a16:creationId xmlns:a16="http://schemas.microsoft.com/office/drawing/2014/main" id="{623E05E0-660A-41F5-97D3-8A52DCC475F1}"/>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3" name="Espaço Reservado para Título 6">
            <a:extLst>
              <a:ext uri="{FF2B5EF4-FFF2-40B4-BE49-F238E27FC236}">
                <a16:creationId xmlns:a16="http://schemas.microsoft.com/office/drawing/2014/main" id="{32BEBE0D-9B45-41D7-9A8A-BA23C5BA382C}"/>
              </a:ext>
            </a:extLst>
          </p:cNvPr>
          <p:cNvSpPr txBox="1">
            <a:spLocks/>
          </p:cNvSpPr>
          <p:nvPr userDrawn="1"/>
        </p:nvSpPr>
        <p:spPr>
          <a:xfrm>
            <a:off x="8186056" y="1295401"/>
            <a:ext cx="3415394" cy="1697264"/>
          </a:xfrm>
          <a:prstGeom prst="rect">
            <a:avLst/>
          </a:prstGeom>
        </p:spPr>
        <p:txBody>
          <a:bodyPr vert="horz" lIns="91440" tIns="45720" rIns="91440" bIns="45720" rtlCol="0" anchor="b">
            <a:normAutofit/>
          </a:bodyPr>
          <a:lstStyle>
            <a:lvl1pPr algn="r" defTabSz="914400" rtl="0" eaLnBrk="1" latinLnBrk="0" hangingPunct="1">
              <a:lnSpc>
                <a:spcPct val="90000"/>
              </a:lnSpc>
              <a:spcBef>
                <a:spcPct val="0"/>
              </a:spcBef>
              <a:buNone/>
              <a:defRPr sz="4400" kern="1200">
                <a:solidFill>
                  <a:srgbClr val="313847"/>
                </a:solidFill>
                <a:latin typeface="Montserrat SemiBold" panose="00000700000000000000" pitchFamily="2" charset="0"/>
                <a:ea typeface="+mj-ea"/>
                <a:cs typeface="+mj-cs"/>
              </a:defRPr>
            </a:lvl1pPr>
          </a:lstStyle>
          <a:p>
            <a:pPr algn="l">
              <a:lnSpc>
                <a:spcPct val="100000"/>
              </a:lnSpc>
            </a:pPr>
            <a:r>
              <a:rPr lang="pt-BR" sz="3000" dirty="0">
                <a:latin typeface="Montserrat Medium" panose="00000600000000000000" pitchFamily="2" charset="0"/>
              </a:rPr>
              <a:t>CLIQUE PARA EDITAR O TÍTULO</a:t>
            </a:r>
          </a:p>
        </p:txBody>
      </p:sp>
      <p:sp>
        <p:nvSpPr>
          <p:cNvPr id="14" name="Espaço Reservado para Texto 2">
            <a:extLst>
              <a:ext uri="{FF2B5EF4-FFF2-40B4-BE49-F238E27FC236}">
                <a16:creationId xmlns:a16="http://schemas.microsoft.com/office/drawing/2014/main" id="{663C6E78-8BF7-4219-A774-74B5FC5DF1E2}"/>
              </a:ext>
            </a:extLst>
          </p:cNvPr>
          <p:cNvSpPr>
            <a:spLocks noGrp="1"/>
          </p:cNvSpPr>
          <p:nvPr>
            <p:ph type="body" sz="quarter" idx="11" hasCustomPrompt="1"/>
          </p:nvPr>
        </p:nvSpPr>
        <p:spPr>
          <a:xfrm>
            <a:off x="8189928" y="3429000"/>
            <a:ext cx="3444461" cy="2840038"/>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
        <p:nvSpPr>
          <p:cNvPr id="15" name="Espaço Reservado para Título 6">
            <a:extLst>
              <a:ext uri="{FF2B5EF4-FFF2-40B4-BE49-F238E27FC236}">
                <a16:creationId xmlns:a16="http://schemas.microsoft.com/office/drawing/2014/main" id="{41EBC0FE-D55A-48BB-840F-26688131EFD1}"/>
              </a:ext>
            </a:extLst>
          </p:cNvPr>
          <p:cNvSpPr txBox="1">
            <a:spLocks/>
          </p:cNvSpPr>
          <p:nvPr userDrawn="1"/>
        </p:nvSpPr>
        <p:spPr>
          <a:xfrm>
            <a:off x="8190204" y="585333"/>
            <a:ext cx="3465929" cy="557667"/>
          </a:xfrm>
          <a:prstGeom prst="rect">
            <a:avLst/>
          </a:prstGeom>
        </p:spPr>
        <p:txBody>
          <a:bodyPr vert="horz" lIns="91440" tIns="45720" rIns="91440" bIns="45720" rtlCol="0" anchor="b">
            <a:normAutofit/>
          </a:bodyPr>
          <a:lstStyle>
            <a:lvl1pPr algn="r" defTabSz="914400" rtl="0" eaLnBrk="1" latinLnBrk="0" hangingPunct="1">
              <a:lnSpc>
                <a:spcPct val="90000"/>
              </a:lnSpc>
              <a:spcBef>
                <a:spcPct val="0"/>
              </a:spcBef>
              <a:buNone/>
              <a:defRPr sz="4400" kern="1200">
                <a:solidFill>
                  <a:srgbClr val="313847"/>
                </a:solidFill>
                <a:latin typeface="Montserrat SemiBold" panose="00000700000000000000" pitchFamily="2" charset="0"/>
                <a:ea typeface="+mj-ea"/>
                <a:cs typeface="+mj-cs"/>
              </a:defRPr>
            </a:lvl1pPr>
          </a:lstStyle>
          <a:p>
            <a:pPr algn="l"/>
            <a:r>
              <a:rPr lang="pt-BR" sz="2000" dirty="0">
                <a:solidFill>
                  <a:srgbClr val="006D93"/>
                </a:solidFill>
                <a:latin typeface="Montserrat Medium" panose="00000600000000000000" pitchFamily="2" charset="0"/>
              </a:rPr>
              <a:t>TÓPICO</a:t>
            </a:r>
          </a:p>
        </p:txBody>
      </p:sp>
      <p:sp>
        <p:nvSpPr>
          <p:cNvPr id="8" name="Rectangle 18">
            <a:extLst>
              <a:ext uri="{FF2B5EF4-FFF2-40B4-BE49-F238E27FC236}">
                <a16:creationId xmlns:a16="http://schemas.microsoft.com/office/drawing/2014/main" id="{FEE4ABCF-E66C-4B57-80D4-7287C7433D18}"/>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9" name="Group 24">
            <a:extLst>
              <a:ext uri="{FF2B5EF4-FFF2-40B4-BE49-F238E27FC236}">
                <a16:creationId xmlns:a16="http://schemas.microsoft.com/office/drawing/2014/main" id="{D67E0AAB-83F0-4344-B66F-09854CBDA3B2}"/>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000904E1-92D1-40B6-81D4-DB045D57C52E}"/>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53C02830-4AA4-4830-8509-5FDE509B1ABD}"/>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27">
              <a:extLst>
                <a:ext uri="{FF2B5EF4-FFF2-40B4-BE49-F238E27FC236}">
                  <a16:creationId xmlns:a16="http://schemas.microsoft.com/office/drawing/2014/main" id="{F95AC4B0-6293-44EC-8BC4-3A2FAEBA617D}"/>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16924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itulo e texto esquerda">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999493" y="2302509"/>
            <a:ext cx="2125983"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Espaço Reservado para Texto 22">
            <a:extLst>
              <a:ext uri="{FF2B5EF4-FFF2-40B4-BE49-F238E27FC236}">
                <a16:creationId xmlns:a16="http://schemas.microsoft.com/office/drawing/2014/main" id="{81CA1456-409A-44C3-97D6-C68C3967EE32}"/>
              </a:ext>
            </a:extLst>
          </p:cNvPr>
          <p:cNvSpPr>
            <a:spLocks noGrp="1"/>
          </p:cNvSpPr>
          <p:nvPr>
            <p:ph type="body" sz="quarter" idx="15" hasCustomPrompt="1"/>
          </p:nvPr>
        </p:nvSpPr>
        <p:spPr>
          <a:xfrm>
            <a:off x="1066801" y="3619500"/>
            <a:ext cx="4546600" cy="274828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11" name="Espaço Reservado para Texto 14">
            <a:extLst>
              <a:ext uri="{FF2B5EF4-FFF2-40B4-BE49-F238E27FC236}">
                <a16:creationId xmlns:a16="http://schemas.microsoft.com/office/drawing/2014/main" id="{F132F83C-A303-41CD-886E-F0D02A89EF37}"/>
              </a:ext>
            </a:extLst>
          </p:cNvPr>
          <p:cNvSpPr>
            <a:spLocks noGrp="1"/>
          </p:cNvSpPr>
          <p:nvPr>
            <p:ph type="body" sz="quarter" idx="19"/>
          </p:nvPr>
        </p:nvSpPr>
        <p:spPr>
          <a:xfrm>
            <a:off x="1066800" y="1303016"/>
            <a:ext cx="4546600" cy="21259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2679325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cSld name="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0" y="1381125"/>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2578080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1_New Blank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84377A62-CDEF-4B5B-A987-F435EE746B1E}"/>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2" name="Rectangle 1">
            <a:extLst>
              <a:ext uri="{FF2B5EF4-FFF2-40B4-BE49-F238E27FC236}">
                <a16:creationId xmlns:a16="http://schemas.microsoft.com/office/drawing/2014/main" id="{F4AC159A-A594-BC43-8212-570344E3A282}"/>
              </a:ext>
            </a:extLst>
          </p:cNvPr>
          <p:cNvSpPr/>
          <p:nvPr userDrawn="1"/>
        </p:nvSpPr>
        <p:spPr>
          <a:xfrm>
            <a:off x="10764982" y="6047509"/>
            <a:ext cx="100791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
        <p:nvSpPr>
          <p:cNvPr id="4" name="Rectangle 3">
            <a:extLst>
              <a:ext uri="{FF2B5EF4-FFF2-40B4-BE49-F238E27FC236}">
                <a16:creationId xmlns:a16="http://schemas.microsoft.com/office/drawing/2014/main" id="{D5AE2A5E-7B1C-AE43-886A-AD936BB54BF7}"/>
              </a:ext>
            </a:extLst>
          </p:cNvPr>
          <p:cNvSpPr/>
          <p:nvPr userDrawn="1"/>
        </p:nvSpPr>
        <p:spPr>
          <a:xfrm>
            <a:off x="363682" y="6120245"/>
            <a:ext cx="100791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Tree>
    <p:extLst>
      <p:ext uri="{BB962C8B-B14F-4D97-AF65-F5344CB8AC3E}">
        <p14:creationId xmlns:p14="http://schemas.microsoft.com/office/powerpoint/2010/main" val="25371569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88">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Blank Slide">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1"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10800" y="6371286"/>
            <a:ext cx="713675" cy="286690"/>
          </a:xfrm>
          <a:prstGeom prst="rect">
            <a:avLst/>
          </a:prstGeom>
        </p:spPr>
      </p:pic>
    </p:spTree>
    <p:extLst>
      <p:ext uri="{BB962C8B-B14F-4D97-AF65-F5344CB8AC3E}">
        <p14:creationId xmlns:p14="http://schemas.microsoft.com/office/powerpoint/2010/main" val="1773149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8BA85-30E4-47B6-A747-1D2CDAF5E7DE}"/>
              </a:ext>
            </a:extLst>
          </p:cNvPr>
          <p:cNvSpPr>
            <a:spLocks noGrp="1"/>
          </p:cNvSpPr>
          <p:nvPr>
            <p:ph type="title"/>
          </p:nvPr>
        </p:nvSpPr>
        <p:spPr>
          <a:xfrm>
            <a:off x="688146" y="619124"/>
            <a:ext cx="4526722" cy="876301"/>
          </a:xfrm>
          <a:prstGeom prst="rect">
            <a:avLst/>
          </a:prstGeom>
        </p:spPr>
        <p:txBody>
          <a:bodyPr lIns="0" rIns="0" anchor="t"/>
          <a:lstStyle>
            <a:lvl1pPr>
              <a:defRPr sz="3600" b="1" spc="-100" baseline="0"/>
            </a:lvl1pPr>
          </a:lstStyle>
          <a:p>
            <a:endParaRPr lang="en-US"/>
          </a:p>
        </p:txBody>
      </p:sp>
      <p:cxnSp>
        <p:nvCxnSpPr>
          <p:cNvPr id="33" name="Straight Connector 32">
            <a:extLst>
              <a:ext uri="{FF2B5EF4-FFF2-40B4-BE49-F238E27FC236}">
                <a16:creationId xmlns:a16="http://schemas.microsoft.com/office/drawing/2014/main" id="{C1929847-2B81-4BC1-B595-F0B975F3FFF9}"/>
              </a:ext>
            </a:extLst>
          </p:cNvPr>
          <p:cNvCxnSpPr>
            <a:cxnSpLocks/>
          </p:cNvCxnSpPr>
          <p:nvPr userDrawn="1"/>
        </p:nvCxnSpPr>
        <p:spPr>
          <a:xfrm>
            <a:off x="688146" y="476250"/>
            <a:ext cx="559629" cy="0"/>
          </a:xfrm>
          <a:prstGeom prst="line">
            <a:avLst/>
          </a:prstGeom>
          <a:ln w="76200">
            <a:solidFill>
              <a:srgbClr val="00713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9395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ackground + títul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757C211D-1C8A-4078-B1CB-385CD86EB604}"/>
              </a:ext>
            </a:extLst>
          </p:cNvPr>
          <p:cNvSpPr/>
          <p:nvPr userDrawn="1"/>
        </p:nvSpPr>
        <p:spPr>
          <a:xfrm>
            <a:off x="0" y="0"/>
            <a:ext cx="12192000" cy="6858000"/>
          </a:xfrm>
          <a:prstGeom prst="rect">
            <a:avLst/>
          </a:prstGeom>
          <a:solidFill>
            <a:srgbClr val="313847">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Título 1">
            <a:extLst>
              <a:ext uri="{FF2B5EF4-FFF2-40B4-BE49-F238E27FC236}">
                <a16:creationId xmlns:a16="http://schemas.microsoft.com/office/drawing/2014/main" id="{B2BA84B5-9AE0-434A-8C69-DC8B2E32C8CB}"/>
              </a:ext>
            </a:extLst>
          </p:cNvPr>
          <p:cNvSpPr>
            <a:spLocks noGrp="1"/>
          </p:cNvSpPr>
          <p:nvPr>
            <p:ph type="title"/>
          </p:nvPr>
        </p:nvSpPr>
        <p:spPr>
          <a:xfrm>
            <a:off x="1028700" y="1993901"/>
            <a:ext cx="10134600" cy="2335212"/>
          </a:xfrm>
        </p:spPr>
        <p:txBody>
          <a:bodyPr/>
          <a:lstStyle>
            <a:lvl1pPr algn="ctr">
              <a:defRPr>
                <a:solidFill>
                  <a:srgbClr val="FFFFFF"/>
                </a:solidFill>
              </a:defRPr>
            </a:lvl1pPr>
          </a:lstStyle>
          <a:p>
            <a:r>
              <a:rPr lang="pt-BR" dirty="0"/>
              <a:t>Clique para editar o título Mestre</a:t>
            </a:r>
          </a:p>
        </p:txBody>
      </p:sp>
      <p:sp>
        <p:nvSpPr>
          <p:cNvPr id="6" name="CaixaDeTexto 5">
            <a:extLst>
              <a:ext uri="{FF2B5EF4-FFF2-40B4-BE49-F238E27FC236}">
                <a16:creationId xmlns:a16="http://schemas.microsoft.com/office/drawing/2014/main" id="{B13447A0-6CCE-493C-87E7-1D68FDF56A02}"/>
              </a:ext>
            </a:extLst>
          </p:cNvPr>
          <p:cNvSpPr txBox="1"/>
          <p:nvPr userDrawn="1"/>
        </p:nvSpPr>
        <p:spPr>
          <a:xfrm>
            <a:off x="-2" y="-904318"/>
            <a:ext cx="6972301" cy="369332"/>
          </a:xfrm>
          <a:prstGeom prst="rect">
            <a:avLst/>
          </a:prstGeom>
          <a:noFill/>
        </p:spPr>
        <p:txBody>
          <a:bodyPr wrap="square" rtlCol="0">
            <a:spAutoFit/>
          </a:bodyPr>
          <a:lstStyle/>
          <a:p>
            <a:r>
              <a:rPr lang="pt-BR" b="1" dirty="0"/>
              <a:t>Para inserir uma imagem no fundo </a:t>
            </a:r>
            <a:r>
              <a:rPr lang="pt-BR" dirty="0"/>
              <a:t>do slide edite o plano de fundo:</a:t>
            </a:r>
          </a:p>
        </p:txBody>
      </p:sp>
      <p:sp>
        <p:nvSpPr>
          <p:cNvPr id="7" name="CaixaDeTexto 6">
            <a:extLst>
              <a:ext uri="{FF2B5EF4-FFF2-40B4-BE49-F238E27FC236}">
                <a16:creationId xmlns:a16="http://schemas.microsoft.com/office/drawing/2014/main" id="{AB7C39C5-9023-42EB-947B-16325BF39F24}"/>
              </a:ext>
            </a:extLst>
          </p:cNvPr>
          <p:cNvSpPr txBox="1"/>
          <p:nvPr userDrawn="1"/>
        </p:nvSpPr>
        <p:spPr>
          <a:xfrm>
            <a:off x="-2" y="-534986"/>
            <a:ext cx="7715252" cy="369332"/>
          </a:xfrm>
          <a:prstGeom prst="rect">
            <a:avLst/>
          </a:prstGeom>
          <a:noFill/>
        </p:spPr>
        <p:txBody>
          <a:bodyPr wrap="square" rtlCol="0">
            <a:spAutoFit/>
          </a:bodyPr>
          <a:lstStyle/>
          <a:p>
            <a:r>
              <a:rPr lang="pt-BR" dirty="0"/>
              <a:t>Botão direito, formatar plano de fundo, preenchimento com imagem </a:t>
            </a:r>
            <a:r>
              <a:rPr lang="pt-BR"/>
              <a:t>e inserir.</a:t>
            </a:r>
            <a:endParaRPr lang="pt-BR" dirty="0"/>
          </a:p>
        </p:txBody>
      </p:sp>
    </p:spTree>
    <p:extLst>
      <p:ext uri="{BB962C8B-B14F-4D97-AF65-F5344CB8AC3E}">
        <p14:creationId xmlns:p14="http://schemas.microsoft.com/office/powerpoint/2010/main" val="28122316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ma Livre + Texto direita">
    <p:spTree>
      <p:nvGrpSpPr>
        <p:cNvPr id="1" name=""/>
        <p:cNvGrpSpPr/>
        <p:nvPr/>
      </p:nvGrpSpPr>
      <p:grpSpPr>
        <a:xfrm>
          <a:off x="0" y="0"/>
          <a:ext cx="0" cy="0"/>
          <a:chOff x="0" y="0"/>
          <a:chExt cx="0" cy="0"/>
        </a:xfrm>
      </p:grpSpPr>
      <p:sp>
        <p:nvSpPr>
          <p:cNvPr id="12" name="Espaço Reservado para Imagem 11">
            <a:extLst>
              <a:ext uri="{FF2B5EF4-FFF2-40B4-BE49-F238E27FC236}">
                <a16:creationId xmlns:a16="http://schemas.microsoft.com/office/drawing/2014/main" id="{229E68F1-7D3F-417E-9517-DA38CED10B1A}"/>
              </a:ext>
            </a:extLst>
          </p:cNvPr>
          <p:cNvSpPr>
            <a:spLocks noGrp="1"/>
          </p:cNvSpPr>
          <p:nvPr>
            <p:ph type="pic" sz="quarter" idx="10"/>
          </p:nvPr>
        </p:nvSpPr>
        <p:spPr>
          <a:xfrm>
            <a:off x="0" y="0"/>
            <a:ext cx="2264229" cy="2264229"/>
          </a:xfrm>
          <a:prstGeom prst="rect">
            <a:avLst/>
          </a:prstGeom>
          <a:solidFill>
            <a:srgbClr val="006D93"/>
          </a:solidFill>
        </p:spPr>
        <p:txBody>
          <a:bodyPr>
            <a:normAutofit/>
          </a:bodyPr>
          <a:lstStyle>
            <a:lvl1pPr marL="0" indent="0">
              <a:buNone/>
              <a:defRPr sz="1800">
                <a:solidFill>
                  <a:schemeClr val="bg1"/>
                </a:solidFill>
              </a:defRPr>
            </a:lvl1pPr>
          </a:lstStyle>
          <a:p>
            <a:endParaRPr lang="pt-BR" dirty="0"/>
          </a:p>
        </p:txBody>
      </p:sp>
      <p:sp>
        <p:nvSpPr>
          <p:cNvPr id="16" name="Espaço Reservado para Imagem 11">
            <a:extLst>
              <a:ext uri="{FF2B5EF4-FFF2-40B4-BE49-F238E27FC236}">
                <a16:creationId xmlns:a16="http://schemas.microsoft.com/office/drawing/2014/main" id="{67A70C11-56F4-4F33-803C-76225C3631E9}"/>
              </a:ext>
            </a:extLst>
          </p:cNvPr>
          <p:cNvSpPr>
            <a:spLocks noGrp="1"/>
          </p:cNvSpPr>
          <p:nvPr>
            <p:ph type="pic" sz="quarter" idx="11"/>
          </p:nvPr>
        </p:nvSpPr>
        <p:spPr>
          <a:xfrm>
            <a:off x="2264229" y="2296885"/>
            <a:ext cx="2264229" cy="2264229"/>
          </a:xfrm>
          <a:prstGeom prst="rect">
            <a:avLst/>
          </a:prstGeom>
          <a:solidFill>
            <a:srgbClr val="8DC44B"/>
          </a:solidFill>
        </p:spPr>
        <p:txBody>
          <a:bodyPr>
            <a:normAutofit/>
          </a:bodyPr>
          <a:lstStyle>
            <a:lvl1pPr marL="0" indent="0">
              <a:buNone/>
              <a:defRPr sz="1800">
                <a:solidFill>
                  <a:schemeClr val="bg1"/>
                </a:solidFill>
              </a:defRPr>
            </a:lvl1pPr>
          </a:lstStyle>
          <a:p>
            <a:endParaRPr lang="pt-BR" dirty="0"/>
          </a:p>
        </p:txBody>
      </p:sp>
      <p:sp>
        <p:nvSpPr>
          <p:cNvPr id="17" name="Espaço Reservado para Imagem 11">
            <a:extLst>
              <a:ext uri="{FF2B5EF4-FFF2-40B4-BE49-F238E27FC236}">
                <a16:creationId xmlns:a16="http://schemas.microsoft.com/office/drawing/2014/main" id="{30A98F20-A99A-4A0F-90AE-10A217F0773D}"/>
              </a:ext>
            </a:extLst>
          </p:cNvPr>
          <p:cNvSpPr>
            <a:spLocks noGrp="1"/>
          </p:cNvSpPr>
          <p:nvPr>
            <p:ph type="pic" sz="quarter" idx="12"/>
          </p:nvPr>
        </p:nvSpPr>
        <p:spPr>
          <a:xfrm>
            <a:off x="0" y="4593771"/>
            <a:ext cx="2264229" cy="2264229"/>
          </a:xfrm>
          <a:prstGeom prst="rect">
            <a:avLst/>
          </a:prstGeom>
          <a:solidFill>
            <a:srgbClr val="313847"/>
          </a:solidFill>
        </p:spPr>
        <p:txBody>
          <a:bodyPr>
            <a:normAutofit/>
          </a:bodyPr>
          <a:lstStyle>
            <a:lvl1pPr marL="0" indent="0">
              <a:buNone/>
              <a:defRPr sz="1800">
                <a:solidFill>
                  <a:schemeClr val="bg1"/>
                </a:solidFill>
              </a:defRPr>
            </a:lvl1pPr>
          </a:lstStyle>
          <a:p>
            <a:endParaRPr lang="pt-BR"/>
          </a:p>
        </p:txBody>
      </p:sp>
      <p:sp>
        <p:nvSpPr>
          <p:cNvPr id="18" name="Espaço Reservado para Imagem 11">
            <a:extLst>
              <a:ext uri="{FF2B5EF4-FFF2-40B4-BE49-F238E27FC236}">
                <a16:creationId xmlns:a16="http://schemas.microsoft.com/office/drawing/2014/main" id="{D0EE4BD9-31ED-4B77-B89A-1E2E453B7DBC}"/>
              </a:ext>
            </a:extLst>
          </p:cNvPr>
          <p:cNvSpPr>
            <a:spLocks noGrp="1"/>
          </p:cNvSpPr>
          <p:nvPr>
            <p:ph type="pic" sz="quarter" idx="13"/>
          </p:nvPr>
        </p:nvSpPr>
        <p:spPr>
          <a:xfrm>
            <a:off x="4528458" y="1001486"/>
            <a:ext cx="1262743" cy="1262743"/>
          </a:xfrm>
          <a:prstGeom prst="rect">
            <a:avLst/>
          </a:prstGeom>
          <a:solidFill>
            <a:srgbClr val="74BDE1"/>
          </a:solidFill>
        </p:spPr>
        <p:txBody>
          <a:bodyPr>
            <a:normAutofit/>
          </a:bodyPr>
          <a:lstStyle>
            <a:lvl1pPr marL="0" indent="0">
              <a:buNone/>
              <a:defRPr sz="1600">
                <a:solidFill>
                  <a:schemeClr val="bg1"/>
                </a:solidFill>
              </a:defRPr>
            </a:lvl1pPr>
          </a:lstStyle>
          <a:p>
            <a:endParaRPr lang="pt-BR" dirty="0"/>
          </a:p>
        </p:txBody>
      </p:sp>
      <p:sp>
        <p:nvSpPr>
          <p:cNvPr id="19" name="Espaço Reservado para Imagem 11">
            <a:extLst>
              <a:ext uri="{FF2B5EF4-FFF2-40B4-BE49-F238E27FC236}">
                <a16:creationId xmlns:a16="http://schemas.microsoft.com/office/drawing/2014/main" id="{69411563-D6C6-4058-8EC7-55026E7D7F13}"/>
              </a:ext>
            </a:extLst>
          </p:cNvPr>
          <p:cNvSpPr>
            <a:spLocks noGrp="1"/>
          </p:cNvSpPr>
          <p:nvPr>
            <p:ph type="pic" sz="quarter" idx="14"/>
          </p:nvPr>
        </p:nvSpPr>
        <p:spPr>
          <a:xfrm>
            <a:off x="5791201" y="2296885"/>
            <a:ext cx="1262743" cy="1262743"/>
          </a:xfrm>
          <a:prstGeom prst="rect">
            <a:avLst/>
          </a:prstGeom>
          <a:solidFill>
            <a:srgbClr val="006D93"/>
          </a:solidFill>
        </p:spPr>
        <p:txBody>
          <a:bodyPr>
            <a:normAutofit/>
          </a:bodyPr>
          <a:lstStyle>
            <a:lvl1pPr marL="0" indent="0">
              <a:buNone/>
              <a:defRPr sz="1800">
                <a:solidFill>
                  <a:schemeClr val="bg1"/>
                </a:solidFill>
              </a:defRPr>
            </a:lvl1pPr>
          </a:lstStyle>
          <a:p>
            <a:endParaRPr lang="pt-BR" dirty="0"/>
          </a:p>
        </p:txBody>
      </p:sp>
      <p:sp>
        <p:nvSpPr>
          <p:cNvPr id="20" name="Título 19">
            <a:extLst>
              <a:ext uri="{FF2B5EF4-FFF2-40B4-BE49-F238E27FC236}">
                <a16:creationId xmlns:a16="http://schemas.microsoft.com/office/drawing/2014/main" id="{3C8CB662-2DFD-43C1-9900-B289CC3CB67D}"/>
              </a:ext>
            </a:extLst>
          </p:cNvPr>
          <p:cNvSpPr>
            <a:spLocks noGrp="1"/>
          </p:cNvSpPr>
          <p:nvPr>
            <p:ph type="title" hasCustomPrompt="1"/>
          </p:nvPr>
        </p:nvSpPr>
        <p:spPr>
          <a:xfrm>
            <a:off x="7053944" y="3592284"/>
            <a:ext cx="4397827" cy="876868"/>
          </a:xfrm>
        </p:spPr>
        <p:txBody>
          <a:bodyPr anchor="b">
            <a:noAutofit/>
          </a:bodyPr>
          <a:lstStyle>
            <a:lvl1pPr algn="l">
              <a:defRPr sz="2800">
                <a:latin typeface="Montserrat Medium" panose="00000600000000000000" pitchFamily="2" charset="0"/>
              </a:defRPr>
            </a:lvl1pPr>
          </a:lstStyle>
          <a:p>
            <a:r>
              <a:rPr lang="pt-BR" dirty="0"/>
              <a:t>CLIQUE PARA EDITAR O TÍTULO MESTRE</a:t>
            </a:r>
          </a:p>
        </p:txBody>
      </p:sp>
      <p:sp>
        <p:nvSpPr>
          <p:cNvPr id="23" name="Espaço Reservado para Texto 22">
            <a:extLst>
              <a:ext uri="{FF2B5EF4-FFF2-40B4-BE49-F238E27FC236}">
                <a16:creationId xmlns:a16="http://schemas.microsoft.com/office/drawing/2014/main" id="{099F634F-7891-488A-8582-D9C573D3C002}"/>
              </a:ext>
            </a:extLst>
          </p:cNvPr>
          <p:cNvSpPr>
            <a:spLocks noGrp="1"/>
          </p:cNvSpPr>
          <p:nvPr>
            <p:ph type="body" sz="quarter" idx="15" hasCustomPrompt="1"/>
          </p:nvPr>
        </p:nvSpPr>
        <p:spPr>
          <a:xfrm>
            <a:off x="7053263" y="4637311"/>
            <a:ext cx="4398962" cy="1936750"/>
          </a:xfrm>
          <a:prstGeom prst="rect">
            <a:avLst/>
          </a:prstGeom>
        </p:spPr>
        <p:txBody>
          <a:bodyPr>
            <a:noAutofit/>
          </a:bodyPr>
          <a:lstStyle>
            <a:lvl1pPr marL="0" indent="0" algn="l">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24" name="Rectangle 18">
            <a:extLst>
              <a:ext uri="{FF2B5EF4-FFF2-40B4-BE49-F238E27FC236}">
                <a16:creationId xmlns:a16="http://schemas.microsoft.com/office/drawing/2014/main" id="{E1B32CE4-CDD8-464E-93FA-D660F742DDD3}"/>
              </a:ext>
            </a:extLst>
          </p:cNvPr>
          <p:cNvSpPr/>
          <p:nvPr userDrawn="1"/>
        </p:nvSpPr>
        <p:spPr>
          <a:xfrm rot="5400000">
            <a:off x="9576649" y="1978421"/>
            <a:ext cx="91963" cy="5138737"/>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25" name="Group 24">
            <a:extLst>
              <a:ext uri="{FF2B5EF4-FFF2-40B4-BE49-F238E27FC236}">
                <a16:creationId xmlns:a16="http://schemas.microsoft.com/office/drawing/2014/main" id="{65DE52B5-0B28-45E3-B836-9612761BCCF8}"/>
              </a:ext>
            </a:extLst>
          </p:cNvPr>
          <p:cNvGrpSpPr/>
          <p:nvPr userDrawn="1"/>
        </p:nvGrpSpPr>
        <p:grpSpPr>
          <a:xfrm>
            <a:off x="11571410" y="237255"/>
            <a:ext cx="405420" cy="405472"/>
            <a:chOff x="9847755" y="226389"/>
            <a:chExt cx="516502" cy="516568"/>
          </a:xfrm>
        </p:grpSpPr>
        <p:sp>
          <p:nvSpPr>
            <p:cNvPr id="26" name="Rectangle 25">
              <a:extLst>
                <a:ext uri="{FF2B5EF4-FFF2-40B4-BE49-F238E27FC236}">
                  <a16:creationId xmlns:a16="http://schemas.microsoft.com/office/drawing/2014/main" id="{E57030E7-FD06-4191-8DDD-CA3B5E161E9D}"/>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665B22E0-C27D-4823-9B71-27A35CE3C340}"/>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D57F066-47F9-4053-BC8A-2DFC297F34E7}"/>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425602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a:solidFill>
                  <a:schemeClr val="tx1"/>
                </a:solidFill>
              </a:rPr>
              <a:t>END OF TEMPLATE</a:t>
            </a:r>
          </a:p>
          <a:p>
            <a:pPr algn="l"/>
            <a:endParaRPr lang="en-US" sz="3000" b="0">
              <a:solidFill>
                <a:schemeClr val="tx1"/>
              </a:solidFill>
            </a:endParaRPr>
          </a:p>
          <a:p>
            <a:pPr algn="l"/>
            <a:r>
              <a:rPr lang="en-US" sz="6600" b="1">
                <a:solidFill>
                  <a:schemeClr val="tx1"/>
                </a:solidFill>
              </a:rPr>
              <a:t>Do not use any master slide that exists after this one</a:t>
            </a:r>
          </a:p>
        </p:txBody>
      </p:sp>
    </p:spTree>
    <p:extLst>
      <p:ext uri="{BB962C8B-B14F-4D97-AF65-F5344CB8AC3E}">
        <p14:creationId xmlns:p14="http://schemas.microsoft.com/office/powerpoint/2010/main" val="741038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ma Livre + Texto esquerda">
    <p:spTree>
      <p:nvGrpSpPr>
        <p:cNvPr id="1" name=""/>
        <p:cNvGrpSpPr/>
        <p:nvPr/>
      </p:nvGrpSpPr>
      <p:grpSpPr>
        <a:xfrm>
          <a:off x="0" y="0"/>
          <a:ext cx="0" cy="0"/>
          <a:chOff x="0" y="0"/>
          <a:chExt cx="0" cy="0"/>
        </a:xfrm>
      </p:grpSpPr>
      <p:sp>
        <p:nvSpPr>
          <p:cNvPr id="12" name="Espaço Reservado para Imagem 11">
            <a:extLst>
              <a:ext uri="{FF2B5EF4-FFF2-40B4-BE49-F238E27FC236}">
                <a16:creationId xmlns:a16="http://schemas.microsoft.com/office/drawing/2014/main" id="{229E68F1-7D3F-417E-9517-DA38CED10B1A}"/>
              </a:ext>
            </a:extLst>
          </p:cNvPr>
          <p:cNvSpPr>
            <a:spLocks noGrp="1"/>
          </p:cNvSpPr>
          <p:nvPr>
            <p:ph type="pic" sz="quarter" idx="10"/>
          </p:nvPr>
        </p:nvSpPr>
        <p:spPr>
          <a:xfrm>
            <a:off x="7474856" y="642727"/>
            <a:ext cx="4717143" cy="1621502"/>
          </a:xfrm>
          <a:prstGeom prst="rect">
            <a:avLst/>
          </a:prstGeom>
          <a:solidFill>
            <a:srgbClr val="006D93"/>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6" name="Espaço Reservado para Imagem 11">
            <a:extLst>
              <a:ext uri="{FF2B5EF4-FFF2-40B4-BE49-F238E27FC236}">
                <a16:creationId xmlns:a16="http://schemas.microsoft.com/office/drawing/2014/main" id="{67A70C11-56F4-4F33-803C-76225C3631E9}"/>
              </a:ext>
            </a:extLst>
          </p:cNvPr>
          <p:cNvSpPr>
            <a:spLocks noGrp="1"/>
          </p:cNvSpPr>
          <p:nvPr>
            <p:ph type="pic" sz="quarter" idx="11"/>
          </p:nvPr>
        </p:nvSpPr>
        <p:spPr>
          <a:xfrm>
            <a:off x="7474856" y="3526972"/>
            <a:ext cx="2264229" cy="2264229"/>
          </a:xfrm>
          <a:prstGeom prst="rect">
            <a:avLst/>
          </a:prstGeom>
          <a:solidFill>
            <a:srgbClr val="8DC44B"/>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8" name="Espaço Reservado para Imagem 11">
            <a:extLst>
              <a:ext uri="{FF2B5EF4-FFF2-40B4-BE49-F238E27FC236}">
                <a16:creationId xmlns:a16="http://schemas.microsoft.com/office/drawing/2014/main" id="{D0EE4BD9-31ED-4B77-B89A-1E2E453B7DBC}"/>
              </a:ext>
            </a:extLst>
          </p:cNvPr>
          <p:cNvSpPr>
            <a:spLocks noGrp="1"/>
          </p:cNvSpPr>
          <p:nvPr>
            <p:ph type="pic" sz="quarter" idx="13"/>
          </p:nvPr>
        </p:nvSpPr>
        <p:spPr>
          <a:xfrm>
            <a:off x="6212113" y="2264229"/>
            <a:ext cx="1262743" cy="1262743"/>
          </a:xfrm>
          <a:prstGeom prst="rect">
            <a:avLst/>
          </a:prstGeom>
          <a:solidFill>
            <a:srgbClr val="74BDE1"/>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19" name="Espaço Reservado para Imagem 11">
            <a:extLst>
              <a:ext uri="{FF2B5EF4-FFF2-40B4-BE49-F238E27FC236}">
                <a16:creationId xmlns:a16="http://schemas.microsoft.com/office/drawing/2014/main" id="{69411563-D6C6-4058-8EC7-55026E7D7F13}"/>
              </a:ext>
            </a:extLst>
          </p:cNvPr>
          <p:cNvSpPr>
            <a:spLocks noGrp="1"/>
          </p:cNvSpPr>
          <p:nvPr>
            <p:ph type="pic" sz="quarter" idx="14"/>
          </p:nvPr>
        </p:nvSpPr>
        <p:spPr>
          <a:xfrm>
            <a:off x="2452915" y="5791201"/>
            <a:ext cx="5021941" cy="1066799"/>
          </a:xfrm>
          <a:prstGeom prst="rect">
            <a:avLst/>
          </a:prstGeom>
          <a:solidFill>
            <a:srgbClr val="006D93"/>
          </a:solidFill>
        </p:spPr>
        <p:txBody>
          <a:bodyPr>
            <a:normAutofit/>
          </a:bodyPr>
          <a:lstStyle>
            <a:lvl1pPr>
              <a:defRPr sz="1800">
                <a:solidFill>
                  <a:schemeClr val="bg1"/>
                </a:solidFill>
                <a:latin typeface="Montserrat" panose="00000500000000000000" pitchFamily="2" charset="0"/>
              </a:defRPr>
            </a:lvl1pPr>
          </a:lstStyle>
          <a:p>
            <a:endParaRPr lang="pt-BR" dirty="0"/>
          </a:p>
        </p:txBody>
      </p:sp>
      <p:sp>
        <p:nvSpPr>
          <p:cNvPr id="20" name="Título 19">
            <a:extLst>
              <a:ext uri="{FF2B5EF4-FFF2-40B4-BE49-F238E27FC236}">
                <a16:creationId xmlns:a16="http://schemas.microsoft.com/office/drawing/2014/main" id="{3C8CB662-2DFD-43C1-9900-B289CC3CB67D}"/>
              </a:ext>
            </a:extLst>
          </p:cNvPr>
          <p:cNvSpPr>
            <a:spLocks noGrp="1"/>
          </p:cNvSpPr>
          <p:nvPr>
            <p:ph type="title" hasCustomPrompt="1"/>
          </p:nvPr>
        </p:nvSpPr>
        <p:spPr>
          <a:xfrm>
            <a:off x="675258" y="767347"/>
            <a:ext cx="4397827" cy="876868"/>
          </a:xfrm>
        </p:spPr>
        <p:txBody>
          <a:bodyPr anchor="b">
            <a:noAutofit/>
          </a:bodyPr>
          <a:lstStyle>
            <a:lvl1pPr>
              <a:defRPr sz="2800">
                <a:latin typeface="Montserrat Medium" panose="00000600000000000000" pitchFamily="2" charset="0"/>
              </a:defRPr>
            </a:lvl1pPr>
          </a:lstStyle>
          <a:p>
            <a:r>
              <a:rPr lang="pt-BR" dirty="0"/>
              <a:t>CLIQUE PARA EDITAR O TÍTULO MESTRE</a:t>
            </a:r>
          </a:p>
        </p:txBody>
      </p:sp>
      <p:sp>
        <p:nvSpPr>
          <p:cNvPr id="23" name="Espaço Reservado para Texto 22">
            <a:extLst>
              <a:ext uri="{FF2B5EF4-FFF2-40B4-BE49-F238E27FC236}">
                <a16:creationId xmlns:a16="http://schemas.microsoft.com/office/drawing/2014/main" id="{099F634F-7891-488A-8582-D9C573D3C002}"/>
              </a:ext>
            </a:extLst>
          </p:cNvPr>
          <p:cNvSpPr>
            <a:spLocks noGrp="1"/>
          </p:cNvSpPr>
          <p:nvPr>
            <p:ph type="body" sz="quarter" idx="15" hasCustomPrompt="1"/>
          </p:nvPr>
        </p:nvSpPr>
        <p:spPr>
          <a:xfrm>
            <a:off x="674577" y="1820180"/>
            <a:ext cx="4398962" cy="193675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24" name="Rectangle 18">
            <a:extLst>
              <a:ext uri="{FF2B5EF4-FFF2-40B4-BE49-F238E27FC236}">
                <a16:creationId xmlns:a16="http://schemas.microsoft.com/office/drawing/2014/main" id="{E1B32CE4-CDD8-464E-93FA-D660F742DDD3}"/>
              </a:ext>
            </a:extLst>
          </p:cNvPr>
          <p:cNvSpPr/>
          <p:nvPr userDrawn="1"/>
        </p:nvSpPr>
        <p:spPr>
          <a:xfrm rot="5400000">
            <a:off x="-758607" y="758609"/>
            <a:ext cx="1644214" cy="126998"/>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4599944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Imagens Circulos">
    <p:spTree>
      <p:nvGrpSpPr>
        <p:cNvPr id="1" name=""/>
        <p:cNvGrpSpPr/>
        <p:nvPr/>
      </p:nvGrpSpPr>
      <p:grpSpPr>
        <a:xfrm>
          <a:off x="0" y="0"/>
          <a:ext cx="0" cy="0"/>
          <a:chOff x="0" y="0"/>
          <a:chExt cx="0" cy="0"/>
        </a:xfrm>
      </p:grpSpPr>
      <p:sp>
        <p:nvSpPr>
          <p:cNvPr id="21" name="Rectangle 21">
            <a:extLst>
              <a:ext uri="{FF2B5EF4-FFF2-40B4-BE49-F238E27FC236}">
                <a16:creationId xmlns:a16="http://schemas.microsoft.com/office/drawing/2014/main" id="{9EF35EA5-EB7C-4E4A-8333-7A67908CFED0}"/>
              </a:ext>
            </a:extLst>
          </p:cNvPr>
          <p:cNvSpPr/>
          <p:nvPr userDrawn="1"/>
        </p:nvSpPr>
        <p:spPr>
          <a:xfrm>
            <a:off x="7445036" y="3124178"/>
            <a:ext cx="867761" cy="1944915"/>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ctangle 21">
            <a:extLst>
              <a:ext uri="{FF2B5EF4-FFF2-40B4-BE49-F238E27FC236}">
                <a16:creationId xmlns:a16="http://schemas.microsoft.com/office/drawing/2014/main" id="{A3806EA7-FDCC-47AE-A524-526F0D3B92B6}"/>
              </a:ext>
            </a:extLst>
          </p:cNvPr>
          <p:cNvSpPr/>
          <p:nvPr userDrawn="1"/>
        </p:nvSpPr>
        <p:spPr>
          <a:xfrm rot="16200000">
            <a:off x="6811585" y="2510113"/>
            <a:ext cx="867761" cy="399144"/>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ítulo 19">
            <a:extLst>
              <a:ext uri="{FF2B5EF4-FFF2-40B4-BE49-F238E27FC236}">
                <a16:creationId xmlns:a16="http://schemas.microsoft.com/office/drawing/2014/main" id="{45D6096A-013A-47E3-87CD-27691C0DE646}"/>
              </a:ext>
            </a:extLst>
          </p:cNvPr>
          <p:cNvSpPr>
            <a:spLocks noGrp="1"/>
          </p:cNvSpPr>
          <p:nvPr>
            <p:ph type="title" hasCustomPrompt="1"/>
          </p:nvPr>
        </p:nvSpPr>
        <p:spPr>
          <a:xfrm>
            <a:off x="675258" y="1911687"/>
            <a:ext cx="4397827" cy="876868"/>
          </a:xfrm>
        </p:spPr>
        <p:txBody>
          <a:bodyPr anchor="b">
            <a:noAutofit/>
          </a:bodyPr>
          <a:lstStyle>
            <a:lvl1pPr>
              <a:defRPr sz="2800">
                <a:latin typeface="Montserrat Medium" panose="00000600000000000000" pitchFamily="2" charset="0"/>
              </a:defRPr>
            </a:lvl1pPr>
          </a:lstStyle>
          <a:p>
            <a:r>
              <a:rPr lang="pt-BR" dirty="0"/>
              <a:t>CLIQUE PARA EDITAR O TÍTULO MESTRE</a:t>
            </a:r>
          </a:p>
        </p:txBody>
      </p:sp>
      <p:sp>
        <p:nvSpPr>
          <p:cNvPr id="5" name="Espaço Reservado para Texto 22">
            <a:extLst>
              <a:ext uri="{FF2B5EF4-FFF2-40B4-BE49-F238E27FC236}">
                <a16:creationId xmlns:a16="http://schemas.microsoft.com/office/drawing/2014/main" id="{EA99B78D-122A-4162-A5A1-5CEA04879677}"/>
              </a:ext>
            </a:extLst>
          </p:cNvPr>
          <p:cNvSpPr>
            <a:spLocks noGrp="1"/>
          </p:cNvSpPr>
          <p:nvPr>
            <p:ph type="body" sz="quarter" idx="15" hasCustomPrompt="1"/>
          </p:nvPr>
        </p:nvSpPr>
        <p:spPr>
          <a:xfrm>
            <a:off x="674577" y="2964520"/>
            <a:ext cx="4398962" cy="193675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6" name="Rectangle 18">
            <a:extLst>
              <a:ext uri="{FF2B5EF4-FFF2-40B4-BE49-F238E27FC236}">
                <a16:creationId xmlns:a16="http://schemas.microsoft.com/office/drawing/2014/main" id="{9F5FAF70-E222-4E57-A66E-1CDE494EFE54}"/>
              </a:ext>
            </a:extLst>
          </p:cNvPr>
          <p:cNvSpPr/>
          <p:nvPr userDrawn="1"/>
        </p:nvSpPr>
        <p:spPr>
          <a:xfrm rot="5400000">
            <a:off x="-2070143" y="3332883"/>
            <a:ext cx="4267282"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Espaço Reservado para Imagem 16">
            <a:extLst>
              <a:ext uri="{FF2B5EF4-FFF2-40B4-BE49-F238E27FC236}">
                <a16:creationId xmlns:a16="http://schemas.microsoft.com/office/drawing/2014/main" id="{6A5A8305-8A6D-4D22-B856-40E0319FDB1B}"/>
              </a:ext>
            </a:extLst>
          </p:cNvPr>
          <p:cNvSpPr>
            <a:spLocks noGrp="1"/>
          </p:cNvSpPr>
          <p:nvPr>
            <p:ph type="pic" sz="quarter" idx="16"/>
          </p:nvPr>
        </p:nvSpPr>
        <p:spPr>
          <a:xfrm>
            <a:off x="8763000" y="0"/>
            <a:ext cx="6857999" cy="6858000"/>
          </a:xfrm>
          <a:prstGeom prst="blockArc">
            <a:avLst>
              <a:gd name="adj1" fmla="val 5403971"/>
              <a:gd name="adj2" fmla="val 16206846"/>
              <a:gd name="adj3" fmla="val 24815"/>
            </a:avLst>
          </a:prstGeom>
          <a:solidFill>
            <a:srgbClr val="313847"/>
          </a:solidFill>
        </p:spPr>
        <p:txBody>
          <a:bodyPr/>
          <a:lstStyle/>
          <a:p>
            <a:endParaRPr lang="pt-BR" dirty="0"/>
          </a:p>
        </p:txBody>
      </p:sp>
      <p:sp>
        <p:nvSpPr>
          <p:cNvPr id="19" name="Rectangle 20">
            <a:extLst>
              <a:ext uri="{FF2B5EF4-FFF2-40B4-BE49-F238E27FC236}">
                <a16:creationId xmlns:a16="http://schemas.microsoft.com/office/drawing/2014/main" id="{1A34CD57-3E25-4C93-83FD-EF207EAC5C72}"/>
              </a:ext>
            </a:extLst>
          </p:cNvPr>
          <p:cNvSpPr/>
          <p:nvPr userDrawn="1"/>
        </p:nvSpPr>
        <p:spPr>
          <a:xfrm>
            <a:off x="6646748" y="5060928"/>
            <a:ext cx="798288" cy="856539"/>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ctangle 20">
            <a:extLst>
              <a:ext uri="{FF2B5EF4-FFF2-40B4-BE49-F238E27FC236}">
                <a16:creationId xmlns:a16="http://schemas.microsoft.com/office/drawing/2014/main" id="{BDD47301-9FB8-4DDE-9A62-D32D2AE26807}"/>
              </a:ext>
            </a:extLst>
          </p:cNvPr>
          <p:cNvSpPr/>
          <p:nvPr userDrawn="1"/>
        </p:nvSpPr>
        <p:spPr>
          <a:xfrm>
            <a:off x="6602234" y="1799772"/>
            <a:ext cx="443658" cy="476032"/>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Rectangle 20">
            <a:extLst>
              <a:ext uri="{FF2B5EF4-FFF2-40B4-BE49-F238E27FC236}">
                <a16:creationId xmlns:a16="http://schemas.microsoft.com/office/drawing/2014/main" id="{86144BBE-5083-4AD5-9D30-26E431F38727}"/>
              </a:ext>
            </a:extLst>
          </p:cNvPr>
          <p:cNvSpPr/>
          <p:nvPr userDrawn="1"/>
        </p:nvSpPr>
        <p:spPr>
          <a:xfrm>
            <a:off x="7445036" y="1422400"/>
            <a:ext cx="798288" cy="856539"/>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64534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FC9FEB-6D11-4C3A-AF4A-CE658248F088}"/>
              </a:ext>
            </a:extLst>
          </p:cNvPr>
          <p:cNvSpPr>
            <a:spLocks noGrp="1"/>
          </p:cNvSpPr>
          <p:nvPr>
            <p:ph type="title" hasCustomPrompt="1"/>
          </p:nvPr>
        </p:nvSpPr>
        <p:spPr>
          <a:xfrm>
            <a:off x="787400" y="3143250"/>
            <a:ext cx="10756900" cy="673100"/>
          </a:xfrm>
        </p:spPr>
        <p:txBody>
          <a:bodyPr anchor="b">
            <a:normAutofit/>
          </a:bodyPr>
          <a:lstStyle>
            <a:lvl1pPr algn="ctr">
              <a:defRPr sz="4000">
                <a:solidFill>
                  <a:srgbClr val="313847"/>
                </a:solidFill>
              </a:defRPr>
            </a:lvl1pPr>
          </a:lstStyle>
          <a:p>
            <a:r>
              <a:rPr lang="pt-BR" dirty="0"/>
              <a:t>TÍTULO DUPLO</a:t>
            </a:r>
          </a:p>
        </p:txBody>
      </p:sp>
      <p:sp>
        <p:nvSpPr>
          <p:cNvPr id="5" name="Espaço Reservado para Imagem 4">
            <a:extLst>
              <a:ext uri="{FF2B5EF4-FFF2-40B4-BE49-F238E27FC236}">
                <a16:creationId xmlns:a16="http://schemas.microsoft.com/office/drawing/2014/main" id="{C1ABA50A-D002-47ED-BB1E-08DA544F8935}"/>
              </a:ext>
            </a:extLst>
          </p:cNvPr>
          <p:cNvSpPr>
            <a:spLocks noGrp="1"/>
          </p:cNvSpPr>
          <p:nvPr>
            <p:ph type="pic" sz="quarter" idx="10"/>
          </p:nvPr>
        </p:nvSpPr>
        <p:spPr>
          <a:xfrm>
            <a:off x="127000" y="0"/>
            <a:ext cx="12065000" cy="2717800"/>
          </a:xfrm>
          <a:solidFill>
            <a:srgbClr val="006D93"/>
          </a:solidFill>
        </p:spPr>
        <p:txBody>
          <a:bodyPr/>
          <a:lstStyle>
            <a:lvl1pPr algn="ctr">
              <a:defRPr>
                <a:solidFill>
                  <a:schemeClr val="bg1"/>
                </a:solidFill>
              </a:defRPr>
            </a:lvl1pPr>
          </a:lstStyle>
          <a:p>
            <a:endParaRPr lang="pt-BR"/>
          </a:p>
        </p:txBody>
      </p:sp>
      <p:sp>
        <p:nvSpPr>
          <p:cNvPr id="6" name="Rectangle 18">
            <a:extLst>
              <a:ext uri="{FF2B5EF4-FFF2-40B4-BE49-F238E27FC236}">
                <a16:creationId xmlns:a16="http://schemas.microsoft.com/office/drawing/2014/main" id="{1DB52220-5FBD-4C67-A107-D4438B8EA107}"/>
              </a:ext>
            </a:extLst>
          </p:cNvPr>
          <p:cNvSpPr/>
          <p:nvPr userDrawn="1"/>
        </p:nvSpPr>
        <p:spPr>
          <a:xfrm>
            <a:off x="1" y="0"/>
            <a:ext cx="126998" cy="2717800"/>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Espaço Reservado para Texto 2">
            <a:extLst>
              <a:ext uri="{FF2B5EF4-FFF2-40B4-BE49-F238E27FC236}">
                <a16:creationId xmlns:a16="http://schemas.microsoft.com/office/drawing/2014/main" id="{70FDF02B-2CA4-4B9C-BBD7-ED8FDCDF3B82}"/>
              </a:ext>
            </a:extLst>
          </p:cNvPr>
          <p:cNvSpPr>
            <a:spLocks noGrp="1"/>
          </p:cNvSpPr>
          <p:nvPr>
            <p:ph type="body" sz="quarter" idx="11" hasCustomPrompt="1"/>
          </p:nvPr>
        </p:nvSpPr>
        <p:spPr>
          <a:xfrm>
            <a:off x="787400" y="4241801"/>
            <a:ext cx="10756900" cy="2209799"/>
          </a:xfrm>
        </p:spPr>
        <p:txBody>
          <a:bodyPr numCol="1">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p>
          <a:p>
            <a:pPr lvl="0"/>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a:t>
            </a:r>
            <a:r>
              <a:rPr lang="pt-BR" dirty="0"/>
              <a:t>  </a:t>
            </a:r>
            <a:r>
              <a:rPr lang="pt-BR" dirty="0" err="1"/>
              <a:t>aliquet</a:t>
            </a:r>
            <a:r>
              <a:rPr lang="pt-BR" dirty="0"/>
              <a:t> </a:t>
            </a:r>
            <a:r>
              <a:rPr lang="pt-BR" dirty="0" err="1"/>
              <a:t>ligula</a:t>
            </a:r>
            <a:r>
              <a:rPr lang="pt-BR" dirty="0"/>
              <a:t>  </a:t>
            </a:r>
            <a:r>
              <a:rPr lang="pt-BR" dirty="0" err="1"/>
              <a:t>la</a:t>
            </a:r>
            <a:r>
              <a:rPr lang="pt-BR" dirty="0"/>
              <a:t>  </a:t>
            </a:r>
            <a:r>
              <a:rPr lang="pt-BR" dirty="0" err="1"/>
              <a:t>Curabitur</a:t>
            </a:r>
            <a:r>
              <a:rPr lang="pt-BR" dirty="0"/>
              <a:t> ut </a:t>
            </a:r>
            <a:r>
              <a:rPr lang="pt-BR" dirty="0" err="1"/>
              <a:t>ex</a:t>
            </a:r>
            <a:r>
              <a:rPr lang="pt-BR" dirty="0"/>
              <a:t> ó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a:p>
            <a:pPr lvl="0"/>
            <a:endParaRPr lang="pt-BR" dirty="0"/>
          </a:p>
        </p:txBody>
      </p:sp>
    </p:spTree>
    <p:extLst>
      <p:ext uri="{BB962C8B-B14F-4D97-AF65-F5344CB8AC3E}">
        <p14:creationId xmlns:p14="http://schemas.microsoft.com/office/powerpoint/2010/main" val="3367625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9FC9FEB-6D11-4C3A-AF4A-CE658248F088}"/>
              </a:ext>
            </a:extLst>
          </p:cNvPr>
          <p:cNvSpPr>
            <a:spLocks noGrp="1"/>
          </p:cNvSpPr>
          <p:nvPr>
            <p:ph type="title" hasCustomPrompt="1"/>
          </p:nvPr>
        </p:nvSpPr>
        <p:spPr>
          <a:xfrm>
            <a:off x="787400" y="3143250"/>
            <a:ext cx="5549900" cy="1352550"/>
          </a:xfrm>
        </p:spPr>
        <p:txBody>
          <a:bodyPr anchor="t">
            <a:normAutofit/>
          </a:bodyPr>
          <a:lstStyle>
            <a:lvl1pPr algn="l">
              <a:defRPr sz="4000">
                <a:solidFill>
                  <a:srgbClr val="313847"/>
                </a:solidFill>
              </a:defRPr>
            </a:lvl1pPr>
          </a:lstStyle>
          <a:p>
            <a:r>
              <a:rPr lang="pt-BR" dirty="0"/>
              <a:t>TÍTULO DUPLO COM MUITO TEXTO</a:t>
            </a:r>
          </a:p>
        </p:txBody>
      </p:sp>
      <p:sp>
        <p:nvSpPr>
          <p:cNvPr id="5" name="Espaço Reservado para Imagem 4">
            <a:extLst>
              <a:ext uri="{FF2B5EF4-FFF2-40B4-BE49-F238E27FC236}">
                <a16:creationId xmlns:a16="http://schemas.microsoft.com/office/drawing/2014/main" id="{C1ABA50A-D002-47ED-BB1E-08DA544F8935}"/>
              </a:ext>
            </a:extLst>
          </p:cNvPr>
          <p:cNvSpPr>
            <a:spLocks noGrp="1"/>
          </p:cNvSpPr>
          <p:nvPr>
            <p:ph type="pic" sz="quarter" idx="10"/>
          </p:nvPr>
        </p:nvSpPr>
        <p:spPr>
          <a:xfrm>
            <a:off x="127000" y="0"/>
            <a:ext cx="12065000" cy="2717800"/>
          </a:xfrm>
          <a:solidFill>
            <a:srgbClr val="006D93"/>
          </a:solidFill>
        </p:spPr>
        <p:txBody>
          <a:bodyPr/>
          <a:lstStyle>
            <a:lvl1pPr algn="ctr">
              <a:defRPr>
                <a:solidFill>
                  <a:schemeClr val="bg1"/>
                </a:solidFill>
              </a:defRPr>
            </a:lvl1pPr>
          </a:lstStyle>
          <a:p>
            <a:endParaRPr lang="pt-BR"/>
          </a:p>
        </p:txBody>
      </p:sp>
      <p:sp>
        <p:nvSpPr>
          <p:cNvPr id="6" name="Rectangle 18">
            <a:extLst>
              <a:ext uri="{FF2B5EF4-FFF2-40B4-BE49-F238E27FC236}">
                <a16:creationId xmlns:a16="http://schemas.microsoft.com/office/drawing/2014/main" id="{1DB52220-5FBD-4C67-A107-D4438B8EA107}"/>
              </a:ext>
            </a:extLst>
          </p:cNvPr>
          <p:cNvSpPr/>
          <p:nvPr userDrawn="1"/>
        </p:nvSpPr>
        <p:spPr>
          <a:xfrm>
            <a:off x="1" y="0"/>
            <a:ext cx="126998" cy="2717800"/>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Espaço Reservado para Texto 2">
            <a:extLst>
              <a:ext uri="{FF2B5EF4-FFF2-40B4-BE49-F238E27FC236}">
                <a16:creationId xmlns:a16="http://schemas.microsoft.com/office/drawing/2014/main" id="{70FDF02B-2CA4-4B9C-BBD7-ED8FDCDF3B82}"/>
              </a:ext>
            </a:extLst>
          </p:cNvPr>
          <p:cNvSpPr>
            <a:spLocks noGrp="1"/>
          </p:cNvSpPr>
          <p:nvPr>
            <p:ph type="body" sz="quarter" idx="11" hasCustomPrompt="1"/>
          </p:nvPr>
        </p:nvSpPr>
        <p:spPr>
          <a:xfrm>
            <a:off x="787400" y="4679949"/>
            <a:ext cx="5562600" cy="1682751"/>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Tree>
    <p:extLst>
      <p:ext uri="{BB962C8B-B14F-4D97-AF65-F5344CB8AC3E}">
        <p14:creationId xmlns:p14="http://schemas.microsoft.com/office/powerpoint/2010/main" val="1128640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Slide Livre">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B4D66405-85AE-4577-87B2-8A8F34658A54}"/>
              </a:ext>
            </a:extLst>
          </p:cNvPr>
          <p:cNvSpPr txBox="1"/>
          <p:nvPr userDrawn="1"/>
        </p:nvSpPr>
        <p:spPr>
          <a:xfrm>
            <a:off x="0" y="-478972"/>
            <a:ext cx="4281714" cy="369332"/>
          </a:xfrm>
          <a:prstGeom prst="rect">
            <a:avLst/>
          </a:prstGeom>
          <a:noFill/>
        </p:spPr>
        <p:txBody>
          <a:bodyPr wrap="square" rtlCol="0">
            <a:spAutoFit/>
          </a:bodyPr>
          <a:lstStyle/>
          <a:p>
            <a:r>
              <a:rPr lang="pt-BR" dirty="0"/>
              <a:t>Slide em </a:t>
            </a:r>
            <a:r>
              <a:rPr lang="pt-BR"/>
              <a:t>branco livre</a:t>
            </a:r>
          </a:p>
        </p:txBody>
      </p:sp>
    </p:spTree>
    <p:extLst>
      <p:ext uri="{BB962C8B-B14F-4D97-AF65-F5344CB8AC3E}">
        <p14:creationId xmlns:p14="http://schemas.microsoft.com/office/powerpoint/2010/main" val="955500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ítulo Central e graficos laterais">
    <p:spTree>
      <p:nvGrpSpPr>
        <p:cNvPr id="1" name=""/>
        <p:cNvGrpSpPr/>
        <p:nvPr/>
      </p:nvGrpSpPr>
      <p:grpSpPr>
        <a:xfrm>
          <a:off x="0" y="0"/>
          <a:ext cx="0" cy="0"/>
          <a:chOff x="0" y="0"/>
          <a:chExt cx="0" cy="0"/>
        </a:xfrm>
      </p:grpSpPr>
      <p:pic>
        <p:nvPicPr>
          <p:cNvPr id="31" name="Graphic 29">
            <a:extLst>
              <a:ext uri="{FF2B5EF4-FFF2-40B4-BE49-F238E27FC236}">
                <a16:creationId xmlns:a16="http://schemas.microsoft.com/office/drawing/2014/main" id="{69637AC4-0B2E-4A17-87FF-6E8C6ADE16A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7108"/>
          <a:stretch/>
        </p:blipFill>
        <p:spPr>
          <a:xfrm rot="5400000">
            <a:off x="-2908335" y="2908335"/>
            <a:ext cx="6858002" cy="1041332"/>
          </a:xfrm>
          <a:prstGeom prst="rect">
            <a:avLst/>
          </a:prstGeom>
        </p:spPr>
      </p:pic>
      <p:pic>
        <p:nvPicPr>
          <p:cNvPr id="32" name="Graphic 30">
            <a:extLst>
              <a:ext uri="{FF2B5EF4-FFF2-40B4-BE49-F238E27FC236}">
                <a16:creationId xmlns:a16="http://schemas.microsoft.com/office/drawing/2014/main" id="{7005CBE9-5748-4FB7-B8D9-DB071ECDACF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2786"/>
          <a:stretch/>
        </p:blipFill>
        <p:spPr>
          <a:xfrm rot="16200000">
            <a:off x="8206557" y="2872558"/>
            <a:ext cx="6858002" cy="1112885"/>
          </a:xfrm>
          <a:prstGeom prst="rect">
            <a:avLst/>
          </a:prstGeom>
        </p:spPr>
      </p:pic>
      <p:sp>
        <p:nvSpPr>
          <p:cNvPr id="8" name="Espaço Reservado para Texto 2">
            <a:extLst>
              <a:ext uri="{FF2B5EF4-FFF2-40B4-BE49-F238E27FC236}">
                <a16:creationId xmlns:a16="http://schemas.microsoft.com/office/drawing/2014/main" id="{41B3F95B-A46D-40EE-8EA9-13EBDC234067}"/>
              </a:ext>
            </a:extLst>
          </p:cNvPr>
          <p:cNvSpPr>
            <a:spLocks noGrp="1"/>
          </p:cNvSpPr>
          <p:nvPr>
            <p:ph type="body" sz="quarter" idx="10"/>
          </p:nvPr>
        </p:nvSpPr>
        <p:spPr>
          <a:xfrm>
            <a:off x="1771650" y="555625"/>
            <a:ext cx="8648700" cy="1425575"/>
          </a:xfrm>
        </p:spPr>
        <p:txBody>
          <a:bodyPr vert="horz" lIns="91440" tIns="45720" rIns="91440" bIns="45720" rtlCol="0" anchor="t">
            <a:normAutofit/>
          </a:bodyPr>
          <a:lstStyle>
            <a:lvl1pPr>
              <a:defRPr lang="pt-BR" sz="4400" dirty="0" smtClean="0">
                <a:latin typeface="Montserrat Medium" panose="00000600000000000000" pitchFamily="2" charset="0"/>
                <a:ea typeface="+mj-ea"/>
                <a:cs typeface="+mj-cs"/>
              </a:defRPr>
            </a:lvl1pPr>
            <a:lvl2pPr>
              <a:defRPr lang="pt-BR" sz="1800" dirty="0" smtClean="0">
                <a:solidFill>
                  <a:schemeClr val="tx1"/>
                </a:solidFill>
                <a:latin typeface="+mn-lt"/>
              </a:defRPr>
            </a:lvl2pPr>
            <a:lvl3pPr>
              <a:defRPr lang="pt-BR" sz="1800" dirty="0" smtClean="0">
                <a:solidFill>
                  <a:schemeClr val="tx1"/>
                </a:solidFill>
                <a:latin typeface="+mn-lt"/>
              </a:defRPr>
            </a:lvl3pPr>
            <a:lvl4pPr>
              <a:defRPr lang="pt-BR" sz="1800" dirty="0" smtClean="0">
                <a:solidFill>
                  <a:schemeClr val="tx1"/>
                </a:solidFill>
                <a:latin typeface="+mn-lt"/>
              </a:defRPr>
            </a:lvl4pPr>
            <a:lvl5pPr>
              <a:defRPr lang="pt-BR" sz="1800" dirty="0">
                <a:solidFill>
                  <a:schemeClr val="tx1"/>
                </a:solidFill>
                <a:latin typeface="+mn-lt"/>
              </a:defRPr>
            </a:lvl5pPr>
          </a:lstStyle>
          <a:p>
            <a:pPr lvl="0" algn="ctr">
              <a:spcBef>
                <a:spcPct val="0"/>
              </a:spcBef>
            </a:pPr>
            <a:r>
              <a:rPr lang="pt-BR" dirty="0"/>
              <a:t>Clique para editar os estilos de texto Mestres</a:t>
            </a:r>
          </a:p>
        </p:txBody>
      </p:sp>
    </p:spTree>
    <p:extLst>
      <p:ext uri="{BB962C8B-B14F-4D97-AF65-F5344CB8AC3E}">
        <p14:creationId xmlns:p14="http://schemas.microsoft.com/office/powerpoint/2010/main" val="19687138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ítulo conteúdo livre ">
    <p:spTree>
      <p:nvGrpSpPr>
        <p:cNvPr id="1" name=""/>
        <p:cNvGrpSpPr/>
        <p:nvPr/>
      </p:nvGrpSpPr>
      <p:grpSpPr>
        <a:xfrm>
          <a:off x="0" y="0"/>
          <a:ext cx="0" cy="0"/>
          <a:chOff x="0" y="0"/>
          <a:chExt cx="0" cy="0"/>
        </a:xfrm>
      </p:grpSpPr>
      <p:grpSp>
        <p:nvGrpSpPr>
          <p:cNvPr id="7" name="Group 24">
            <a:extLst>
              <a:ext uri="{FF2B5EF4-FFF2-40B4-BE49-F238E27FC236}">
                <a16:creationId xmlns:a16="http://schemas.microsoft.com/office/drawing/2014/main" id="{ED610386-F1FC-4DC7-9A22-5AA3300DD8BC}"/>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25BD5945-DAF9-4622-8FA9-05B16C1F8F45}"/>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26">
              <a:extLst>
                <a:ext uri="{FF2B5EF4-FFF2-40B4-BE49-F238E27FC236}">
                  <a16:creationId xmlns:a16="http://schemas.microsoft.com/office/drawing/2014/main" id="{7A9402D1-0AA9-466E-8923-CC7D1BE769C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7">
              <a:extLst>
                <a:ext uri="{FF2B5EF4-FFF2-40B4-BE49-F238E27FC236}">
                  <a16:creationId xmlns:a16="http://schemas.microsoft.com/office/drawing/2014/main" id="{9011A8CF-727D-4792-86C6-A5C3D9482771}"/>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8">
            <a:extLst>
              <a:ext uri="{FF2B5EF4-FFF2-40B4-BE49-F238E27FC236}">
                <a16:creationId xmlns:a16="http://schemas.microsoft.com/office/drawing/2014/main" id="{8B25D5DC-DA73-416A-AE35-E8934B535BD3}"/>
              </a:ext>
            </a:extLst>
          </p:cNvPr>
          <p:cNvSpPr/>
          <p:nvPr userDrawn="1"/>
        </p:nvSpPr>
        <p:spPr>
          <a:xfrm rot="5400000">
            <a:off x="-582931" y="582932"/>
            <a:ext cx="1280162" cy="114299"/>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5" name="Espaço Reservado para Texto 14">
            <a:extLst>
              <a:ext uri="{FF2B5EF4-FFF2-40B4-BE49-F238E27FC236}">
                <a16:creationId xmlns:a16="http://schemas.microsoft.com/office/drawing/2014/main" id="{4A48B941-AA90-4563-99CC-008C9A299C0E}"/>
              </a:ext>
            </a:extLst>
          </p:cNvPr>
          <p:cNvSpPr>
            <a:spLocks noGrp="1"/>
          </p:cNvSpPr>
          <p:nvPr>
            <p:ph type="body" sz="quarter" idx="11"/>
          </p:nvPr>
        </p:nvSpPr>
        <p:spPr>
          <a:xfrm>
            <a:off x="1057275" y="552450"/>
            <a:ext cx="10096500" cy="727075"/>
          </a:xfrm>
        </p:spPr>
        <p:txBody>
          <a:bodyPr vert="horz" lIns="91440" tIns="45720" rIns="91440" bIns="45720" rtlCol="0" anchor="b">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3991005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exto 2 Colunas">
    <p:spTree>
      <p:nvGrpSpPr>
        <p:cNvPr id="1" name=""/>
        <p:cNvGrpSpPr/>
        <p:nvPr/>
      </p:nvGrpSpPr>
      <p:grpSpPr>
        <a:xfrm>
          <a:off x="0" y="0"/>
          <a:ext cx="0" cy="0"/>
          <a:chOff x="0" y="0"/>
          <a:chExt cx="0" cy="0"/>
        </a:xfrm>
      </p:grpSpPr>
      <p:sp>
        <p:nvSpPr>
          <p:cNvPr id="4" name="Espaço Reservado para Texto 22">
            <a:extLst>
              <a:ext uri="{FF2B5EF4-FFF2-40B4-BE49-F238E27FC236}">
                <a16:creationId xmlns:a16="http://schemas.microsoft.com/office/drawing/2014/main" id="{C3F3BBD1-5E09-4937-B4DD-BCD9819A8406}"/>
              </a:ext>
            </a:extLst>
          </p:cNvPr>
          <p:cNvSpPr>
            <a:spLocks noGrp="1"/>
          </p:cNvSpPr>
          <p:nvPr>
            <p:ph type="body" sz="quarter" idx="15" hasCustomPrompt="1"/>
          </p:nvPr>
        </p:nvSpPr>
        <p:spPr>
          <a:xfrm>
            <a:off x="1066800" y="1622060"/>
            <a:ext cx="4653183" cy="455522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lvl="0"/>
            <a:endParaRPr lang="pt-BR" dirty="0"/>
          </a:p>
        </p:txBody>
      </p:sp>
      <p:sp>
        <p:nvSpPr>
          <p:cNvPr id="5" name="Espaço Reservado para Texto 22">
            <a:extLst>
              <a:ext uri="{FF2B5EF4-FFF2-40B4-BE49-F238E27FC236}">
                <a16:creationId xmlns:a16="http://schemas.microsoft.com/office/drawing/2014/main" id="{FD49813A-3A94-4A74-96BF-0A428863E457}"/>
              </a:ext>
            </a:extLst>
          </p:cNvPr>
          <p:cNvSpPr>
            <a:spLocks noGrp="1"/>
          </p:cNvSpPr>
          <p:nvPr>
            <p:ph type="body" sz="quarter" idx="16" hasCustomPrompt="1"/>
          </p:nvPr>
        </p:nvSpPr>
        <p:spPr>
          <a:xfrm>
            <a:off x="6459316" y="1622060"/>
            <a:ext cx="4653183" cy="455522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a:p>
            <a:pPr lvl="0"/>
            <a:endParaRPr lang="pt-BR" dirty="0"/>
          </a:p>
        </p:txBody>
      </p:sp>
      <p:grpSp>
        <p:nvGrpSpPr>
          <p:cNvPr id="7" name="Group 24">
            <a:extLst>
              <a:ext uri="{FF2B5EF4-FFF2-40B4-BE49-F238E27FC236}">
                <a16:creationId xmlns:a16="http://schemas.microsoft.com/office/drawing/2014/main" id="{ED610386-F1FC-4DC7-9A22-5AA3300DD8BC}"/>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25BD5945-DAF9-4622-8FA9-05B16C1F8F45}"/>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26">
              <a:extLst>
                <a:ext uri="{FF2B5EF4-FFF2-40B4-BE49-F238E27FC236}">
                  <a16:creationId xmlns:a16="http://schemas.microsoft.com/office/drawing/2014/main" id="{7A9402D1-0AA9-466E-8923-CC7D1BE769C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7">
              <a:extLst>
                <a:ext uri="{FF2B5EF4-FFF2-40B4-BE49-F238E27FC236}">
                  <a16:creationId xmlns:a16="http://schemas.microsoft.com/office/drawing/2014/main" id="{9011A8CF-727D-4792-86C6-A5C3D9482771}"/>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8">
            <a:extLst>
              <a:ext uri="{FF2B5EF4-FFF2-40B4-BE49-F238E27FC236}">
                <a16:creationId xmlns:a16="http://schemas.microsoft.com/office/drawing/2014/main" id="{144E36DF-CAEA-485A-B70F-E2AD90AD8C55}"/>
              </a:ext>
            </a:extLst>
          </p:cNvPr>
          <p:cNvSpPr/>
          <p:nvPr userDrawn="1"/>
        </p:nvSpPr>
        <p:spPr>
          <a:xfrm rot="5400000">
            <a:off x="-582931" y="582932"/>
            <a:ext cx="1280162" cy="114299"/>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Espaço Reservado para Texto 14">
            <a:extLst>
              <a:ext uri="{FF2B5EF4-FFF2-40B4-BE49-F238E27FC236}">
                <a16:creationId xmlns:a16="http://schemas.microsoft.com/office/drawing/2014/main" id="{E3B517DE-4F26-4423-A48B-F6FDE6D38739}"/>
              </a:ext>
            </a:extLst>
          </p:cNvPr>
          <p:cNvSpPr>
            <a:spLocks noGrp="1"/>
          </p:cNvSpPr>
          <p:nvPr>
            <p:ph type="body" sz="quarter" idx="17"/>
          </p:nvPr>
        </p:nvSpPr>
        <p:spPr>
          <a:xfrm>
            <a:off x="1066800" y="533400"/>
            <a:ext cx="10058400" cy="746125"/>
          </a:xfrm>
        </p:spPr>
        <p:txBody>
          <a:bodyPr vert="horz" lIns="91440" tIns="45720" rIns="91440" bIns="45720" rtlCol="0" anchor="b">
            <a:noAutofit/>
          </a:bodyPr>
          <a:lstStyle>
            <a:lvl1pPr>
              <a:defRPr lang="pt-BR" sz="2800" smtClean="0">
                <a:latin typeface="Montserrat Medium" panose="00000600000000000000" pitchFamily="2" charset="0"/>
                <a:ea typeface="+mj-ea"/>
                <a:cs typeface="+mj-cs"/>
              </a:defRPr>
            </a:lvl1pPr>
            <a:lvl2pPr>
              <a:defRPr lang="pt-BR" sz="1800" smtClean="0">
                <a:solidFill>
                  <a:schemeClr val="tx1"/>
                </a:solidFill>
                <a:latin typeface="+mn-lt"/>
              </a:defRPr>
            </a:lvl2pPr>
            <a:lvl3pPr>
              <a:defRPr lang="pt-BR" sz="1800" smtClean="0">
                <a:solidFill>
                  <a:schemeClr val="tx1"/>
                </a:solidFill>
                <a:latin typeface="+mn-lt"/>
              </a:defRPr>
            </a:lvl3pPr>
            <a:lvl4pPr>
              <a:defRPr lang="pt-BR" sz="1800" smtClean="0">
                <a:solidFill>
                  <a:schemeClr val="tx1"/>
                </a:solidFill>
                <a:latin typeface="+mn-lt"/>
              </a:defRPr>
            </a:lvl4pPr>
            <a:lvl5pPr>
              <a:defRPr lang="pt-BR" sz="1800">
                <a:solidFill>
                  <a:schemeClr val="tx1"/>
                </a:solidFill>
                <a:latin typeface="+mn-lt"/>
              </a:defRPr>
            </a:lvl5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612033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ítulo grande esquerda">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1372556" y="3370896"/>
            <a:ext cx="2878457" cy="133352"/>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6" name="Group 24">
            <a:extLst>
              <a:ext uri="{FF2B5EF4-FFF2-40B4-BE49-F238E27FC236}">
                <a16:creationId xmlns:a16="http://schemas.microsoft.com/office/drawing/2014/main" id="{AF802E26-2BFE-4479-A610-FE5F91D4E22E}"/>
              </a:ext>
            </a:extLst>
          </p:cNvPr>
          <p:cNvGrpSpPr/>
          <p:nvPr userDrawn="1"/>
        </p:nvGrpSpPr>
        <p:grpSpPr>
          <a:xfrm>
            <a:off x="11571410" y="237255"/>
            <a:ext cx="405420" cy="405472"/>
            <a:chOff x="9847755" y="226389"/>
            <a:chExt cx="516502" cy="516568"/>
          </a:xfrm>
        </p:grpSpPr>
        <p:sp>
          <p:nvSpPr>
            <p:cNvPr id="8" name="Rectangle 25">
              <a:extLst>
                <a:ext uri="{FF2B5EF4-FFF2-40B4-BE49-F238E27FC236}">
                  <a16:creationId xmlns:a16="http://schemas.microsoft.com/office/drawing/2014/main" id="{4388B93C-EFBE-4420-8244-D30337E3D117}"/>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6">
              <a:extLst>
                <a:ext uri="{FF2B5EF4-FFF2-40B4-BE49-F238E27FC236}">
                  <a16:creationId xmlns:a16="http://schemas.microsoft.com/office/drawing/2014/main" id="{AC636764-5796-4569-B1B5-44667BB6AC93}"/>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7">
              <a:extLst>
                <a:ext uri="{FF2B5EF4-FFF2-40B4-BE49-F238E27FC236}">
                  <a16:creationId xmlns:a16="http://schemas.microsoft.com/office/drawing/2014/main" id="{D97EA7A7-4CE7-48B3-A537-4209CBD5B9C9}"/>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Espaço Reservado para Texto 14">
            <a:extLst>
              <a:ext uri="{FF2B5EF4-FFF2-40B4-BE49-F238E27FC236}">
                <a16:creationId xmlns:a16="http://schemas.microsoft.com/office/drawing/2014/main" id="{BA25BACC-AE4F-4F84-AA76-87C979479277}"/>
              </a:ext>
            </a:extLst>
          </p:cNvPr>
          <p:cNvSpPr>
            <a:spLocks noGrp="1"/>
          </p:cNvSpPr>
          <p:nvPr>
            <p:ph type="body" sz="quarter" idx="18"/>
          </p:nvPr>
        </p:nvSpPr>
        <p:spPr>
          <a:xfrm>
            <a:off x="1066800" y="1303016"/>
            <a:ext cx="4546600" cy="42595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1963550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ulo + Imagem grande">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999493" y="2302509"/>
            <a:ext cx="2125983"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Espaço Reservado para Texto 22">
            <a:extLst>
              <a:ext uri="{FF2B5EF4-FFF2-40B4-BE49-F238E27FC236}">
                <a16:creationId xmlns:a16="http://schemas.microsoft.com/office/drawing/2014/main" id="{81CA1456-409A-44C3-97D6-C68C3967EE32}"/>
              </a:ext>
            </a:extLst>
          </p:cNvPr>
          <p:cNvSpPr>
            <a:spLocks noGrp="1"/>
          </p:cNvSpPr>
          <p:nvPr>
            <p:ph type="body" sz="quarter" idx="15" hasCustomPrompt="1"/>
          </p:nvPr>
        </p:nvSpPr>
        <p:spPr>
          <a:xfrm>
            <a:off x="1066801" y="3619500"/>
            <a:ext cx="4546600" cy="274828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9" name="Espaço Reservado para Imagem 8">
            <a:extLst>
              <a:ext uri="{FF2B5EF4-FFF2-40B4-BE49-F238E27FC236}">
                <a16:creationId xmlns:a16="http://schemas.microsoft.com/office/drawing/2014/main" id="{CECB90ED-434C-436C-A60F-D97AD87BA1F5}"/>
              </a:ext>
            </a:extLst>
          </p:cNvPr>
          <p:cNvSpPr>
            <a:spLocks noGrp="1"/>
          </p:cNvSpPr>
          <p:nvPr>
            <p:ph type="pic" sz="quarter" idx="16"/>
          </p:nvPr>
        </p:nvSpPr>
        <p:spPr>
          <a:xfrm>
            <a:off x="6096000" y="490538"/>
            <a:ext cx="5740400" cy="5876926"/>
          </a:xfrm>
          <a:solidFill>
            <a:srgbClr val="006D93"/>
          </a:solidFill>
        </p:spPr>
        <p:txBody>
          <a:bodyPr/>
          <a:lstStyle/>
          <a:p>
            <a:endParaRPr lang="pt-BR"/>
          </a:p>
        </p:txBody>
      </p:sp>
      <p:sp>
        <p:nvSpPr>
          <p:cNvPr id="10" name="Espaço Reservado para Texto 14">
            <a:extLst>
              <a:ext uri="{FF2B5EF4-FFF2-40B4-BE49-F238E27FC236}">
                <a16:creationId xmlns:a16="http://schemas.microsoft.com/office/drawing/2014/main" id="{5290BC70-E8F0-449B-AF8B-F9055D32FC22}"/>
              </a:ext>
            </a:extLst>
          </p:cNvPr>
          <p:cNvSpPr>
            <a:spLocks noGrp="1"/>
          </p:cNvSpPr>
          <p:nvPr>
            <p:ph type="body" sz="quarter" idx="18"/>
          </p:nvPr>
        </p:nvSpPr>
        <p:spPr>
          <a:xfrm>
            <a:off x="1066800" y="1303016"/>
            <a:ext cx="4546600" cy="21259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348957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0"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6"/>
            <a:ext cx="10972800" cy="902187"/>
          </a:xfrm>
        </p:spPr>
        <p:txBody>
          <a:bodyPr/>
          <a:lstStyle/>
          <a:p>
            <a:r>
              <a:rPr lang="en-US" dirty="0"/>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5"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931804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Org Chart with Headline">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493776" y="446147"/>
            <a:ext cx="11205972" cy="1053044"/>
          </a:xfrm>
          <a:prstGeom prst="rect">
            <a:avLst/>
          </a:prstGeom>
        </p:spPr>
        <p:txBody>
          <a:bodyPr vert="horz" anchor="t">
            <a:noAutofit/>
          </a:bodyPr>
          <a:lstStyle>
            <a:lvl1pPr algn="l">
              <a:defRPr sz="3600" b="1">
                <a:solidFill>
                  <a:schemeClr val="tx1"/>
                </a:solidFill>
                <a:latin typeface="+mj-lt"/>
              </a:defRPr>
            </a:lvl1pPr>
          </a:lstStyle>
          <a:p>
            <a:r>
              <a:rPr lang="en-US"/>
              <a:t>Click to add concise headlin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70698" y="6230322"/>
            <a:ext cx="627463" cy="252058"/>
          </a:xfrm>
          <a:prstGeom prst="rect">
            <a:avLst/>
          </a:prstGeom>
        </p:spPr>
      </p:pic>
      <p:sp>
        <p:nvSpPr>
          <p:cNvPr id="10" name="SmartArt Placeholder 9">
            <a:extLst>
              <a:ext uri="{FF2B5EF4-FFF2-40B4-BE49-F238E27FC236}">
                <a16:creationId xmlns:a16="http://schemas.microsoft.com/office/drawing/2014/main" id="{A29D8A31-E9F4-C143-A782-5B192F394C8E}"/>
              </a:ext>
            </a:extLst>
          </p:cNvPr>
          <p:cNvSpPr>
            <a:spLocks noGrp="1"/>
          </p:cNvSpPr>
          <p:nvPr>
            <p:ph type="dgm" sz="quarter" idx="10" hasCustomPrompt="1"/>
          </p:nvPr>
        </p:nvSpPr>
        <p:spPr>
          <a:xfrm>
            <a:off x="493776" y="1714500"/>
            <a:ext cx="11205972" cy="4203954"/>
          </a:xfrm>
          <a:prstGeom prst="rect">
            <a:avLst/>
          </a:prstGeom>
        </p:spPr>
        <p:txBody>
          <a:bodyPr/>
          <a:lstStyle>
            <a:lvl1pPr marL="0" indent="0">
              <a:buNone/>
              <a:defRPr sz="1350"/>
            </a:lvl1pPr>
          </a:lstStyle>
          <a:p>
            <a:r>
              <a:rPr lang="en-US"/>
              <a:t>Click to insert smart graphic</a:t>
            </a:r>
          </a:p>
        </p:txBody>
      </p:sp>
    </p:spTree>
    <p:extLst>
      <p:ext uri="{BB962C8B-B14F-4D97-AF65-F5344CB8AC3E}">
        <p14:creationId xmlns:p14="http://schemas.microsoft.com/office/powerpoint/2010/main" val="1364093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Titulo + Imagens pequenas">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999493" y="2302509"/>
            <a:ext cx="2125983"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Espaço Reservado para Texto 22">
            <a:extLst>
              <a:ext uri="{FF2B5EF4-FFF2-40B4-BE49-F238E27FC236}">
                <a16:creationId xmlns:a16="http://schemas.microsoft.com/office/drawing/2014/main" id="{81CA1456-409A-44C3-97D6-C68C3967EE32}"/>
              </a:ext>
            </a:extLst>
          </p:cNvPr>
          <p:cNvSpPr>
            <a:spLocks noGrp="1"/>
          </p:cNvSpPr>
          <p:nvPr>
            <p:ph type="body" sz="quarter" idx="15" hasCustomPrompt="1"/>
          </p:nvPr>
        </p:nvSpPr>
        <p:spPr>
          <a:xfrm>
            <a:off x="1066801" y="3619500"/>
            <a:ext cx="4546600" cy="274828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9" name="Espaço Reservado para Imagem 8">
            <a:extLst>
              <a:ext uri="{FF2B5EF4-FFF2-40B4-BE49-F238E27FC236}">
                <a16:creationId xmlns:a16="http://schemas.microsoft.com/office/drawing/2014/main" id="{CECB90ED-434C-436C-A60F-D97AD87BA1F5}"/>
              </a:ext>
            </a:extLst>
          </p:cNvPr>
          <p:cNvSpPr>
            <a:spLocks noGrp="1"/>
          </p:cNvSpPr>
          <p:nvPr>
            <p:ph type="pic" sz="quarter" idx="16"/>
          </p:nvPr>
        </p:nvSpPr>
        <p:spPr>
          <a:xfrm>
            <a:off x="6096000" y="490538"/>
            <a:ext cx="5740400" cy="1528762"/>
          </a:xfrm>
          <a:solidFill>
            <a:srgbClr val="006D93"/>
          </a:solidFill>
        </p:spPr>
        <p:txBody>
          <a:bodyPr/>
          <a:lstStyle/>
          <a:p>
            <a:endParaRPr lang="pt-BR"/>
          </a:p>
        </p:txBody>
      </p:sp>
      <p:sp>
        <p:nvSpPr>
          <p:cNvPr id="8" name="Espaço Reservado para Imagem 8">
            <a:extLst>
              <a:ext uri="{FF2B5EF4-FFF2-40B4-BE49-F238E27FC236}">
                <a16:creationId xmlns:a16="http://schemas.microsoft.com/office/drawing/2014/main" id="{A33130E3-A69E-47CF-90B9-CA21EE48401F}"/>
              </a:ext>
            </a:extLst>
          </p:cNvPr>
          <p:cNvSpPr>
            <a:spLocks noGrp="1"/>
          </p:cNvSpPr>
          <p:nvPr>
            <p:ph type="pic" sz="quarter" idx="17"/>
          </p:nvPr>
        </p:nvSpPr>
        <p:spPr>
          <a:xfrm>
            <a:off x="6096000" y="2664619"/>
            <a:ext cx="5740400" cy="1528762"/>
          </a:xfrm>
          <a:solidFill>
            <a:srgbClr val="006D93"/>
          </a:solidFill>
        </p:spPr>
        <p:txBody>
          <a:bodyPr/>
          <a:lstStyle/>
          <a:p>
            <a:endParaRPr lang="pt-BR"/>
          </a:p>
        </p:txBody>
      </p:sp>
      <p:sp>
        <p:nvSpPr>
          <p:cNvPr id="10" name="Espaço Reservado para Imagem 8">
            <a:extLst>
              <a:ext uri="{FF2B5EF4-FFF2-40B4-BE49-F238E27FC236}">
                <a16:creationId xmlns:a16="http://schemas.microsoft.com/office/drawing/2014/main" id="{2337E1F5-E209-4227-8447-8BAAE8EB0192}"/>
              </a:ext>
            </a:extLst>
          </p:cNvPr>
          <p:cNvSpPr>
            <a:spLocks noGrp="1"/>
          </p:cNvSpPr>
          <p:nvPr>
            <p:ph type="pic" sz="quarter" idx="18"/>
          </p:nvPr>
        </p:nvSpPr>
        <p:spPr>
          <a:xfrm>
            <a:off x="6096000" y="4838700"/>
            <a:ext cx="5740400" cy="1528762"/>
          </a:xfrm>
          <a:solidFill>
            <a:srgbClr val="006D93"/>
          </a:solidFill>
        </p:spPr>
        <p:txBody>
          <a:bodyPr/>
          <a:lstStyle/>
          <a:p>
            <a:endParaRPr lang="pt-BR"/>
          </a:p>
        </p:txBody>
      </p:sp>
      <p:sp>
        <p:nvSpPr>
          <p:cNvPr id="11" name="Espaço Reservado para Texto 14">
            <a:extLst>
              <a:ext uri="{FF2B5EF4-FFF2-40B4-BE49-F238E27FC236}">
                <a16:creationId xmlns:a16="http://schemas.microsoft.com/office/drawing/2014/main" id="{F132F83C-A303-41CD-886E-F0D02A89EF37}"/>
              </a:ext>
            </a:extLst>
          </p:cNvPr>
          <p:cNvSpPr>
            <a:spLocks noGrp="1"/>
          </p:cNvSpPr>
          <p:nvPr>
            <p:ph type="body" sz="quarter" idx="19"/>
          </p:nvPr>
        </p:nvSpPr>
        <p:spPr>
          <a:xfrm>
            <a:off x="1066800" y="1303016"/>
            <a:ext cx="4546600" cy="21259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381201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Destaque tópico 1">
    <p:spTree>
      <p:nvGrpSpPr>
        <p:cNvPr id="1" name=""/>
        <p:cNvGrpSpPr/>
        <p:nvPr/>
      </p:nvGrpSpPr>
      <p:grpSpPr>
        <a:xfrm>
          <a:off x="0" y="0"/>
          <a:ext cx="0" cy="0"/>
          <a:chOff x="0" y="0"/>
          <a:chExt cx="0" cy="0"/>
        </a:xfrm>
      </p:grpSpPr>
      <p:pic>
        <p:nvPicPr>
          <p:cNvPr id="3" name="Graphic 22">
            <a:extLst>
              <a:ext uri="{FF2B5EF4-FFF2-40B4-BE49-F238E27FC236}">
                <a16:creationId xmlns:a16="http://schemas.microsoft.com/office/drawing/2014/main" id="{42F196A8-7704-456B-9062-598A6FE254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6200000">
            <a:off x="3712713" y="2601131"/>
            <a:ext cx="6858002" cy="1655740"/>
          </a:xfrm>
          <a:prstGeom prst="rect">
            <a:avLst/>
          </a:prstGeom>
        </p:spPr>
      </p:pic>
      <p:sp>
        <p:nvSpPr>
          <p:cNvPr id="4" name="Rectangle 13">
            <a:extLst>
              <a:ext uri="{FF2B5EF4-FFF2-40B4-BE49-F238E27FC236}">
                <a16:creationId xmlns:a16="http://schemas.microsoft.com/office/drawing/2014/main" id="{5D086515-50AE-4A34-BAE8-D41D0187C29E}"/>
              </a:ext>
            </a:extLst>
          </p:cNvPr>
          <p:cNvSpPr/>
          <p:nvPr userDrawn="1"/>
        </p:nvSpPr>
        <p:spPr>
          <a:xfrm>
            <a:off x="7503812" y="0"/>
            <a:ext cx="2511983" cy="6858000"/>
          </a:xfrm>
          <a:prstGeom prst="rect">
            <a:avLst/>
          </a:prstGeom>
          <a:solidFill>
            <a:srgbClr val="DADE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Rectangle 10">
            <a:extLst>
              <a:ext uri="{FF2B5EF4-FFF2-40B4-BE49-F238E27FC236}">
                <a16:creationId xmlns:a16="http://schemas.microsoft.com/office/drawing/2014/main" id="{DAEA1D72-FC36-4D76-B78E-B77CFFB9A98C}"/>
              </a:ext>
            </a:extLst>
          </p:cNvPr>
          <p:cNvSpPr/>
          <p:nvPr userDrawn="1"/>
        </p:nvSpPr>
        <p:spPr>
          <a:xfrm>
            <a:off x="1192161" y="4286250"/>
            <a:ext cx="4662819" cy="252896"/>
          </a:xfrm>
          <a:prstGeom prst="rect">
            <a:avLst/>
          </a:prstGeom>
          <a:solidFill>
            <a:srgbClr val="006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ctangle 20">
            <a:extLst>
              <a:ext uri="{FF2B5EF4-FFF2-40B4-BE49-F238E27FC236}">
                <a16:creationId xmlns:a16="http://schemas.microsoft.com/office/drawing/2014/main" id="{BB35EA88-9A18-45A3-8EE7-26A460BD839B}"/>
              </a:ext>
            </a:extLst>
          </p:cNvPr>
          <p:cNvSpPr/>
          <p:nvPr userDrawn="1"/>
        </p:nvSpPr>
        <p:spPr>
          <a:xfrm>
            <a:off x="5854980" y="4539146"/>
            <a:ext cx="856539" cy="856539"/>
          </a:xfrm>
          <a:prstGeom prst="rect">
            <a:avLst/>
          </a:prstGeom>
          <a:solidFill>
            <a:srgbClr val="97B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ctangle 21">
            <a:extLst>
              <a:ext uri="{FF2B5EF4-FFF2-40B4-BE49-F238E27FC236}">
                <a16:creationId xmlns:a16="http://schemas.microsoft.com/office/drawing/2014/main" id="{F6858CDB-3137-4764-B347-AA4D034560DB}"/>
              </a:ext>
            </a:extLst>
          </p:cNvPr>
          <p:cNvSpPr/>
          <p:nvPr userDrawn="1"/>
        </p:nvSpPr>
        <p:spPr>
          <a:xfrm>
            <a:off x="9356726" y="1"/>
            <a:ext cx="398014" cy="1944204"/>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9" name="Group 24">
            <a:extLst>
              <a:ext uri="{FF2B5EF4-FFF2-40B4-BE49-F238E27FC236}">
                <a16:creationId xmlns:a16="http://schemas.microsoft.com/office/drawing/2014/main" id="{B6C9F094-D991-41A1-B1F1-6451F793370F}"/>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C92766C5-F362-438B-9E8E-6CDAB8FA45B7}"/>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6">
              <a:extLst>
                <a:ext uri="{FF2B5EF4-FFF2-40B4-BE49-F238E27FC236}">
                  <a16:creationId xmlns:a16="http://schemas.microsoft.com/office/drawing/2014/main" id="{B9BF8809-92EB-4CD2-AE96-5636E1FD883D}"/>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7">
              <a:extLst>
                <a:ext uri="{FF2B5EF4-FFF2-40B4-BE49-F238E27FC236}">
                  <a16:creationId xmlns:a16="http://schemas.microsoft.com/office/drawing/2014/main" id="{88C3D509-EF8D-470B-9E28-D2B8B06A052E}"/>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ítulo 14">
            <a:extLst>
              <a:ext uri="{FF2B5EF4-FFF2-40B4-BE49-F238E27FC236}">
                <a16:creationId xmlns:a16="http://schemas.microsoft.com/office/drawing/2014/main" id="{5E6D920B-1014-4E01-95D0-6D746EEF6DE0}"/>
              </a:ext>
            </a:extLst>
          </p:cNvPr>
          <p:cNvSpPr>
            <a:spLocks noGrp="1"/>
          </p:cNvSpPr>
          <p:nvPr>
            <p:ph type="title" hasCustomPrompt="1"/>
          </p:nvPr>
        </p:nvSpPr>
        <p:spPr>
          <a:xfrm>
            <a:off x="1191223" y="1944365"/>
            <a:ext cx="4686934" cy="2304114"/>
          </a:xfrm>
        </p:spPr>
        <p:txBody>
          <a:bodyPr anchor="b"/>
          <a:lstStyle>
            <a:lvl1pPr>
              <a:defRPr>
                <a:latin typeface="Montserrat Medium" panose="00000600000000000000" pitchFamily="2" charset="0"/>
              </a:defRPr>
            </a:lvl1pPr>
          </a:lstStyle>
          <a:p>
            <a:r>
              <a:rPr lang="pt-BR" dirty="0"/>
              <a:t>CLIQUE PARA EDITAR O TÍTULO</a:t>
            </a:r>
          </a:p>
        </p:txBody>
      </p:sp>
      <p:sp>
        <p:nvSpPr>
          <p:cNvPr id="18" name="Espaço Reservado para Imagem 16">
            <a:extLst>
              <a:ext uri="{FF2B5EF4-FFF2-40B4-BE49-F238E27FC236}">
                <a16:creationId xmlns:a16="http://schemas.microsoft.com/office/drawing/2014/main" id="{544C1A3D-A812-4F7F-9B87-D3BFE1A09A4D}"/>
              </a:ext>
            </a:extLst>
          </p:cNvPr>
          <p:cNvSpPr>
            <a:spLocks noGrp="1"/>
          </p:cNvSpPr>
          <p:nvPr>
            <p:ph type="pic" sz="quarter" idx="10"/>
          </p:nvPr>
        </p:nvSpPr>
        <p:spPr>
          <a:xfrm>
            <a:off x="6711950" y="1944688"/>
            <a:ext cx="2644775" cy="2593975"/>
          </a:xfrm>
          <a:solidFill>
            <a:srgbClr val="006D93"/>
          </a:solidFill>
          <a:ln>
            <a:noFill/>
          </a:ln>
        </p:spPr>
        <p:txBody>
          <a:bodyPr anchor="t">
            <a:normAutofit/>
          </a:bodyPr>
          <a:lstStyle>
            <a:lvl1pPr algn="ctr">
              <a:defRPr sz="1200">
                <a:solidFill>
                  <a:schemeClr val="tx1"/>
                </a:solidFill>
              </a:defRPr>
            </a:lvl1pPr>
          </a:lstStyle>
          <a:p>
            <a:endParaRPr lang="pt-BR" dirty="0"/>
          </a:p>
        </p:txBody>
      </p:sp>
      <p:sp>
        <p:nvSpPr>
          <p:cNvPr id="20" name="Espaço Reservado para Imagem 16">
            <a:extLst>
              <a:ext uri="{FF2B5EF4-FFF2-40B4-BE49-F238E27FC236}">
                <a16:creationId xmlns:a16="http://schemas.microsoft.com/office/drawing/2014/main" id="{A62B0548-C414-49EA-9F76-EB0052C7592E}"/>
              </a:ext>
            </a:extLst>
          </p:cNvPr>
          <p:cNvSpPr>
            <a:spLocks noGrp="1"/>
          </p:cNvSpPr>
          <p:nvPr>
            <p:ph type="pic" sz="quarter" idx="11"/>
          </p:nvPr>
        </p:nvSpPr>
        <p:spPr>
          <a:xfrm>
            <a:off x="9356725" y="4538663"/>
            <a:ext cx="2004352" cy="1974357"/>
          </a:xfrm>
          <a:solidFill>
            <a:srgbClr val="74BDE1"/>
          </a:solidFill>
        </p:spPr>
        <p:txBody>
          <a:bodyPr anchor="t">
            <a:normAutofit/>
          </a:bodyPr>
          <a:lstStyle>
            <a:lvl1pPr algn="ctr">
              <a:defRPr sz="1200">
                <a:solidFill>
                  <a:schemeClr val="tx1"/>
                </a:solidFill>
              </a:defRPr>
            </a:lvl1pPr>
          </a:lstStyle>
          <a:p>
            <a:endParaRPr lang="pt-BR" dirty="0"/>
          </a:p>
        </p:txBody>
      </p:sp>
    </p:spTree>
    <p:extLst>
      <p:ext uri="{BB962C8B-B14F-4D97-AF65-F5344CB8AC3E}">
        <p14:creationId xmlns:p14="http://schemas.microsoft.com/office/powerpoint/2010/main" val="952572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Destaque tópico 2">
    <p:spTree>
      <p:nvGrpSpPr>
        <p:cNvPr id="1" name=""/>
        <p:cNvGrpSpPr/>
        <p:nvPr/>
      </p:nvGrpSpPr>
      <p:grpSpPr>
        <a:xfrm>
          <a:off x="0" y="0"/>
          <a:ext cx="0" cy="0"/>
          <a:chOff x="0" y="0"/>
          <a:chExt cx="0" cy="0"/>
        </a:xfrm>
      </p:grpSpPr>
      <p:pic>
        <p:nvPicPr>
          <p:cNvPr id="3" name="Graphic 22">
            <a:extLst>
              <a:ext uri="{FF2B5EF4-FFF2-40B4-BE49-F238E27FC236}">
                <a16:creationId xmlns:a16="http://schemas.microsoft.com/office/drawing/2014/main" id="{4728AD4C-F9F8-469C-8D52-1AC20D2F2C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6200000">
            <a:off x="3712713" y="2601131"/>
            <a:ext cx="6858002" cy="1655740"/>
          </a:xfrm>
          <a:prstGeom prst="rect">
            <a:avLst/>
          </a:prstGeom>
        </p:spPr>
      </p:pic>
      <p:sp>
        <p:nvSpPr>
          <p:cNvPr id="5" name="Rectangle 13">
            <a:extLst>
              <a:ext uri="{FF2B5EF4-FFF2-40B4-BE49-F238E27FC236}">
                <a16:creationId xmlns:a16="http://schemas.microsoft.com/office/drawing/2014/main" id="{0A719D3C-93DB-4AB3-85DD-568DC4356B05}"/>
              </a:ext>
            </a:extLst>
          </p:cNvPr>
          <p:cNvSpPr/>
          <p:nvPr userDrawn="1"/>
        </p:nvSpPr>
        <p:spPr>
          <a:xfrm>
            <a:off x="7503812" y="0"/>
            <a:ext cx="2511983" cy="6858000"/>
          </a:xfrm>
          <a:prstGeom prst="rect">
            <a:avLst/>
          </a:prstGeom>
          <a:solidFill>
            <a:srgbClr val="DADE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ctangle 10">
            <a:extLst>
              <a:ext uri="{FF2B5EF4-FFF2-40B4-BE49-F238E27FC236}">
                <a16:creationId xmlns:a16="http://schemas.microsoft.com/office/drawing/2014/main" id="{A6D1DB11-F5DC-46E9-84D6-4462E2EDA990}"/>
              </a:ext>
            </a:extLst>
          </p:cNvPr>
          <p:cNvSpPr/>
          <p:nvPr userDrawn="1"/>
        </p:nvSpPr>
        <p:spPr>
          <a:xfrm>
            <a:off x="1192161" y="3848100"/>
            <a:ext cx="274689" cy="3009900"/>
          </a:xfrm>
          <a:prstGeom prst="rect">
            <a:avLst/>
          </a:prstGeom>
          <a:solidFill>
            <a:srgbClr val="006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ctangle 20">
            <a:extLst>
              <a:ext uri="{FF2B5EF4-FFF2-40B4-BE49-F238E27FC236}">
                <a16:creationId xmlns:a16="http://schemas.microsoft.com/office/drawing/2014/main" id="{8B7A8FD3-6AF5-4433-86ED-9DA648A128CD}"/>
              </a:ext>
            </a:extLst>
          </p:cNvPr>
          <p:cNvSpPr/>
          <p:nvPr userDrawn="1"/>
        </p:nvSpPr>
        <p:spPr>
          <a:xfrm>
            <a:off x="5885574" y="4571886"/>
            <a:ext cx="856539" cy="856539"/>
          </a:xfrm>
          <a:prstGeom prst="rect">
            <a:avLst/>
          </a:prstGeom>
          <a:solidFill>
            <a:srgbClr val="97B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ctangle 21">
            <a:extLst>
              <a:ext uri="{FF2B5EF4-FFF2-40B4-BE49-F238E27FC236}">
                <a16:creationId xmlns:a16="http://schemas.microsoft.com/office/drawing/2014/main" id="{C105C129-F61E-4FD2-8D5E-11D3C682F877}"/>
              </a:ext>
            </a:extLst>
          </p:cNvPr>
          <p:cNvSpPr/>
          <p:nvPr userDrawn="1"/>
        </p:nvSpPr>
        <p:spPr>
          <a:xfrm>
            <a:off x="9357064" y="0"/>
            <a:ext cx="397675" cy="1950585"/>
          </a:xfrm>
          <a:prstGeom prst="rect">
            <a:avLst/>
          </a:prstGeom>
          <a:solidFill>
            <a:srgbClr val="5D93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0" name="Group 24">
            <a:extLst>
              <a:ext uri="{FF2B5EF4-FFF2-40B4-BE49-F238E27FC236}">
                <a16:creationId xmlns:a16="http://schemas.microsoft.com/office/drawing/2014/main" id="{DEB2DD15-3EBA-497C-9DAA-EFCFC818DBD8}"/>
              </a:ext>
            </a:extLst>
          </p:cNvPr>
          <p:cNvGrpSpPr/>
          <p:nvPr userDrawn="1"/>
        </p:nvGrpSpPr>
        <p:grpSpPr>
          <a:xfrm>
            <a:off x="11571410" y="237255"/>
            <a:ext cx="405420" cy="405472"/>
            <a:chOff x="9847755" y="226389"/>
            <a:chExt cx="516502" cy="516568"/>
          </a:xfrm>
        </p:grpSpPr>
        <p:sp>
          <p:nvSpPr>
            <p:cNvPr id="11" name="Rectangle 25">
              <a:extLst>
                <a:ext uri="{FF2B5EF4-FFF2-40B4-BE49-F238E27FC236}">
                  <a16:creationId xmlns:a16="http://schemas.microsoft.com/office/drawing/2014/main" id="{465A5CCD-538E-4CFA-A713-56C4B1A6D44D}"/>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F9B650BA-CBEE-4089-9ACC-F2CB417620FD}"/>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27">
              <a:extLst>
                <a:ext uri="{FF2B5EF4-FFF2-40B4-BE49-F238E27FC236}">
                  <a16:creationId xmlns:a16="http://schemas.microsoft.com/office/drawing/2014/main" id="{7BFF734E-0E8E-4C3B-BF15-707946C18508}"/>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Título 15">
            <a:extLst>
              <a:ext uri="{FF2B5EF4-FFF2-40B4-BE49-F238E27FC236}">
                <a16:creationId xmlns:a16="http://schemas.microsoft.com/office/drawing/2014/main" id="{09502A3F-BB55-47B2-ADE1-9246D9D61A9C}"/>
              </a:ext>
            </a:extLst>
          </p:cNvPr>
          <p:cNvSpPr>
            <a:spLocks noGrp="1"/>
          </p:cNvSpPr>
          <p:nvPr>
            <p:ph type="title" hasCustomPrompt="1"/>
          </p:nvPr>
        </p:nvSpPr>
        <p:spPr>
          <a:xfrm>
            <a:off x="1112929" y="1950585"/>
            <a:ext cx="4235467" cy="1897515"/>
          </a:xfrm>
        </p:spPr>
        <p:txBody>
          <a:bodyPr anchor="b"/>
          <a:lstStyle>
            <a:lvl1pPr>
              <a:defRPr>
                <a:latin typeface="Montserrat Medium" panose="00000600000000000000" pitchFamily="2" charset="0"/>
              </a:defRPr>
            </a:lvl1pPr>
          </a:lstStyle>
          <a:p>
            <a:r>
              <a:rPr lang="pt-BR" dirty="0"/>
              <a:t>CLIQUE PARA EDITAR O TÍTULO</a:t>
            </a:r>
          </a:p>
        </p:txBody>
      </p:sp>
      <p:sp>
        <p:nvSpPr>
          <p:cNvPr id="23" name="Espaço Reservado para Imagem 20">
            <a:extLst>
              <a:ext uri="{FF2B5EF4-FFF2-40B4-BE49-F238E27FC236}">
                <a16:creationId xmlns:a16="http://schemas.microsoft.com/office/drawing/2014/main" id="{4B4364CA-A850-46AE-9472-922587737002}"/>
              </a:ext>
            </a:extLst>
          </p:cNvPr>
          <p:cNvSpPr>
            <a:spLocks noGrp="1"/>
          </p:cNvSpPr>
          <p:nvPr>
            <p:ph type="pic" sz="quarter" idx="10"/>
          </p:nvPr>
        </p:nvSpPr>
        <p:spPr>
          <a:xfrm>
            <a:off x="5348288" y="563110"/>
            <a:ext cx="1387475" cy="1387475"/>
          </a:xfrm>
          <a:solidFill>
            <a:srgbClr val="74BDE1"/>
          </a:solidFill>
        </p:spPr>
        <p:txBody>
          <a:bodyPr>
            <a:normAutofit/>
          </a:bodyPr>
          <a:lstStyle>
            <a:lvl1pPr algn="ctr">
              <a:defRPr sz="1200">
                <a:solidFill>
                  <a:schemeClr val="tx1"/>
                </a:solidFill>
              </a:defRPr>
            </a:lvl1pPr>
          </a:lstStyle>
          <a:p>
            <a:endParaRPr lang="pt-BR" dirty="0"/>
          </a:p>
        </p:txBody>
      </p:sp>
      <p:sp>
        <p:nvSpPr>
          <p:cNvPr id="24" name="Espaço Reservado para Imagem 20">
            <a:extLst>
              <a:ext uri="{FF2B5EF4-FFF2-40B4-BE49-F238E27FC236}">
                <a16:creationId xmlns:a16="http://schemas.microsoft.com/office/drawing/2014/main" id="{F97A0732-FD75-49CD-838A-5837810203FE}"/>
              </a:ext>
            </a:extLst>
          </p:cNvPr>
          <p:cNvSpPr>
            <a:spLocks noGrp="1"/>
          </p:cNvSpPr>
          <p:nvPr>
            <p:ph type="pic" sz="quarter" idx="12"/>
          </p:nvPr>
        </p:nvSpPr>
        <p:spPr>
          <a:xfrm>
            <a:off x="6735763" y="1950585"/>
            <a:ext cx="2621301" cy="2621301"/>
          </a:xfrm>
          <a:solidFill>
            <a:srgbClr val="006D93"/>
          </a:solidFill>
        </p:spPr>
        <p:txBody>
          <a:bodyPr>
            <a:normAutofit/>
          </a:bodyPr>
          <a:lstStyle>
            <a:lvl1pPr algn="ctr">
              <a:defRPr sz="1200">
                <a:solidFill>
                  <a:schemeClr val="tx1"/>
                </a:solidFill>
              </a:defRPr>
            </a:lvl1pPr>
          </a:lstStyle>
          <a:p>
            <a:endParaRPr lang="pt-BR" dirty="0"/>
          </a:p>
        </p:txBody>
      </p:sp>
    </p:spTree>
    <p:extLst>
      <p:ext uri="{BB962C8B-B14F-4D97-AF65-F5344CB8AC3E}">
        <p14:creationId xmlns:p14="http://schemas.microsoft.com/office/powerpoint/2010/main" val="1026235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ópico + imagem direita">
    <p:spTree>
      <p:nvGrpSpPr>
        <p:cNvPr id="1" name=""/>
        <p:cNvGrpSpPr/>
        <p:nvPr/>
      </p:nvGrpSpPr>
      <p:grpSpPr>
        <a:xfrm>
          <a:off x="0" y="0"/>
          <a:ext cx="0" cy="0"/>
          <a:chOff x="0" y="0"/>
          <a:chExt cx="0" cy="0"/>
        </a:xfrm>
      </p:grpSpPr>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hasCustomPrompt="1"/>
          </p:nvPr>
        </p:nvSpPr>
        <p:spPr>
          <a:xfrm>
            <a:off x="838200" y="1291771"/>
            <a:ext cx="5969000" cy="4274456"/>
          </a:xfrm>
          <a:prstGeom prst="rect">
            <a:avLst/>
          </a:prstGeom>
        </p:spPr>
        <p:txBody>
          <a:bodyPr vert="horz" lIns="91440" tIns="45720" rIns="91440" bIns="45720" rtlCol="0" anchor="ctr">
            <a:normAutofit/>
          </a:bodyPr>
          <a:lstStyle>
            <a:lvl1pPr algn="r">
              <a:defRPr>
                <a:solidFill>
                  <a:srgbClr val="313847"/>
                </a:solidFill>
                <a:latin typeface="Montserrat Medium" panose="00000600000000000000" pitchFamily="2" charset="0"/>
              </a:defRPr>
            </a:lvl1pPr>
          </a:lstStyle>
          <a:p>
            <a:r>
              <a:rPr lang="pt-BR" dirty="0"/>
              <a:t>CLIQUE PARA EDITAR O TÍTULO MESTRE</a:t>
            </a:r>
          </a:p>
        </p:txBody>
      </p:sp>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a:off x="7489373" y="0"/>
            <a:ext cx="4702628" cy="6857999"/>
          </a:xfrm>
          <a:solidFill>
            <a:srgbClr val="006D93"/>
          </a:solidFill>
        </p:spPr>
        <p:txBody>
          <a:bodyPr/>
          <a:lstStyle>
            <a:lvl1pPr algn="ctr">
              <a:defRPr>
                <a:solidFill>
                  <a:schemeClr val="tx1"/>
                </a:solidFill>
              </a:defRPr>
            </a:lvl1pPr>
          </a:lstStyle>
          <a:p>
            <a:endParaRPr lang="pt-BR"/>
          </a:p>
        </p:txBody>
      </p:sp>
      <p:sp>
        <p:nvSpPr>
          <p:cNvPr id="25" name="Rectangle 18">
            <a:extLst>
              <a:ext uri="{FF2B5EF4-FFF2-40B4-BE49-F238E27FC236}">
                <a16:creationId xmlns:a16="http://schemas.microsoft.com/office/drawing/2014/main" id="{BA8576F5-0583-4B20-9914-E183C229BF57}"/>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7" name="Rectangle 18">
            <a:extLst>
              <a:ext uri="{FF2B5EF4-FFF2-40B4-BE49-F238E27FC236}">
                <a16:creationId xmlns:a16="http://schemas.microsoft.com/office/drawing/2014/main" id="{094EB730-B196-40BA-9441-E992B3560F59}"/>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8571292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ópico + Parágrafo + Imagem Direita">
    <p:spTree>
      <p:nvGrpSpPr>
        <p:cNvPr id="1" name=""/>
        <p:cNvGrpSpPr/>
        <p:nvPr/>
      </p:nvGrpSpPr>
      <p:grpSpPr>
        <a:xfrm>
          <a:off x="0" y="0"/>
          <a:ext cx="0" cy="0"/>
          <a:chOff x="0" y="0"/>
          <a:chExt cx="0" cy="0"/>
        </a:xfrm>
      </p:grpSpPr>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hasCustomPrompt="1"/>
          </p:nvPr>
        </p:nvSpPr>
        <p:spPr>
          <a:xfrm>
            <a:off x="838200" y="1579335"/>
            <a:ext cx="5969000" cy="1413329"/>
          </a:xfrm>
          <a:prstGeom prst="rect">
            <a:avLst/>
          </a:prstGeom>
        </p:spPr>
        <p:txBody>
          <a:bodyPr vert="horz" lIns="91440" tIns="45720" rIns="91440" bIns="45720" rtlCol="0" anchor="b">
            <a:normAutofit/>
          </a:bodyPr>
          <a:lstStyle>
            <a:lvl1pPr algn="r">
              <a:defRPr>
                <a:solidFill>
                  <a:srgbClr val="313847"/>
                </a:solidFill>
                <a:latin typeface="Montserrat Medium" panose="00000600000000000000" pitchFamily="2" charset="0"/>
              </a:defRPr>
            </a:lvl1pPr>
          </a:lstStyle>
          <a:p>
            <a:r>
              <a:rPr lang="pt-BR" dirty="0"/>
              <a:t>CLIQUE PARA EDITAR O TÍTULO</a:t>
            </a:r>
          </a:p>
        </p:txBody>
      </p:sp>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a:off x="7489373" y="0"/>
            <a:ext cx="4702628" cy="6857999"/>
          </a:xfrm>
          <a:solidFill>
            <a:srgbClr val="006D93"/>
          </a:solidFill>
        </p:spPr>
        <p:txBody>
          <a:bodyPr/>
          <a:lstStyle>
            <a:lvl1pPr algn="ctr">
              <a:defRPr>
                <a:solidFill>
                  <a:schemeClr val="tx1"/>
                </a:solidFill>
              </a:defRPr>
            </a:lvl1pPr>
          </a:lstStyle>
          <a:p>
            <a:endParaRPr lang="pt-BR"/>
          </a:p>
        </p:txBody>
      </p:sp>
      <p:sp>
        <p:nvSpPr>
          <p:cNvPr id="27" name="Rectangle 18">
            <a:extLst>
              <a:ext uri="{FF2B5EF4-FFF2-40B4-BE49-F238E27FC236}">
                <a16:creationId xmlns:a16="http://schemas.microsoft.com/office/drawing/2014/main" id="{094EB730-B196-40BA-9441-E992B3560F59}"/>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 name="Espaço Reservado para Texto 2">
            <a:extLst>
              <a:ext uri="{FF2B5EF4-FFF2-40B4-BE49-F238E27FC236}">
                <a16:creationId xmlns:a16="http://schemas.microsoft.com/office/drawing/2014/main" id="{D0177C09-1F37-4EBF-A6DB-3E31FE6DFDEC}"/>
              </a:ext>
            </a:extLst>
          </p:cNvPr>
          <p:cNvSpPr>
            <a:spLocks noGrp="1"/>
          </p:cNvSpPr>
          <p:nvPr>
            <p:ph type="body" sz="quarter" idx="11" hasCustomPrompt="1"/>
          </p:nvPr>
        </p:nvSpPr>
        <p:spPr>
          <a:xfrm>
            <a:off x="819150" y="3429000"/>
            <a:ext cx="6019800" cy="2840038"/>
          </a:xfrm>
        </p:spPr>
        <p:txBody>
          <a:bodyPr>
            <a:normAutofit/>
          </a:bodyPr>
          <a:lstStyle>
            <a:lvl1pPr marL="0" indent="0" algn="r">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a:t>
            </a:r>
            <a:r>
              <a:rPr lang="pt-BR" dirty="0" err="1"/>
              <a:t>odio</a:t>
            </a:r>
            <a:r>
              <a:rPr lang="pt-BR" dirty="0"/>
              <a:t>. </a:t>
            </a:r>
          </a:p>
        </p:txBody>
      </p:sp>
      <p:sp>
        <p:nvSpPr>
          <p:cNvPr id="8" name="Rectangle 18">
            <a:extLst>
              <a:ext uri="{FF2B5EF4-FFF2-40B4-BE49-F238E27FC236}">
                <a16:creationId xmlns:a16="http://schemas.microsoft.com/office/drawing/2014/main" id="{97A2BC5F-8483-4EBA-B09E-6C2279585DBE}"/>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3" name="Espaço Reservado para Texto 2">
            <a:extLst>
              <a:ext uri="{FF2B5EF4-FFF2-40B4-BE49-F238E27FC236}">
                <a16:creationId xmlns:a16="http://schemas.microsoft.com/office/drawing/2014/main" id="{3CF3142B-AC2C-48F6-ABEC-96E7A28835B8}"/>
              </a:ext>
            </a:extLst>
          </p:cNvPr>
          <p:cNvSpPr>
            <a:spLocks noGrp="1"/>
          </p:cNvSpPr>
          <p:nvPr>
            <p:ph type="body" sz="quarter" idx="12" hasCustomPrompt="1"/>
          </p:nvPr>
        </p:nvSpPr>
        <p:spPr>
          <a:xfrm flipH="1">
            <a:off x="507998" y="588963"/>
            <a:ext cx="6299201" cy="430212"/>
          </a:xfrm>
        </p:spPr>
        <p:txBody>
          <a:bodyPr vert="horz" lIns="91440" tIns="45720" rIns="91440" bIns="45720" rtlCol="0" anchor="b">
            <a:normAutofit/>
          </a:bodyPr>
          <a:lstStyle>
            <a:lvl1pPr algn="r">
              <a:defRPr lang="pt-BR" dirty="0">
                <a:solidFill>
                  <a:srgbClr val="006D93"/>
                </a:solidFill>
                <a:latin typeface="Montserrat Medium" panose="00000600000000000000" pitchFamily="2" charset="0"/>
                <a:ea typeface="+mj-ea"/>
                <a:cs typeface="+mj-cs"/>
              </a:defRPr>
            </a:lvl1pPr>
          </a:lstStyle>
          <a:p>
            <a:pPr lvl="0">
              <a:spcBef>
                <a:spcPct val="0"/>
              </a:spcBef>
            </a:pPr>
            <a:r>
              <a:rPr lang="pt-BR" dirty="0"/>
              <a:t>TÓPICO</a:t>
            </a:r>
          </a:p>
        </p:txBody>
      </p:sp>
    </p:spTree>
    <p:extLst>
      <p:ext uri="{BB962C8B-B14F-4D97-AF65-F5344CB8AC3E}">
        <p14:creationId xmlns:p14="http://schemas.microsoft.com/office/powerpoint/2010/main" val="1183795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Tópico + imagem direit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4688113" y="0"/>
            <a:ext cx="7489373" cy="6857999"/>
          </a:xfrm>
          <a:solidFill>
            <a:srgbClr val="006D93"/>
          </a:solidFill>
        </p:spPr>
        <p:txBody>
          <a:bodyPr/>
          <a:lstStyle>
            <a:lvl1pPr algn="ctr">
              <a:defRPr>
                <a:solidFill>
                  <a:schemeClr val="tx1"/>
                </a:solidFill>
              </a:defRPr>
            </a:lvl1pPr>
          </a:lstStyle>
          <a:p>
            <a:endParaRPr lang="pt-BR"/>
          </a:p>
        </p:txBody>
      </p:sp>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p:nvPr>
        </p:nvSpPr>
        <p:spPr>
          <a:xfrm flipH="1">
            <a:off x="508000" y="595086"/>
            <a:ext cx="3657600" cy="5689599"/>
          </a:xfrm>
          <a:prstGeom prst="rect">
            <a:avLst/>
          </a:prstGeom>
        </p:spPr>
        <p:txBody>
          <a:bodyPr vert="horz" lIns="91440" tIns="45720" rIns="91440" bIns="45720" rtlCol="0" anchor="ctr">
            <a:normAutofit/>
          </a:bodyPr>
          <a:lstStyle>
            <a:lvl1pPr algn="r">
              <a:defRPr sz="3600">
                <a:solidFill>
                  <a:srgbClr val="313847"/>
                </a:solidFill>
                <a:latin typeface="Montserrat Medium" panose="00000600000000000000" pitchFamily="2" charset="0"/>
              </a:defRPr>
            </a:lvl1pPr>
          </a:lstStyle>
          <a:p>
            <a:r>
              <a:rPr lang="pt-BR" dirty="0"/>
              <a:t>Clique para editar o título Mestre</a:t>
            </a:r>
          </a:p>
        </p:txBody>
      </p:sp>
      <p:sp>
        <p:nvSpPr>
          <p:cNvPr id="6" name="Rectangle 18">
            <a:extLst>
              <a:ext uri="{FF2B5EF4-FFF2-40B4-BE49-F238E27FC236}">
                <a16:creationId xmlns:a16="http://schemas.microsoft.com/office/drawing/2014/main" id="{6233913D-9D5A-4A07-991A-4AFE3A74DA4E}"/>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Rectangle 18">
            <a:extLst>
              <a:ext uri="{FF2B5EF4-FFF2-40B4-BE49-F238E27FC236}">
                <a16:creationId xmlns:a16="http://schemas.microsoft.com/office/drawing/2014/main" id="{D4525265-1703-43BA-AD0E-24D5CC0054CC}"/>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1349978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Tópico + Parágrafo + imagem direit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4688113" y="0"/>
            <a:ext cx="7489373" cy="6857999"/>
          </a:xfrm>
          <a:solidFill>
            <a:srgbClr val="006D93"/>
          </a:solidFill>
        </p:spPr>
        <p:txBody>
          <a:bodyPr/>
          <a:lstStyle>
            <a:lvl1pPr algn="ctr">
              <a:defRPr>
                <a:solidFill>
                  <a:schemeClr val="tx1"/>
                </a:solidFill>
              </a:defRPr>
            </a:lvl1pPr>
          </a:lstStyle>
          <a:p>
            <a:endParaRPr lang="pt-BR"/>
          </a:p>
        </p:txBody>
      </p:sp>
      <p:sp>
        <p:nvSpPr>
          <p:cNvPr id="6" name="Rectangle 18">
            <a:extLst>
              <a:ext uri="{FF2B5EF4-FFF2-40B4-BE49-F238E27FC236}">
                <a16:creationId xmlns:a16="http://schemas.microsoft.com/office/drawing/2014/main" id="{6233913D-9D5A-4A07-991A-4AFE3A74DA4E}"/>
              </a:ext>
            </a:extLst>
          </p:cNvPr>
          <p:cNvSpPr/>
          <p:nvPr userDrawn="1"/>
        </p:nvSpPr>
        <p:spPr>
          <a:xfrm rot="16200000">
            <a:off x="8596088"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4" name="Espaço Reservado para Texto 2">
            <a:extLst>
              <a:ext uri="{FF2B5EF4-FFF2-40B4-BE49-F238E27FC236}">
                <a16:creationId xmlns:a16="http://schemas.microsoft.com/office/drawing/2014/main" id="{A040D34D-F21E-4E6F-9582-CE95E1370F24}"/>
              </a:ext>
            </a:extLst>
          </p:cNvPr>
          <p:cNvSpPr>
            <a:spLocks noGrp="1"/>
          </p:cNvSpPr>
          <p:nvPr>
            <p:ph type="body" sz="quarter" idx="11" hasCustomPrompt="1"/>
          </p:nvPr>
        </p:nvSpPr>
        <p:spPr>
          <a:xfrm>
            <a:off x="611086" y="3429000"/>
            <a:ext cx="3586264" cy="2840038"/>
          </a:xfrm>
        </p:spPr>
        <p:txBody>
          <a:bodyPr>
            <a:normAutofit/>
          </a:bodyPr>
          <a:lstStyle>
            <a:lvl1pPr marL="0" indent="0" algn="r">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
        <p:nvSpPr>
          <p:cNvPr id="8" name="Rectangle 18">
            <a:extLst>
              <a:ext uri="{FF2B5EF4-FFF2-40B4-BE49-F238E27FC236}">
                <a16:creationId xmlns:a16="http://schemas.microsoft.com/office/drawing/2014/main" id="{BD1BE496-7620-4B84-9C1F-1DDBC160421C}"/>
              </a:ext>
            </a:extLst>
          </p:cNvPr>
          <p:cNvSpPr/>
          <p:nvPr userDrawn="1"/>
        </p:nvSpPr>
        <p:spPr>
          <a:xfrm>
            <a:off x="0"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Espaço Reservado para Título 6">
            <a:extLst>
              <a:ext uri="{FF2B5EF4-FFF2-40B4-BE49-F238E27FC236}">
                <a16:creationId xmlns:a16="http://schemas.microsoft.com/office/drawing/2014/main" id="{3FEC0A3C-D381-48AE-A675-E7376A95A4AA}"/>
              </a:ext>
            </a:extLst>
          </p:cNvPr>
          <p:cNvSpPr>
            <a:spLocks noGrp="1"/>
          </p:cNvSpPr>
          <p:nvPr>
            <p:ph type="title"/>
          </p:nvPr>
        </p:nvSpPr>
        <p:spPr>
          <a:xfrm flipH="1">
            <a:off x="508000" y="1276349"/>
            <a:ext cx="3657600" cy="1771651"/>
          </a:xfrm>
          <a:prstGeom prst="rect">
            <a:avLst/>
          </a:prstGeom>
        </p:spPr>
        <p:txBody>
          <a:bodyPr vert="horz" lIns="91440" tIns="45720" rIns="91440" bIns="45720" rtlCol="0" anchor="b">
            <a:normAutofit/>
          </a:bodyPr>
          <a:lstStyle>
            <a:lvl1pPr algn="r">
              <a:defRPr sz="3200">
                <a:solidFill>
                  <a:srgbClr val="313847"/>
                </a:solidFill>
                <a:latin typeface="Montserrat Medium" panose="00000600000000000000" pitchFamily="2" charset="0"/>
              </a:defRPr>
            </a:lvl1pPr>
          </a:lstStyle>
          <a:p>
            <a:r>
              <a:rPr lang="pt-BR" dirty="0"/>
              <a:t>Clique para editar o título Mestre</a:t>
            </a:r>
          </a:p>
        </p:txBody>
      </p:sp>
      <p:sp>
        <p:nvSpPr>
          <p:cNvPr id="12" name="Espaço Reservado para Texto 2">
            <a:extLst>
              <a:ext uri="{FF2B5EF4-FFF2-40B4-BE49-F238E27FC236}">
                <a16:creationId xmlns:a16="http://schemas.microsoft.com/office/drawing/2014/main" id="{41BF568E-DAC7-4897-B651-CCA4F51B8AD2}"/>
              </a:ext>
            </a:extLst>
          </p:cNvPr>
          <p:cNvSpPr>
            <a:spLocks noGrp="1"/>
          </p:cNvSpPr>
          <p:nvPr>
            <p:ph type="body" sz="quarter" idx="12" hasCustomPrompt="1"/>
          </p:nvPr>
        </p:nvSpPr>
        <p:spPr>
          <a:xfrm flipH="1">
            <a:off x="507999" y="588963"/>
            <a:ext cx="3657599" cy="430212"/>
          </a:xfrm>
        </p:spPr>
        <p:txBody>
          <a:bodyPr vert="horz" lIns="91440" tIns="45720" rIns="91440" bIns="45720" rtlCol="0" anchor="b">
            <a:normAutofit/>
          </a:bodyPr>
          <a:lstStyle>
            <a:lvl1pPr algn="r">
              <a:defRPr lang="pt-BR" dirty="0">
                <a:solidFill>
                  <a:srgbClr val="006D93"/>
                </a:solidFill>
                <a:latin typeface="Montserrat Medium" panose="00000600000000000000" pitchFamily="2" charset="0"/>
                <a:ea typeface="+mj-ea"/>
                <a:cs typeface="+mj-cs"/>
              </a:defRPr>
            </a:lvl1pPr>
          </a:lstStyle>
          <a:p>
            <a:pPr lvl="0">
              <a:spcBef>
                <a:spcPct val="0"/>
              </a:spcBef>
            </a:pPr>
            <a:r>
              <a:rPr lang="pt-BR" dirty="0"/>
              <a:t>TÓPICO</a:t>
            </a:r>
          </a:p>
        </p:txBody>
      </p:sp>
    </p:spTree>
    <p:extLst>
      <p:ext uri="{BB962C8B-B14F-4D97-AF65-F5344CB8AC3E}">
        <p14:creationId xmlns:p14="http://schemas.microsoft.com/office/powerpoint/2010/main" val="2738504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Tópico + imagem esquerda pequena">
    <p:spTree>
      <p:nvGrpSpPr>
        <p:cNvPr id="1" name=""/>
        <p:cNvGrpSpPr/>
        <p:nvPr/>
      </p:nvGrpSpPr>
      <p:grpSpPr>
        <a:xfrm>
          <a:off x="0" y="0"/>
          <a:ext cx="0" cy="0"/>
          <a:chOff x="0" y="0"/>
          <a:chExt cx="0" cy="0"/>
        </a:xfrm>
      </p:grpSpPr>
      <p:sp>
        <p:nvSpPr>
          <p:cNvPr id="7" name="Espaço Reservado para Imagem 10">
            <a:extLst>
              <a:ext uri="{FF2B5EF4-FFF2-40B4-BE49-F238E27FC236}">
                <a16:creationId xmlns:a16="http://schemas.microsoft.com/office/drawing/2014/main" id="{CEC95818-4855-40B6-9119-A1DFF4DD5280}"/>
              </a:ext>
            </a:extLst>
          </p:cNvPr>
          <p:cNvSpPr>
            <a:spLocks noGrp="1"/>
          </p:cNvSpPr>
          <p:nvPr>
            <p:ph type="pic" sz="quarter" idx="10"/>
          </p:nvPr>
        </p:nvSpPr>
        <p:spPr>
          <a:xfrm>
            <a:off x="0" y="0"/>
            <a:ext cx="4702628" cy="6857999"/>
          </a:xfrm>
          <a:solidFill>
            <a:srgbClr val="006D93"/>
          </a:solidFill>
        </p:spPr>
        <p:txBody>
          <a:bodyPr/>
          <a:lstStyle>
            <a:lvl1pPr algn="ctr">
              <a:defRPr>
                <a:solidFill>
                  <a:schemeClr val="tx1"/>
                </a:solidFill>
              </a:defRPr>
            </a:lvl1pPr>
          </a:lstStyle>
          <a:p>
            <a:endParaRPr lang="pt-BR"/>
          </a:p>
        </p:txBody>
      </p:sp>
      <p:sp>
        <p:nvSpPr>
          <p:cNvPr id="8" name="Espaço Reservado para Título 6">
            <a:extLst>
              <a:ext uri="{FF2B5EF4-FFF2-40B4-BE49-F238E27FC236}">
                <a16:creationId xmlns:a16="http://schemas.microsoft.com/office/drawing/2014/main" id="{5965C689-1BD3-423F-A56F-AB9194FE2A9C}"/>
              </a:ext>
            </a:extLst>
          </p:cNvPr>
          <p:cNvSpPr>
            <a:spLocks noGrp="1"/>
          </p:cNvSpPr>
          <p:nvPr>
            <p:ph type="title"/>
          </p:nvPr>
        </p:nvSpPr>
        <p:spPr>
          <a:xfrm>
            <a:off x="5381172" y="1291771"/>
            <a:ext cx="5969000" cy="4274456"/>
          </a:xfrm>
          <a:prstGeom prst="rect">
            <a:avLst/>
          </a:prstGeom>
        </p:spPr>
        <p:txBody>
          <a:bodyPr vert="horz" lIns="91440" tIns="45720" rIns="91440" bIns="45720" rtlCol="0" anchor="ctr">
            <a:normAutofit/>
          </a:bodyPr>
          <a:lstStyle>
            <a:lvl1pPr algn="l">
              <a:defRPr>
                <a:solidFill>
                  <a:srgbClr val="313847"/>
                </a:solidFill>
                <a:latin typeface="Montserrat Medium" panose="00000600000000000000" pitchFamily="2" charset="0"/>
              </a:defRPr>
            </a:lvl1pPr>
          </a:lstStyle>
          <a:p>
            <a:r>
              <a:rPr lang="pt-BR" dirty="0"/>
              <a:t>Clique para editar o título Mestre</a:t>
            </a:r>
          </a:p>
        </p:txBody>
      </p:sp>
      <p:sp>
        <p:nvSpPr>
          <p:cNvPr id="11" name="Rectangle 18">
            <a:extLst>
              <a:ext uri="{FF2B5EF4-FFF2-40B4-BE49-F238E27FC236}">
                <a16:creationId xmlns:a16="http://schemas.microsoft.com/office/drawing/2014/main" id="{D77A4F3F-9DD8-4B03-B2DA-07993234DC33}"/>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Rectangle 18">
            <a:extLst>
              <a:ext uri="{FF2B5EF4-FFF2-40B4-BE49-F238E27FC236}">
                <a16:creationId xmlns:a16="http://schemas.microsoft.com/office/drawing/2014/main" id="{11BB2843-3CD8-44BC-8755-56EDA97281E4}"/>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9" name="Group 24">
            <a:extLst>
              <a:ext uri="{FF2B5EF4-FFF2-40B4-BE49-F238E27FC236}">
                <a16:creationId xmlns:a16="http://schemas.microsoft.com/office/drawing/2014/main" id="{F88EB72E-B24D-4E57-BAB5-2A4342703F64}"/>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F1D08435-47EA-4A25-9261-E8F67DAD25EF}"/>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F2EC54EF-3A53-4045-BD5C-0A288D21FDA9}"/>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27">
              <a:extLst>
                <a:ext uri="{FF2B5EF4-FFF2-40B4-BE49-F238E27FC236}">
                  <a16:creationId xmlns:a16="http://schemas.microsoft.com/office/drawing/2014/main" id="{A35083AC-2DA4-456E-BEF7-3A35B86EC78F}"/>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06042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_Tópico + imagem esquerda pequena">
    <p:spTree>
      <p:nvGrpSpPr>
        <p:cNvPr id="1" name=""/>
        <p:cNvGrpSpPr/>
        <p:nvPr/>
      </p:nvGrpSpPr>
      <p:grpSpPr>
        <a:xfrm>
          <a:off x="0" y="0"/>
          <a:ext cx="0" cy="0"/>
          <a:chOff x="0" y="0"/>
          <a:chExt cx="0" cy="0"/>
        </a:xfrm>
      </p:grpSpPr>
      <p:sp>
        <p:nvSpPr>
          <p:cNvPr id="7" name="Espaço Reservado para Imagem 10">
            <a:extLst>
              <a:ext uri="{FF2B5EF4-FFF2-40B4-BE49-F238E27FC236}">
                <a16:creationId xmlns:a16="http://schemas.microsoft.com/office/drawing/2014/main" id="{CEC95818-4855-40B6-9119-A1DFF4DD5280}"/>
              </a:ext>
            </a:extLst>
          </p:cNvPr>
          <p:cNvSpPr>
            <a:spLocks noGrp="1"/>
          </p:cNvSpPr>
          <p:nvPr>
            <p:ph type="pic" sz="quarter" idx="10"/>
          </p:nvPr>
        </p:nvSpPr>
        <p:spPr>
          <a:xfrm>
            <a:off x="0" y="0"/>
            <a:ext cx="4702628" cy="6857999"/>
          </a:xfrm>
          <a:solidFill>
            <a:srgbClr val="006D93"/>
          </a:solidFill>
        </p:spPr>
        <p:txBody>
          <a:bodyPr/>
          <a:lstStyle>
            <a:lvl1pPr algn="ctr">
              <a:defRPr>
                <a:solidFill>
                  <a:schemeClr val="tx1"/>
                </a:solidFill>
              </a:defRPr>
            </a:lvl1pPr>
          </a:lstStyle>
          <a:p>
            <a:endParaRPr lang="pt-BR" dirty="0"/>
          </a:p>
        </p:txBody>
      </p:sp>
      <p:sp>
        <p:nvSpPr>
          <p:cNvPr id="11" name="Rectangle 18">
            <a:extLst>
              <a:ext uri="{FF2B5EF4-FFF2-40B4-BE49-F238E27FC236}">
                <a16:creationId xmlns:a16="http://schemas.microsoft.com/office/drawing/2014/main" id="{D77A4F3F-9DD8-4B03-B2DA-07993234DC33}"/>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Espaço Reservado para Texto 2">
            <a:extLst>
              <a:ext uri="{FF2B5EF4-FFF2-40B4-BE49-F238E27FC236}">
                <a16:creationId xmlns:a16="http://schemas.microsoft.com/office/drawing/2014/main" id="{BFE48FD9-AB7E-4DB2-B1B3-390085919E58}"/>
              </a:ext>
            </a:extLst>
          </p:cNvPr>
          <p:cNvSpPr>
            <a:spLocks noGrp="1"/>
          </p:cNvSpPr>
          <p:nvPr>
            <p:ph type="body" sz="quarter" idx="11" hasCustomPrompt="1"/>
          </p:nvPr>
        </p:nvSpPr>
        <p:spPr>
          <a:xfrm>
            <a:off x="5381172" y="3429000"/>
            <a:ext cx="6019800" cy="2840038"/>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a:t>
            </a:r>
            <a:r>
              <a:rPr lang="pt-BR" dirty="0" err="1"/>
              <a:t>odio</a:t>
            </a:r>
            <a:r>
              <a:rPr lang="pt-BR" dirty="0"/>
              <a:t>. </a:t>
            </a:r>
          </a:p>
        </p:txBody>
      </p:sp>
      <p:sp>
        <p:nvSpPr>
          <p:cNvPr id="8" name="Rectangle 18">
            <a:extLst>
              <a:ext uri="{FF2B5EF4-FFF2-40B4-BE49-F238E27FC236}">
                <a16:creationId xmlns:a16="http://schemas.microsoft.com/office/drawing/2014/main" id="{8CA5AC64-A934-4BFF-8208-79CB47A1F772}"/>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9" name="Espaço Reservado para Título 6">
            <a:extLst>
              <a:ext uri="{FF2B5EF4-FFF2-40B4-BE49-F238E27FC236}">
                <a16:creationId xmlns:a16="http://schemas.microsoft.com/office/drawing/2014/main" id="{CA23E4CC-ABE0-4C3E-8146-8AEE09AE1C2E}"/>
              </a:ext>
            </a:extLst>
          </p:cNvPr>
          <p:cNvSpPr>
            <a:spLocks noGrp="1"/>
          </p:cNvSpPr>
          <p:nvPr>
            <p:ph type="title"/>
          </p:nvPr>
        </p:nvSpPr>
        <p:spPr>
          <a:xfrm>
            <a:off x="5400222" y="1276349"/>
            <a:ext cx="5969000" cy="1771651"/>
          </a:xfrm>
          <a:prstGeom prst="rect">
            <a:avLst/>
          </a:prstGeom>
        </p:spPr>
        <p:txBody>
          <a:bodyPr vert="horz" lIns="91440" tIns="45720" rIns="91440" bIns="45720" rtlCol="0" anchor="b">
            <a:normAutofit/>
          </a:bodyPr>
          <a:lstStyle>
            <a:lvl1pPr algn="l">
              <a:defRPr sz="4400">
                <a:solidFill>
                  <a:srgbClr val="313847"/>
                </a:solidFill>
                <a:latin typeface="Montserrat Medium" panose="00000600000000000000" pitchFamily="2" charset="0"/>
              </a:defRPr>
            </a:lvl1pPr>
          </a:lstStyle>
          <a:p>
            <a:r>
              <a:rPr lang="pt-BR" dirty="0"/>
              <a:t>Clique para editar o título Mestre</a:t>
            </a:r>
          </a:p>
        </p:txBody>
      </p:sp>
      <p:sp>
        <p:nvSpPr>
          <p:cNvPr id="3" name="Espaço Reservado para Texto 2">
            <a:extLst>
              <a:ext uri="{FF2B5EF4-FFF2-40B4-BE49-F238E27FC236}">
                <a16:creationId xmlns:a16="http://schemas.microsoft.com/office/drawing/2014/main" id="{4D847AC7-7CCD-4072-BF1A-B86F67899CFB}"/>
              </a:ext>
            </a:extLst>
          </p:cNvPr>
          <p:cNvSpPr>
            <a:spLocks noGrp="1"/>
          </p:cNvSpPr>
          <p:nvPr>
            <p:ph type="body" sz="quarter" idx="12" hasCustomPrompt="1"/>
          </p:nvPr>
        </p:nvSpPr>
        <p:spPr>
          <a:xfrm>
            <a:off x="5381625" y="588963"/>
            <a:ext cx="3562350" cy="430212"/>
          </a:xfrm>
        </p:spPr>
        <p:txBody>
          <a:bodyPr vert="horz" lIns="91440" tIns="45720" rIns="91440" bIns="45720" rtlCol="0" anchor="b">
            <a:normAutofit/>
          </a:bodyPr>
          <a:lstStyle>
            <a:lvl1pPr>
              <a:defRPr lang="pt-BR" dirty="0">
                <a:solidFill>
                  <a:srgbClr val="006D93"/>
                </a:solidFill>
                <a:latin typeface="Montserrat Medium" panose="00000600000000000000" pitchFamily="2" charset="0"/>
                <a:ea typeface="+mj-ea"/>
                <a:cs typeface="+mj-cs"/>
              </a:defRPr>
            </a:lvl1pPr>
          </a:lstStyle>
          <a:p>
            <a:pPr lvl="0">
              <a:spcBef>
                <a:spcPct val="0"/>
              </a:spcBef>
            </a:pPr>
            <a:r>
              <a:rPr lang="pt-BR" dirty="0"/>
              <a:t>TÓPICO</a:t>
            </a:r>
          </a:p>
        </p:txBody>
      </p:sp>
      <p:grpSp>
        <p:nvGrpSpPr>
          <p:cNvPr id="13" name="Group 24">
            <a:extLst>
              <a:ext uri="{FF2B5EF4-FFF2-40B4-BE49-F238E27FC236}">
                <a16:creationId xmlns:a16="http://schemas.microsoft.com/office/drawing/2014/main" id="{4B84BEDA-56EA-4F55-93CC-72EA01823A2A}"/>
              </a:ext>
            </a:extLst>
          </p:cNvPr>
          <p:cNvGrpSpPr/>
          <p:nvPr userDrawn="1"/>
        </p:nvGrpSpPr>
        <p:grpSpPr>
          <a:xfrm>
            <a:off x="11571410" y="237255"/>
            <a:ext cx="405420" cy="405472"/>
            <a:chOff x="9847755" y="226389"/>
            <a:chExt cx="516502" cy="516568"/>
          </a:xfrm>
        </p:grpSpPr>
        <p:sp>
          <p:nvSpPr>
            <p:cNvPr id="14" name="Rectangle 25">
              <a:extLst>
                <a:ext uri="{FF2B5EF4-FFF2-40B4-BE49-F238E27FC236}">
                  <a16:creationId xmlns:a16="http://schemas.microsoft.com/office/drawing/2014/main" id="{81EBDE63-64FB-4698-BD51-5D1AC5987780}"/>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26">
              <a:extLst>
                <a:ext uri="{FF2B5EF4-FFF2-40B4-BE49-F238E27FC236}">
                  <a16:creationId xmlns:a16="http://schemas.microsoft.com/office/drawing/2014/main" id="{53716098-9B4A-4EC9-9EF8-E8E6F5666BB1}"/>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7">
              <a:extLst>
                <a:ext uri="{FF2B5EF4-FFF2-40B4-BE49-F238E27FC236}">
                  <a16:creationId xmlns:a16="http://schemas.microsoft.com/office/drawing/2014/main" id="{C66463B2-8D29-4A80-9590-EEC3094C6143}"/>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886552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ópico + imagem esquerd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0" y="0"/>
            <a:ext cx="7489373" cy="6857999"/>
          </a:xfrm>
          <a:solidFill>
            <a:srgbClr val="006D93"/>
          </a:solidFill>
        </p:spPr>
        <p:txBody>
          <a:bodyPr/>
          <a:lstStyle>
            <a:lvl1pPr algn="ctr">
              <a:defRPr>
                <a:solidFill>
                  <a:schemeClr val="tx1"/>
                </a:solidFill>
              </a:defRPr>
            </a:lvl1pPr>
          </a:lstStyle>
          <a:p>
            <a:endParaRPr lang="pt-BR"/>
          </a:p>
        </p:txBody>
      </p:sp>
      <p:sp>
        <p:nvSpPr>
          <p:cNvPr id="9" name="Espaço Reservado para Título 6">
            <a:extLst>
              <a:ext uri="{FF2B5EF4-FFF2-40B4-BE49-F238E27FC236}">
                <a16:creationId xmlns:a16="http://schemas.microsoft.com/office/drawing/2014/main" id="{AAEE4DF5-F1C6-4743-A3F0-3FC0ECB567FC}"/>
              </a:ext>
            </a:extLst>
          </p:cNvPr>
          <p:cNvSpPr>
            <a:spLocks noGrp="1"/>
          </p:cNvSpPr>
          <p:nvPr>
            <p:ph type="title"/>
          </p:nvPr>
        </p:nvSpPr>
        <p:spPr>
          <a:xfrm flipH="1">
            <a:off x="8229600" y="595086"/>
            <a:ext cx="3657600" cy="5689599"/>
          </a:xfrm>
          <a:prstGeom prst="rect">
            <a:avLst/>
          </a:prstGeom>
        </p:spPr>
        <p:txBody>
          <a:bodyPr vert="horz" lIns="91440" tIns="45720" rIns="91440" bIns="45720" rtlCol="0" anchor="ctr">
            <a:normAutofit/>
          </a:bodyPr>
          <a:lstStyle>
            <a:lvl1pPr algn="l">
              <a:defRPr sz="3600">
                <a:solidFill>
                  <a:srgbClr val="313847"/>
                </a:solidFill>
                <a:latin typeface="Montserrat Medium" panose="00000600000000000000" pitchFamily="2" charset="0"/>
              </a:defRPr>
            </a:lvl1pPr>
          </a:lstStyle>
          <a:p>
            <a:r>
              <a:rPr lang="pt-BR" dirty="0"/>
              <a:t>Clique para editar o título Mestre</a:t>
            </a:r>
          </a:p>
        </p:txBody>
      </p:sp>
      <p:sp>
        <p:nvSpPr>
          <p:cNvPr id="6" name="Rectangle 18">
            <a:extLst>
              <a:ext uri="{FF2B5EF4-FFF2-40B4-BE49-F238E27FC236}">
                <a16:creationId xmlns:a16="http://schemas.microsoft.com/office/drawing/2014/main" id="{623E05E0-660A-41F5-97D3-8A52DCC475F1}"/>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Rectangle 18">
            <a:extLst>
              <a:ext uri="{FF2B5EF4-FFF2-40B4-BE49-F238E27FC236}">
                <a16:creationId xmlns:a16="http://schemas.microsoft.com/office/drawing/2014/main" id="{894857C9-4546-4509-A170-B62E48B8F264}"/>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7" name="Group 24">
            <a:extLst>
              <a:ext uri="{FF2B5EF4-FFF2-40B4-BE49-F238E27FC236}">
                <a16:creationId xmlns:a16="http://schemas.microsoft.com/office/drawing/2014/main" id="{99B613B5-1D3A-420B-901F-D4FCA2F3F5CF}"/>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E618CA76-D67D-483B-AA51-D8AB54EFC773}"/>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6704812C-F02C-4FD0-A795-11635A57A655}"/>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27">
              <a:extLst>
                <a:ext uri="{FF2B5EF4-FFF2-40B4-BE49-F238E27FC236}">
                  <a16:creationId xmlns:a16="http://schemas.microsoft.com/office/drawing/2014/main" id="{E73186A7-7D33-47A6-9B46-62C000A02562}"/>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22003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6"/>
            <a:ext cx="10972800" cy="902187"/>
          </a:xfrm>
        </p:spPr>
        <p:txBody>
          <a:bodyPr/>
          <a:lstStyle/>
          <a:p>
            <a:r>
              <a:rPr lang="en-US" dirty="0"/>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6" name="Slide Number Placeholder 2">
            <a:extLst>
              <a:ext uri="{FF2B5EF4-FFF2-40B4-BE49-F238E27FC236}">
                <a16:creationId xmlns:a16="http://schemas.microsoft.com/office/drawing/2014/main" id="{D8B151FE-45DE-7041-89E6-DA9AA2092C25}"/>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dirty="0">
              <a:solidFill>
                <a:schemeClr val="tx1"/>
              </a:solidFill>
            </a:endParaRPr>
          </a:p>
        </p:txBody>
      </p:sp>
    </p:spTree>
    <p:extLst>
      <p:ext uri="{BB962C8B-B14F-4D97-AF65-F5344CB8AC3E}">
        <p14:creationId xmlns:p14="http://schemas.microsoft.com/office/powerpoint/2010/main" val="2690349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ópico + Parágrafo + imagem esquerda grande">
    <p:spTree>
      <p:nvGrpSpPr>
        <p:cNvPr id="1" name=""/>
        <p:cNvGrpSpPr/>
        <p:nvPr/>
      </p:nvGrpSpPr>
      <p:grpSpPr>
        <a:xfrm>
          <a:off x="0" y="0"/>
          <a:ext cx="0" cy="0"/>
          <a:chOff x="0" y="0"/>
          <a:chExt cx="0" cy="0"/>
        </a:xfrm>
      </p:grpSpPr>
      <p:sp>
        <p:nvSpPr>
          <p:cNvPr id="11" name="Espaço Reservado para Imagem 10">
            <a:extLst>
              <a:ext uri="{FF2B5EF4-FFF2-40B4-BE49-F238E27FC236}">
                <a16:creationId xmlns:a16="http://schemas.microsoft.com/office/drawing/2014/main" id="{4C06EA69-7D5A-4B43-8F9E-C330EAB27111}"/>
              </a:ext>
            </a:extLst>
          </p:cNvPr>
          <p:cNvSpPr>
            <a:spLocks noGrp="1"/>
          </p:cNvSpPr>
          <p:nvPr>
            <p:ph type="pic" sz="quarter" idx="10"/>
          </p:nvPr>
        </p:nvSpPr>
        <p:spPr>
          <a:xfrm flipH="1">
            <a:off x="0" y="0"/>
            <a:ext cx="7489373" cy="6857999"/>
          </a:xfrm>
          <a:solidFill>
            <a:srgbClr val="006D93"/>
          </a:solidFill>
        </p:spPr>
        <p:txBody>
          <a:bodyPr/>
          <a:lstStyle>
            <a:lvl1pPr algn="ctr">
              <a:defRPr/>
            </a:lvl1pPr>
          </a:lstStyle>
          <a:p>
            <a:endParaRPr lang="pt-BR"/>
          </a:p>
        </p:txBody>
      </p:sp>
      <p:sp>
        <p:nvSpPr>
          <p:cNvPr id="6" name="Rectangle 18">
            <a:extLst>
              <a:ext uri="{FF2B5EF4-FFF2-40B4-BE49-F238E27FC236}">
                <a16:creationId xmlns:a16="http://schemas.microsoft.com/office/drawing/2014/main" id="{623E05E0-660A-41F5-97D3-8A52DCC475F1}"/>
              </a:ext>
            </a:extLst>
          </p:cNvPr>
          <p:cNvSpPr/>
          <p:nvPr userDrawn="1"/>
        </p:nvSpPr>
        <p:spPr>
          <a:xfrm rot="16200000">
            <a:off x="-3262087" y="3262087"/>
            <a:ext cx="6858000" cy="333826"/>
          </a:xfrm>
          <a:prstGeom prst="rect">
            <a:avLst/>
          </a:prstGeom>
          <a:solidFill>
            <a:srgbClr val="006D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3" name="Espaço Reservado para Título 6">
            <a:extLst>
              <a:ext uri="{FF2B5EF4-FFF2-40B4-BE49-F238E27FC236}">
                <a16:creationId xmlns:a16="http://schemas.microsoft.com/office/drawing/2014/main" id="{32BEBE0D-9B45-41D7-9A8A-BA23C5BA382C}"/>
              </a:ext>
            </a:extLst>
          </p:cNvPr>
          <p:cNvSpPr txBox="1">
            <a:spLocks/>
          </p:cNvSpPr>
          <p:nvPr userDrawn="1"/>
        </p:nvSpPr>
        <p:spPr>
          <a:xfrm>
            <a:off x="8186056" y="1295401"/>
            <a:ext cx="3415394" cy="1697264"/>
          </a:xfrm>
          <a:prstGeom prst="rect">
            <a:avLst/>
          </a:prstGeom>
        </p:spPr>
        <p:txBody>
          <a:bodyPr vert="horz" lIns="91440" tIns="45720" rIns="91440" bIns="45720" rtlCol="0" anchor="b">
            <a:normAutofit/>
          </a:bodyPr>
          <a:lstStyle>
            <a:lvl1pPr algn="r" defTabSz="914400" rtl="0" eaLnBrk="1" latinLnBrk="0" hangingPunct="1">
              <a:lnSpc>
                <a:spcPct val="90000"/>
              </a:lnSpc>
              <a:spcBef>
                <a:spcPct val="0"/>
              </a:spcBef>
              <a:buNone/>
              <a:defRPr sz="4400" kern="1200">
                <a:solidFill>
                  <a:srgbClr val="313847"/>
                </a:solidFill>
                <a:latin typeface="Montserrat SemiBold" panose="00000700000000000000" pitchFamily="2" charset="0"/>
                <a:ea typeface="+mj-ea"/>
                <a:cs typeface="+mj-cs"/>
              </a:defRPr>
            </a:lvl1pPr>
          </a:lstStyle>
          <a:p>
            <a:pPr algn="l">
              <a:lnSpc>
                <a:spcPct val="100000"/>
              </a:lnSpc>
            </a:pPr>
            <a:r>
              <a:rPr lang="pt-BR" sz="3000" dirty="0">
                <a:latin typeface="Montserrat Medium" panose="00000600000000000000" pitchFamily="2" charset="0"/>
              </a:rPr>
              <a:t>CLIQUE PARA EDITAR O TÍTULO</a:t>
            </a:r>
          </a:p>
        </p:txBody>
      </p:sp>
      <p:sp>
        <p:nvSpPr>
          <p:cNvPr id="14" name="Espaço Reservado para Texto 2">
            <a:extLst>
              <a:ext uri="{FF2B5EF4-FFF2-40B4-BE49-F238E27FC236}">
                <a16:creationId xmlns:a16="http://schemas.microsoft.com/office/drawing/2014/main" id="{663C6E78-8BF7-4219-A774-74B5FC5DF1E2}"/>
              </a:ext>
            </a:extLst>
          </p:cNvPr>
          <p:cNvSpPr>
            <a:spLocks noGrp="1"/>
          </p:cNvSpPr>
          <p:nvPr>
            <p:ph type="body" sz="quarter" idx="11" hasCustomPrompt="1"/>
          </p:nvPr>
        </p:nvSpPr>
        <p:spPr>
          <a:xfrm>
            <a:off x="8189928" y="3429000"/>
            <a:ext cx="3444461" cy="2840038"/>
          </a:xfrm>
        </p:spPr>
        <p:txBody>
          <a:bodyPr>
            <a:normAutofit/>
          </a:bodyPr>
          <a:lstStyle>
            <a:lvl1pPr marL="0" indent="0" algn="l">
              <a:buNone/>
              <a:defRPr sz="1800">
                <a:solidFill>
                  <a:srgbClr val="313847"/>
                </a:solidFill>
              </a:defRPr>
            </a:lvl1pPr>
            <a:lvl2pPr algn="r">
              <a:defRPr sz="1800">
                <a:solidFill>
                  <a:srgbClr val="313847"/>
                </a:solidFill>
              </a:defRPr>
            </a:lvl2pPr>
            <a:lvl3pPr algn="r">
              <a:defRPr sz="1800">
                <a:solidFill>
                  <a:srgbClr val="313847"/>
                </a:solidFill>
              </a:defRPr>
            </a:lvl3pPr>
            <a:lvl4pPr algn="r">
              <a:defRPr sz="1800">
                <a:solidFill>
                  <a:srgbClr val="313847"/>
                </a:solidFill>
              </a:defRPr>
            </a:lvl4pPr>
            <a:lvl5pPr algn="r">
              <a:defRPr sz="1800">
                <a:solidFill>
                  <a:srgbClr val="313847"/>
                </a:solidFill>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Aenean</a:t>
            </a:r>
            <a:r>
              <a:rPr lang="pt-BR" dirty="0"/>
              <a:t> </a:t>
            </a:r>
            <a:r>
              <a:rPr lang="pt-BR" dirty="0" err="1"/>
              <a:t>varius</a:t>
            </a:r>
            <a:r>
              <a:rPr lang="pt-BR" dirty="0"/>
              <a:t> urna </a:t>
            </a:r>
            <a:r>
              <a:rPr lang="pt-BR" dirty="0" err="1"/>
              <a:t>vel</a:t>
            </a:r>
            <a:r>
              <a:rPr lang="pt-BR" dirty="0"/>
              <a:t> </a:t>
            </a:r>
            <a:r>
              <a:rPr lang="pt-BR" dirty="0" err="1"/>
              <a:t>laoreet</a:t>
            </a:r>
            <a:r>
              <a:rPr lang="pt-BR" dirty="0"/>
              <a:t> </a:t>
            </a:r>
            <a:r>
              <a:rPr lang="pt-BR" dirty="0" err="1"/>
              <a:t>hendrerit</a:t>
            </a:r>
            <a:r>
              <a:rPr lang="pt-BR" dirty="0"/>
              <a:t>. </a:t>
            </a:r>
            <a:r>
              <a:rPr lang="pt-BR" dirty="0" err="1"/>
              <a:t>Cras</a:t>
            </a:r>
            <a:r>
              <a:rPr lang="pt-BR" dirty="0"/>
              <a:t> </a:t>
            </a:r>
            <a:r>
              <a:rPr lang="pt-BR" dirty="0" err="1"/>
              <a:t>sed</a:t>
            </a:r>
            <a:r>
              <a:rPr lang="pt-BR" dirty="0"/>
              <a:t> </a:t>
            </a:r>
            <a:r>
              <a:rPr lang="pt-BR" dirty="0" err="1"/>
              <a:t>vehicula</a:t>
            </a:r>
            <a:r>
              <a:rPr lang="pt-BR" dirty="0"/>
              <a:t> </a:t>
            </a:r>
            <a:r>
              <a:rPr lang="pt-BR" dirty="0" err="1"/>
              <a:t>quam</a:t>
            </a:r>
            <a:r>
              <a:rPr lang="pt-BR" dirty="0"/>
              <a:t>. </a:t>
            </a:r>
            <a:r>
              <a:rPr lang="pt-BR" dirty="0" err="1"/>
              <a:t>Curabitur</a:t>
            </a:r>
            <a:r>
              <a:rPr lang="pt-BR" dirty="0"/>
              <a:t> </a:t>
            </a:r>
            <a:r>
              <a:rPr lang="pt-BR" dirty="0" err="1"/>
              <a:t>tristique</a:t>
            </a:r>
            <a:r>
              <a:rPr lang="pt-BR" dirty="0"/>
              <a:t> </a:t>
            </a:r>
            <a:r>
              <a:rPr lang="pt-BR" dirty="0" err="1"/>
              <a:t>risus</a:t>
            </a:r>
            <a:r>
              <a:rPr lang="pt-BR" dirty="0"/>
              <a:t> non mi </a:t>
            </a:r>
            <a:r>
              <a:rPr lang="pt-BR" dirty="0" err="1"/>
              <a:t>dapibus</a:t>
            </a:r>
            <a:r>
              <a:rPr lang="pt-BR" dirty="0"/>
              <a:t>, in </a:t>
            </a:r>
            <a:r>
              <a:rPr lang="pt-BR" dirty="0" err="1"/>
              <a:t>aliquet</a:t>
            </a:r>
            <a:r>
              <a:rPr lang="pt-BR" dirty="0"/>
              <a:t> </a:t>
            </a:r>
            <a:r>
              <a:rPr lang="pt-BR" dirty="0" err="1"/>
              <a:t>ligula</a:t>
            </a:r>
            <a:r>
              <a:rPr lang="pt-BR" dirty="0"/>
              <a:t> </a:t>
            </a:r>
            <a:r>
              <a:rPr lang="pt-BR" dirty="0" err="1"/>
              <a:t>elementum</a:t>
            </a:r>
            <a:r>
              <a:rPr lang="pt-BR" dirty="0"/>
              <a:t>. </a:t>
            </a:r>
            <a:r>
              <a:rPr lang="pt-BR" dirty="0" err="1"/>
              <a:t>Curabitur</a:t>
            </a:r>
            <a:r>
              <a:rPr lang="pt-BR" dirty="0"/>
              <a:t> ut </a:t>
            </a:r>
            <a:r>
              <a:rPr lang="pt-BR" dirty="0" err="1"/>
              <a:t>ex</a:t>
            </a:r>
            <a:r>
              <a:rPr lang="pt-BR" dirty="0"/>
              <a:t> ódio.</a:t>
            </a:r>
          </a:p>
        </p:txBody>
      </p:sp>
      <p:sp>
        <p:nvSpPr>
          <p:cNvPr id="15" name="Espaço Reservado para Título 6">
            <a:extLst>
              <a:ext uri="{FF2B5EF4-FFF2-40B4-BE49-F238E27FC236}">
                <a16:creationId xmlns:a16="http://schemas.microsoft.com/office/drawing/2014/main" id="{41EBC0FE-D55A-48BB-840F-26688131EFD1}"/>
              </a:ext>
            </a:extLst>
          </p:cNvPr>
          <p:cNvSpPr txBox="1">
            <a:spLocks/>
          </p:cNvSpPr>
          <p:nvPr userDrawn="1"/>
        </p:nvSpPr>
        <p:spPr>
          <a:xfrm>
            <a:off x="8190204" y="585333"/>
            <a:ext cx="3465929" cy="557667"/>
          </a:xfrm>
          <a:prstGeom prst="rect">
            <a:avLst/>
          </a:prstGeom>
        </p:spPr>
        <p:txBody>
          <a:bodyPr vert="horz" lIns="91440" tIns="45720" rIns="91440" bIns="45720" rtlCol="0" anchor="b">
            <a:normAutofit/>
          </a:bodyPr>
          <a:lstStyle>
            <a:lvl1pPr algn="r" defTabSz="914400" rtl="0" eaLnBrk="1" latinLnBrk="0" hangingPunct="1">
              <a:lnSpc>
                <a:spcPct val="90000"/>
              </a:lnSpc>
              <a:spcBef>
                <a:spcPct val="0"/>
              </a:spcBef>
              <a:buNone/>
              <a:defRPr sz="4400" kern="1200">
                <a:solidFill>
                  <a:srgbClr val="313847"/>
                </a:solidFill>
                <a:latin typeface="Montserrat SemiBold" panose="00000700000000000000" pitchFamily="2" charset="0"/>
                <a:ea typeface="+mj-ea"/>
                <a:cs typeface="+mj-cs"/>
              </a:defRPr>
            </a:lvl1pPr>
          </a:lstStyle>
          <a:p>
            <a:pPr algn="l"/>
            <a:r>
              <a:rPr lang="pt-BR" sz="2000" dirty="0">
                <a:solidFill>
                  <a:srgbClr val="006D93"/>
                </a:solidFill>
                <a:latin typeface="Montserrat Medium" panose="00000600000000000000" pitchFamily="2" charset="0"/>
              </a:rPr>
              <a:t>TÓPICO</a:t>
            </a:r>
          </a:p>
        </p:txBody>
      </p:sp>
      <p:sp>
        <p:nvSpPr>
          <p:cNvPr id="8" name="Rectangle 18">
            <a:extLst>
              <a:ext uri="{FF2B5EF4-FFF2-40B4-BE49-F238E27FC236}">
                <a16:creationId xmlns:a16="http://schemas.microsoft.com/office/drawing/2014/main" id="{FEE4ABCF-E66C-4B57-80D4-7287C7433D18}"/>
              </a:ext>
            </a:extLst>
          </p:cNvPr>
          <p:cNvSpPr/>
          <p:nvPr userDrawn="1"/>
        </p:nvSpPr>
        <p:spPr>
          <a:xfrm>
            <a:off x="12065001" y="4151086"/>
            <a:ext cx="126999" cy="2706913"/>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9" name="Group 24">
            <a:extLst>
              <a:ext uri="{FF2B5EF4-FFF2-40B4-BE49-F238E27FC236}">
                <a16:creationId xmlns:a16="http://schemas.microsoft.com/office/drawing/2014/main" id="{D67E0AAB-83F0-4344-B66F-09854CBDA3B2}"/>
              </a:ext>
            </a:extLst>
          </p:cNvPr>
          <p:cNvGrpSpPr/>
          <p:nvPr userDrawn="1"/>
        </p:nvGrpSpPr>
        <p:grpSpPr>
          <a:xfrm>
            <a:off x="11571410" y="237255"/>
            <a:ext cx="405420" cy="405472"/>
            <a:chOff x="9847755" y="226389"/>
            <a:chExt cx="516502" cy="516568"/>
          </a:xfrm>
        </p:grpSpPr>
        <p:sp>
          <p:nvSpPr>
            <p:cNvPr id="10" name="Rectangle 25">
              <a:extLst>
                <a:ext uri="{FF2B5EF4-FFF2-40B4-BE49-F238E27FC236}">
                  <a16:creationId xmlns:a16="http://schemas.microsoft.com/office/drawing/2014/main" id="{000904E1-92D1-40B6-81D4-DB045D57C52E}"/>
                </a:ext>
              </a:extLst>
            </p:cNvPr>
            <p:cNvSpPr/>
            <p:nvPr/>
          </p:nvSpPr>
          <p:spPr>
            <a:xfrm>
              <a:off x="9847755" y="226389"/>
              <a:ext cx="259388" cy="259388"/>
            </a:xfrm>
            <a:prstGeom prst="rect">
              <a:avLst/>
            </a:prstGeom>
            <a:solidFill>
              <a:srgbClr val="419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6">
              <a:extLst>
                <a:ext uri="{FF2B5EF4-FFF2-40B4-BE49-F238E27FC236}">
                  <a16:creationId xmlns:a16="http://schemas.microsoft.com/office/drawing/2014/main" id="{53C02830-4AA4-4830-8509-5FDE509B1ABD}"/>
                </a:ext>
              </a:extLst>
            </p:cNvPr>
            <p:cNvSpPr/>
            <p:nvPr/>
          </p:nvSpPr>
          <p:spPr>
            <a:xfrm>
              <a:off x="10104851" y="226389"/>
              <a:ext cx="259388" cy="259388"/>
            </a:xfrm>
            <a:prstGeom prst="rect">
              <a:avLst/>
            </a:prstGeom>
            <a:solidFill>
              <a:srgbClr val="2075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27">
              <a:extLst>
                <a:ext uri="{FF2B5EF4-FFF2-40B4-BE49-F238E27FC236}">
                  <a16:creationId xmlns:a16="http://schemas.microsoft.com/office/drawing/2014/main" id="{F95AC4B0-6293-44EC-8BC4-3A2FAEBA617D}"/>
                </a:ext>
              </a:extLst>
            </p:cNvPr>
            <p:cNvSpPr/>
            <p:nvPr/>
          </p:nvSpPr>
          <p:spPr>
            <a:xfrm>
              <a:off x="10104869" y="483569"/>
              <a:ext cx="259388" cy="259388"/>
            </a:xfrm>
            <a:prstGeom prst="rect">
              <a:avLst/>
            </a:prstGeom>
            <a:solidFill>
              <a:srgbClr val="7CC3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855707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ulo e texto esquerda">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608C3F7D-D351-4FD6-AEED-7C13E52502AD}"/>
              </a:ext>
            </a:extLst>
          </p:cNvPr>
          <p:cNvSpPr/>
          <p:nvPr userDrawn="1"/>
        </p:nvSpPr>
        <p:spPr>
          <a:xfrm rot="5400000">
            <a:off x="-999493" y="2302509"/>
            <a:ext cx="2125983" cy="127001"/>
          </a:xfrm>
          <a:prstGeom prst="rect">
            <a:avLst/>
          </a:prstGeom>
          <a:solidFill>
            <a:srgbClr val="8DC4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 name="Espaço Reservado para Texto 22">
            <a:extLst>
              <a:ext uri="{FF2B5EF4-FFF2-40B4-BE49-F238E27FC236}">
                <a16:creationId xmlns:a16="http://schemas.microsoft.com/office/drawing/2014/main" id="{81CA1456-409A-44C3-97D6-C68C3967EE32}"/>
              </a:ext>
            </a:extLst>
          </p:cNvPr>
          <p:cNvSpPr>
            <a:spLocks noGrp="1"/>
          </p:cNvSpPr>
          <p:nvPr>
            <p:ph type="body" sz="quarter" idx="15" hasCustomPrompt="1"/>
          </p:nvPr>
        </p:nvSpPr>
        <p:spPr>
          <a:xfrm>
            <a:off x="1066801" y="3619500"/>
            <a:ext cx="4546600" cy="2748280"/>
          </a:xfrm>
          <a:prstGeom prst="rect">
            <a:avLst/>
          </a:prstGeom>
        </p:spPr>
        <p:txBody>
          <a:bodyPr>
            <a:no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Sed</a:t>
            </a:r>
            <a:r>
              <a:rPr lang="pt-BR" dirty="0"/>
              <a:t> </a:t>
            </a:r>
            <a:r>
              <a:rPr lang="pt-BR" dirty="0" err="1"/>
              <a:t>lobortis</a:t>
            </a:r>
            <a:r>
              <a:rPr lang="pt-BR" dirty="0"/>
              <a:t> </a:t>
            </a:r>
            <a:r>
              <a:rPr lang="pt-BR" dirty="0" err="1"/>
              <a:t>tellus</a:t>
            </a:r>
            <a:r>
              <a:rPr lang="pt-BR" dirty="0"/>
              <a:t> eu </a:t>
            </a:r>
            <a:r>
              <a:rPr lang="pt-BR" dirty="0" err="1"/>
              <a:t>ex</a:t>
            </a:r>
            <a:r>
              <a:rPr lang="pt-BR" dirty="0"/>
              <a:t> </a:t>
            </a:r>
            <a:r>
              <a:rPr lang="pt-BR" dirty="0" err="1"/>
              <a:t>varius</a:t>
            </a:r>
            <a:r>
              <a:rPr lang="pt-BR" dirty="0"/>
              <a:t>, eu </a:t>
            </a:r>
            <a:r>
              <a:rPr lang="pt-BR" dirty="0" err="1"/>
              <a:t>euismod</a:t>
            </a:r>
            <a:r>
              <a:rPr lang="pt-BR" dirty="0"/>
              <a:t> </a:t>
            </a:r>
            <a:r>
              <a:rPr lang="pt-BR" dirty="0" err="1"/>
              <a:t>felis</a:t>
            </a:r>
            <a:r>
              <a:rPr lang="pt-BR" dirty="0"/>
              <a:t> </a:t>
            </a:r>
            <a:r>
              <a:rPr lang="pt-BR" dirty="0" err="1"/>
              <a:t>posuere</a:t>
            </a:r>
            <a:r>
              <a:rPr lang="pt-BR" dirty="0"/>
              <a:t>. </a:t>
            </a:r>
            <a:r>
              <a:rPr lang="pt-BR" dirty="0" err="1"/>
              <a:t>Praesent</a:t>
            </a:r>
            <a:r>
              <a:rPr lang="pt-BR" dirty="0"/>
              <a:t> </a:t>
            </a:r>
            <a:r>
              <a:rPr lang="pt-BR" dirty="0" err="1"/>
              <a:t>nec</a:t>
            </a:r>
            <a:r>
              <a:rPr lang="pt-BR" dirty="0"/>
              <a:t> </a:t>
            </a:r>
            <a:r>
              <a:rPr lang="pt-BR" dirty="0" err="1"/>
              <a:t>nisi</a:t>
            </a:r>
            <a:r>
              <a:rPr lang="pt-BR" dirty="0"/>
              <a:t> </a:t>
            </a:r>
            <a:r>
              <a:rPr lang="pt-BR" dirty="0" err="1"/>
              <a:t>sed</a:t>
            </a:r>
            <a:r>
              <a:rPr lang="pt-BR" dirty="0"/>
              <a:t> </a:t>
            </a:r>
            <a:r>
              <a:rPr lang="pt-BR" dirty="0" err="1"/>
              <a:t>turpis</a:t>
            </a:r>
            <a:r>
              <a:rPr lang="pt-BR" dirty="0"/>
              <a:t> </a:t>
            </a:r>
            <a:r>
              <a:rPr lang="pt-BR" dirty="0" err="1"/>
              <a:t>dictum</a:t>
            </a:r>
            <a:r>
              <a:rPr lang="pt-BR" dirty="0"/>
              <a:t> </a:t>
            </a:r>
            <a:r>
              <a:rPr lang="pt-BR" dirty="0" err="1"/>
              <a:t>volutpat</a:t>
            </a:r>
            <a:r>
              <a:rPr lang="pt-BR" dirty="0"/>
              <a:t>. Nunc </a:t>
            </a:r>
            <a:r>
              <a:rPr lang="pt-BR" dirty="0" err="1"/>
              <a:t>commodo</a:t>
            </a:r>
            <a:r>
              <a:rPr lang="pt-BR" dirty="0"/>
              <a:t> </a:t>
            </a:r>
            <a:r>
              <a:rPr lang="pt-BR" dirty="0" err="1"/>
              <a:t>iaculis</a:t>
            </a:r>
            <a:r>
              <a:rPr lang="pt-BR" dirty="0"/>
              <a:t> </a:t>
            </a:r>
            <a:r>
              <a:rPr lang="pt-BR" dirty="0" err="1"/>
              <a:t>felis</a:t>
            </a:r>
            <a:r>
              <a:rPr lang="pt-BR" dirty="0"/>
              <a:t> ut </a:t>
            </a:r>
            <a:r>
              <a:rPr lang="pt-BR" dirty="0" err="1"/>
              <a:t>lacinia</a:t>
            </a:r>
            <a:r>
              <a:rPr lang="pt-BR" dirty="0"/>
              <a:t>. </a:t>
            </a:r>
            <a:r>
              <a:rPr lang="pt-BR" dirty="0" err="1"/>
              <a:t>Nulla</a:t>
            </a:r>
            <a:r>
              <a:rPr lang="pt-BR" dirty="0"/>
              <a:t> </a:t>
            </a:r>
            <a:r>
              <a:rPr lang="pt-BR" dirty="0" err="1"/>
              <a:t>at</a:t>
            </a:r>
            <a:r>
              <a:rPr lang="pt-BR" dirty="0"/>
              <a:t> </a:t>
            </a:r>
            <a:r>
              <a:rPr lang="pt-BR" dirty="0" err="1"/>
              <a:t>convallis</a:t>
            </a:r>
            <a:r>
              <a:rPr lang="pt-BR" dirty="0"/>
              <a:t> </a:t>
            </a:r>
            <a:r>
              <a:rPr lang="pt-BR" dirty="0" err="1"/>
              <a:t>tellus</a:t>
            </a:r>
            <a:r>
              <a:rPr lang="pt-BR" dirty="0"/>
              <a:t>. Ut </a:t>
            </a:r>
            <a:r>
              <a:rPr lang="pt-BR" dirty="0" err="1"/>
              <a:t>commodo</a:t>
            </a:r>
            <a:r>
              <a:rPr lang="pt-BR" dirty="0"/>
              <a:t> </a:t>
            </a:r>
            <a:r>
              <a:rPr lang="pt-BR" dirty="0" err="1"/>
              <a:t>lacus</a:t>
            </a:r>
            <a:r>
              <a:rPr lang="pt-BR" dirty="0"/>
              <a:t> </a:t>
            </a:r>
            <a:r>
              <a:rPr lang="pt-BR" dirty="0" err="1"/>
              <a:t>bibendum</a:t>
            </a:r>
            <a:r>
              <a:rPr lang="pt-BR" dirty="0"/>
              <a:t> </a:t>
            </a:r>
            <a:r>
              <a:rPr lang="pt-BR" dirty="0" err="1"/>
              <a:t>suscipit</a:t>
            </a:r>
            <a:r>
              <a:rPr lang="pt-BR" dirty="0"/>
              <a:t> </a:t>
            </a:r>
            <a:r>
              <a:rPr lang="pt-BR" dirty="0" err="1"/>
              <a:t>accumsan</a:t>
            </a:r>
            <a:r>
              <a:rPr lang="pt-BR" dirty="0"/>
              <a:t>. </a:t>
            </a:r>
          </a:p>
        </p:txBody>
      </p:sp>
      <p:sp>
        <p:nvSpPr>
          <p:cNvPr id="11" name="Espaço Reservado para Texto 14">
            <a:extLst>
              <a:ext uri="{FF2B5EF4-FFF2-40B4-BE49-F238E27FC236}">
                <a16:creationId xmlns:a16="http://schemas.microsoft.com/office/drawing/2014/main" id="{F132F83C-A303-41CD-886E-F0D02A89EF37}"/>
              </a:ext>
            </a:extLst>
          </p:cNvPr>
          <p:cNvSpPr>
            <a:spLocks noGrp="1"/>
          </p:cNvSpPr>
          <p:nvPr>
            <p:ph type="body" sz="quarter" idx="19"/>
          </p:nvPr>
        </p:nvSpPr>
        <p:spPr>
          <a:xfrm>
            <a:off x="1066800" y="1303016"/>
            <a:ext cx="4546600" cy="2125984"/>
          </a:xfrm>
        </p:spPr>
        <p:txBody>
          <a:bodyPr vert="horz" lIns="91440" tIns="45720" rIns="91440" bIns="45720" rtlCol="0" anchor="ctr">
            <a:noAutofit/>
          </a:bodyPr>
          <a:lstStyle>
            <a:lvl1pPr>
              <a:defRPr lang="pt-BR" sz="2800" dirty="0">
                <a:latin typeface="Montserrat Medium" panose="00000600000000000000" pitchFamily="2" charset="0"/>
                <a:ea typeface="+mj-ea"/>
                <a:cs typeface="+mj-cs"/>
              </a:defRPr>
            </a:lvl1pPr>
          </a:lstStyle>
          <a:p>
            <a:pPr lvl="0">
              <a:spcBef>
                <a:spcPct val="0"/>
              </a:spcBef>
            </a:pPr>
            <a:r>
              <a:rPr lang="pt-BR" dirty="0"/>
              <a:t>Clique para editar os estilos de texto Mestres</a:t>
            </a:r>
          </a:p>
        </p:txBody>
      </p:sp>
    </p:spTree>
    <p:extLst>
      <p:ext uri="{BB962C8B-B14F-4D97-AF65-F5344CB8AC3E}">
        <p14:creationId xmlns:p14="http://schemas.microsoft.com/office/powerpoint/2010/main" val="3204804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09600" y="1381125"/>
            <a:ext cx="10972800" cy="4591051"/>
          </a:xfrm>
        </p:spPr>
        <p:txBody>
          <a:bodyPr/>
          <a:lstStyle/>
          <a:p>
            <a:pPr lvl="0"/>
            <a:r>
              <a:rPr lang="en-US"/>
              <a:t>Click to edit Master text styles</a:t>
            </a:r>
          </a:p>
          <a:p>
            <a:pPr lvl="1"/>
            <a:r>
              <a:rPr lang="en-US"/>
              <a:t>Second level</a:t>
            </a:r>
          </a:p>
          <a:p>
            <a:pPr lvl="2"/>
            <a:r>
              <a:rPr lang="en-US"/>
              <a:t>Third level</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
        <p:nvSpPr>
          <p:cNvPr id="6" name="Slide Number Placeholder 2">
            <a:extLst>
              <a:ext uri="{FF2B5EF4-FFF2-40B4-BE49-F238E27FC236}">
                <a16:creationId xmlns:a16="http://schemas.microsoft.com/office/drawing/2014/main" id="{22C33106-DA77-0745-8117-484E19E240DF}"/>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42164711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New Blank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84377A62-CDEF-4B5B-A987-F435EE746B1E}"/>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2" name="Rectangle 1">
            <a:extLst>
              <a:ext uri="{FF2B5EF4-FFF2-40B4-BE49-F238E27FC236}">
                <a16:creationId xmlns:a16="http://schemas.microsoft.com/office/drawing/2014/main" id="{F4AC159A-A594-BC43-8212-570344E3A282}"/>
              </a:ext>
            </a:extLst>
          </p:cNvPr>
          <p:cNvSpPr/>
          <p:nvPr userDrawn="1"/>
        </p:nvSpPr>
        <p:spPr>
          <a:xfrm>
            <a:off x="10764982" y="6047509"/>
            <a:ext cx="100791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
        <p:nvSpPr>
          <p:cNvPr id="4" name="Rectangle 3">
            <a:extLst>
              <a:ext uri="{FF2B5EF4-FFF2-40B4-BE49-F238E27FC236}">
                <a16:creationId xmlns:a16="http://schemas.microsoft.com/office/drawing/2014/main" id="{D5AE2A5E-7B1C-AE43-886A-AD936BB54BF7}"/>
              </a:ext>
            </a:extLst>
          </p:cNvPr>
          <p:cNvSpPr/>
          <p:nvPr userDrawn="1"/>
        </p:nvSpPr>
        <p:spPr>
          <a:xfrm>
            <a:off x="363682" y="6120245"/>
            <a:ext cx="100791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Tree>
    <p:extLst>
      <p:ext uri="{BB962C8B-B14F-4D97-AF65-F5344CB8AC3E}">
        <p14:creationId xmlns:p14="http://schemas.microsoft.com/office/powerpoint/2010/main" val="1818794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88">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Blank Slide">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1"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10800" y="6371286"/>
            <a:ext cx="713675" cy="286690"/>
          </a:xfrm>
          <a:prstGeom prst="rect">
            <a:avLst/>
          </a:prstGeom>
        </p:spPr>
      </p:pic>
    </p:spTree>
    <p:extLst>
      <p:ext uri="{BB962C8B-B14F-4D97-AF65-F5344CB8AC3E}">
        <p14:creationId xmlns:p14="http://schemas.microsoft.com/office/powerpoint/2010/main" val="4219602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8BA85-30E4-47B6-A747-1D2CDAF5E7DE}"/>
              </a:ext>
            </a:extLst>
          </p:cNvPr>
          <p:cNvSpPr>
            <a:spLocks noGrp="1"/>
          </p:cNvSpPr>
          <p:nvPr>
            <p:ph type="title"/>
          </p:nvPr>
        </p:nvSpPr>
        <p:spPr>
          <a:xfrm>
            <a:off x="688146" y="619124"/>
            <a:ext cx="4526722" cy="876301"/>
          </a:xfrm>
          <a:prstGeom prst="rect">
            <a:avLst/>
          </a:prstGeom>
        </p:spPr>
        <p:txBody>
          <a:bodyPr lIns="0" rIns="0" anchor="t"/>
          <a:lstStyle>
            <a:lvl1pPr>
              <a:defRPr sz="3600" b="1" spc="-100" baseline="0"/>
            </a:lvl1pPr>
          </a:lstStyle>
          <a:p>
            <a:endParaRPr lang="en-US"/>
          </a:p>
        </p:txBody>
      </p:sp>
      <p:cxnSp>
        <p:nvCxnSpPr>
          <p:cNvPr id="33" name="Straight Connector 32">
            <a:extLst>
              <a:ext uri="{FF2B5EF4-FFF2-40B4-BE49-F238E27FC236}">
                <a16:creationId xmlns:a16="http://schemas.microsoft.com/office/drawing/2014/main" id="{C1929847-2B81-4BC1-B595-F0B975F3FFF9}"/>
              </a:ext>
            </a:extLst>
          </p:cNvPr>
          <p:cNvCxnSpPr>
            <a:cxnSpLocks/>
          </p:cNvCxnSpPr>
          <p:nvPr userDrawn="1"/>
        </p:nvCxnSpPr>
        <p:spPr>
          <a:xfrm>
            <a:off x="688146" y="476250"/>
            <a:ext cx="559629" cy="0"/>
          </a:xfrm>
          <a:prstGeom prst="line">
            <a:avLst/>
          </a:prstGeom>
          <a:ln w="76200">
            <a:solidFill>
              <a:srgbClr val="00713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517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Bullet Slide">
    <p:bg>
      <p:bgPr>
        <a:blipFill dpi="0" rotWithShape="1">
          <a:blip r:embed="rId2" cstate="email">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237391" y="6356351"/>
            <a:ext cx="2844800" cy="366183"/>
          </a:xfrm>
        </p:spPr>
        <p:txBody>
          <a:bodyPr/>
          <a:lstStyle>
            <a:lvl1pPr>
              <a:defRPr>
                <a:solidFill>
                  <a:srgbClr val="009ADD"/>
                </a:solidFill>
                <a:latin typeface="+mn-lt"/>
              </a:defRPr>
            </a:lvl1pPr>
          </a:lstStyle>
          <a:p>
            <a:fld id="{C48D9196-7146-4672-A4BA-DB29036C6B41}" type="slidenum">
              <a:rPr lang="en-US" smtClean="0"/>
              <a:pPr/>
              <a:t>‹#›</a:t>
            </a:fld>
            <a:endParaRPr lang="en-US"/>
          </a:p>
        </p:txBody>
      </p:sp>
      <p:sp>
        <p:nvSpPr>
          <p:cNvPr id="6" name="Title 10"/>
          <p:cNvSpPr>
            <a:spLocks noGrp="1"/>
          </p:cNvSpPr>
          <p:nvPr>
            <p:ph type="title" hasCustomPrompt="1"/>
          </p:nvPr>
        </p:nvSpPr>
        <p:spPr>
          <a:xfrm>
            <a:off x="237391" y="275170"/>
            <a:ext cx="11717219" cy="627944"/>
          </a:xfrm>
          <a:prstGeom prst="rect">
            <a:avLst/>
          </a:prstGeom>
        </p:spPr>
        <p:txBody>
          <a:bodyPr vert="horz">
            <a:noAutofit/>
          </a:bodyPr>
          <a:lstStyle>
            <a:lvl1pPr algn="l">
              <a:defRPr sz="3000" b="1">
                <a:solidFill>
                  <a:srgbClr val="009BDE"/>
                </a:solidFill>
                <a:latin typeface="+mj-lt"/>
              </a:defRPr>
            </a:lvl1pPr>
          </a:lstStyle>
          <a:p>
            <a:r>
              <a:rPr lang="en-US" dirty="0"/>
              <a:t>Subject Title</a:t>
            </a:r>
          </a:p>
        </p:txBody>
      </p:sp>
      <p:sp>
        <p:nvSpPr>
          <p:cNvPr id="8" name="Text Placeholder 8"/>
          <p:cNvSpPr>
            <a:spLocks noGrp="1"/>
          </p:cNvSpPr>
          <p:nvPr>
            <p:ph type="body" sz="quarter" idx="15" hasCustomPrompt="1"/>
          </p:nvPr>
        </p:nvSpPr>
        <p:spPr>
          <a:xfrm>
            <a:off x="237392" y="1222023"/>
            <a:ext cx="11717542" cy="621828"/>
          </a:xfrm>
          <a:prstGeom prst="rect">
            <a:avLst/>
          </a:prstGeom>
        </p:spPr>
        <p:txBody>
          <a:bodyPr vert="horz" lIns="162547" tIns="81273" rIns="162547" bIns="81273"/>
          <a:lstStyle>
            <a:lvl1pPr marL="0" marR="0" indent="0" algn="l" defTabSz="609488" rtl="0" eaLnBrk="1" fontAlgn="auto" latinLnBrk="0" hangingPunct="1">
              <a:lnSpc>
                <a:spcPct val="100000"/>
              </a:lnSpc>
              <a:spcBef>
                <a:spcPct val="20000"/>
              </a:spcBef>
              <a:spcAft>
                <a:spcPts val="0"/>
              </a:spcAft>
              <a:buClrTx/>
              <a:buSzTx/>
              <a:buFont typeface="Arial"/>
              <a:buNone/>
              <a:tabLst/>
              <a:defRPr sz="2400" b="1">
                <a:solidFill>
                  <a:srgbClr val="005486"/>
                </a:solidFill>
                <a:latin typeface="+mn-lt"/>
              </a:defRPr>
            </a:lvl1pPr>
            <a:lvl2pPr>
              <a:defRPr sz="2175"/>
            </a:lvl2pPr>
            <a:lvl3pPr>
              <a:defRPr sz="1875"/>
            </a:lvl3pPr>
            <a:lvl4pPr>
              <a:defRPr sz="1575"/>
            </a:lvl4pPr>
            <a:lvl5pPr>
              <a:defRPr sz="1575"/>
            </a:lvl5pPr>
          </a:lstStyle>
          <a:p>
            <a:pPr lvl="0"/>
            <a:r>
              <a:rPr lang="en-US" dirty="0"/>
              <a:t>Subhead Goes Here</a:t>
            </a:r>
          </a:p>
        </p:txBody>
      </p:sp>
      <p:sp>
        <p:nvSpPr>
          <p:cNvPr id="10" name="Text Placeholder 8"/>
          <p:cNvSpPr>
            <a:spLocks noGrp="1"/>
          </p:cNvSpPr>
          <p:nvPr>
            <p:ph type="body" sz="quarter" idx="16" hasCustomPrompt="1"/>
          </p:nvPr>
        </p:nvSpPr>
        <p:spPr>
          <a:xfrm>
            <a:off x="237392" y="1843854"/>
            <a:ext cx="11717542" cy="1066175"/>
          </a:xfrm>
          <a:prstGeom prst="rect">
            <a:avLst/>
          </a:prstGeom>
        </p:spPr>
        <p:txBody>
          <a:bodyPr vert="horz" lIns="162547" tIns="81273" rIns="162547" bIns="81273"/>
          <a:lstStyle>
            <a:lvl1pPr marL="0" marR="0" indent="0" algn="l" defTabSz="609488" rtl="0" eaLnBrk="1" fontAlgn="auto" latinLnBrk="0" hangingPunct="1">
              <a:lnSpc>
                <a:spcPct val="100000"/>
              </a:lnSpc>
              <a:spcBef>
                <a:spcPct val="20000"/>
              </a:spcBef>
              <a:spcAft>
                <a:spcPts val="0"/>
              </a:spcAft>
              <a:buClrTx/>
              <a:buSzTx/>
              <a:buFont typeface="Arial"/>
              <a:buNone/>
              <a:tabLst/>
              <a:defRPr sz="1875" b="1">
                <a:solidFill>
                  <a:srgbClr val="787878"/>
                </a:solidFill>
                <a:latin typeface="+mn-lt"/>
              </a:defRPr>
            </a:lvl1pPr>
            <a:lvl2pPr>
              <a:defRPr sz="2175"/>
            </a:lvl2pPr>
            <a:lvl3pPr>
              <a:defRPr sz="1875"/>
            </a:lvl3pPr>
            <a:lvl4pPr>
              <a:defRPr sz="1575"/>
            </a:lvl4pPr>
            <a:lvl5pPr>
              <a:defRPr sz="1575"/>
            </a:lvl5pPr>
          </a:lstStyle>
          <a:p>
            <a:pPr lvl="0"/>
            <a:r>
              <a:rPr lang="en-US" dirty="0"/>
              <a:t>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ecima</a:t>
            </a:r>
            <a:r>
              <a:rPr lang="en-US" dirty="0"/>
              <a:t> </a:t>
            </a:r>
            <a:r>
              <a:rPr lang="en-US" dirty="0" err="1"/>
              <a:t>eodem</a:t>
            </a:r>
            <a:r>
              <a:rPr lang="en-US" dirty="0"/>
              <a:t> </a:t>
            </a:r>
            <a:r>
              <a:rPr lang="en-US" dirty="0" err="1"/>
              <a:t>modo</a:t>
            </a:r>
            <a:r>
              <a:rPr lang="en-US" dirty="0"/>
              <a:t> </a:t>
            </a:r>
            <a:r>
              <a:rPr lang="en-US" dirty="0" err="1"/>
              <a:t>typi</a:t>
            </a:r>
            <a:r>
              <a:rPr lang="en-US" dirty="0"/>
              <a:t>, qui </a:t>
            </a:r>
            <a:r>
              <a:rPr lang="en-US" dirty="0" err="1"/>
              <a:t>nunc</a:t>
            </a:r>
            <a:r>
              <a:rPr lang="en-US" dirty="0"/>
              <a:t> </a:t>
            </a:r>
            <a:r>
              <a:rPr lang="en-US" dirty="0" err="1"/>
              <a:t>nobis</a:t>
            </a:r>
            <a:r>
              <a:rPr lang="en-US" dirty="0"/>
              <a:t> </a:t>
            </a:r>
            <a:r>
              <a:rPr lang="en-US" dirty="0" err="1"/>
              <a:t>videntu</a:t>
            </a:r>
            <a:r>
              <a:rPr lang="en-US" dirty="0"/>
              <a:t> </a:t>
            </a:r>
            <a:r>
              <a:rPr lang="en-US" dirty="0" err="1"/>
              <a:t>parum</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a:t>
            </a:r>
          </a:p>
        </p:txBody>
      </p:sp>
      <p:sp>
        <p:nvSpPr>
          <p:cNvPr id="12" name="Text Placeholder 11"/>
          <p:cNvSpPr>
            <a:spLocks noGrp="1"/>
          </p:cNvSpPr>
          <p:nvPr>
            <p:ph type="body" sz="quarter" idx="17" hasCustomPrompt="1"/>
          </p:nvPr>
        </p:nvSpPr>
        <p:spPr>
          <a:xfrm>
            <a:off x="237069" y="3104446"/>
            <a:ext cx="8173156" cy="3116440"/>
          </a:xfrm>
          <a:prstGeom prst="rect">
            <a:avLst/>
          </a:prstGeom>
        </p:spPr>
        <p:txBody>
          <a:bodyPr vert="horz" lIns="162547" tIns="81273" rIns="162547" bIns="81273"/>
          <a:lstStyle>
            <a:lvl1pPr marL="341313" indent="-341313">
              <a:spcAft>
                <a:spcPts val="800"/>
              </a:spcAft>
              <a:buSzPct val="90000"/>
              <a:buFontTx/>
              <a:buBlip>
                <a:blip r:embed="rId4"/>
              </a:buBlip>
              <a:defRPr sz="1875">
                <a:solidFill>
                  <a:srgbClr val="787878"/>
                </a:solidFill>
                <a:latin typeface="+mn-lt"/>
              </a:defRPr>
            </a:lvl1pPr>
            <a:lvl2pPr marL="792334" indent="-377882">
              <a:spcAft>
                <a:spcPts val="800"/>
              </a:spcAft>
              <a:defRPr sz="1575">
                <a:solidFill>
                  <a:srgbClr val="787878"/>
                </a:solidFill>
                <a:latin typeface="+mn-lt"/>
              </a:defRPr>
            </a:lvl2pPr>
            <a:lvl3pPr>
              <a:defRPr sz="1575">
                <a:solidFill>
                  <a:srgbClr val="787878"/>
                </a:solidFill>
              </a:defRPr>
            </a:lvl3pPr>
            <a:lvl4pPr>
              <a:defRPr sz="1575">
                <a:solidFill>
                  <a:srgbClr val="787878"/>
                </a:solidFill>
              </a:defRPr>
            </a:lvl4pPr>
            <a:lvl5pPr>
              <a:defRPr sz="1575">
                <a:solidFill>
                  <a:srgbClr val="787878"/>
                </a:solidFill>
              </a:defRPr>
            </a:lvl5pPr>
          </a:lstStyle>
          <a:p>
            <a:pPr lvl="0"/>
            <a:r>
              <a:rPr lang="en-US" dirty="0"/>
              <a:t>Lorem </a:t>
            </a:r>
            <a:r>
              <a:rPr lang="en-US" dirty="0" err="1"/>
              <a:t>ipsum</a:t>
            </a:r>
            <a:r>
              <a:rPr lang="en-US" dirty="0"/>
              <a:t> </a:t>
            </a:r>
            <a:r>
              <a:rPr lang="en-US" dirty="0" err="1"/>
              <a:t>delores</a:t>
            </a:r>
            <a:r>
              <a:rPr lang="en-US" dirty="0"/>
              <a:t> eta </a:t>
            </a:r>
            <a:r>
              <a:rPr lang="en-US" dirty="0" err="1"/>
              <a:t>commecturere</a:t>
            </a:r>
            <a:r>
              <a:rPr lang="en-US" dirty="0"/>
              <a:t> </a:t>
            </a:r>
            <a:r>
              <a:rPr lang="en-US" dirty="0" err="1"/>
              <a:t>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st</a:t>
            </a:r>
            <a:r>
              <a:rPr lang="en-US" dirty="0"/>
              <a:t> </a:t>
            </a:r>
            <a:r>
              <a:rPr lang="en-US" dirty="0" err="1"/>
              <a:t>suscipit</a:t>
            </a:r>
            <a:r>
              <a:rPr lang="en-US" dirty="0"/>
              <a:t> verdure aurora</a:t>
            </a:r>
          </a:p>
          <a:p>
            <a:pPr lvl="1"/>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consequat</a:t>
            </a:r>
            <a:r>
              <a:rPr lang="en-US" dirty="0"/>
              <a:t> </a:t>
            </a:r>
            <a:r>
              <a:rPr lang="en-US" dirty="0" err="1"/>
              <a:t>vel</a:t>
            </a:r>
            <a:r>
              <a:rPr lang="en-US" dirty="0"/>
              <a:t> qui </a:t>
            </a:r>
            <a:r>
              <a:rPr lang="en-US" dirty="0" err="1"/>
              <a:t>nunc</a:t>
            </a:r>
            <a:r>
              <a:rPr lang="en-US" dirty="0"/>
              <a:t> </a:t>
            </a:r>
            <a:r>
              <a:rPr lang="en-US" dirty="0" err="1"/>
              <a:t>nobis</a:t>
            </a:r>
            <a:r>
              <a:rPr lang="en-US" dirty="0"/>
              <a:t> </a:t>
            </a:r>
            <a:r>
              <a:rPr lang="en-US" dirty="0" err="1"/>
              <a:t>videntur</a:t>
            </a:r>
            <a:r>
              <a:rPr lang="en-US" dirty="0"/>
              <a:t> </a:t>
            </a:r>
            <a:r>
              <a:rPr lang="en-US" dirty="0" err="1"/>
              <a:t>parum</a:t>
            </a:r>
            <a:r>
              <a:rPr lang="en-US" dirty="0"/>
              <a:t> </a:t>
            </a:r>
            <a:r>
              <a:rPr lang="en-US" dirty="0" err="1"/>
              <a:t>clari</a:t>
            </a:r>
            <a:r>
              <a:rPr lang="en-US" dirty="0"/>
              <a:t> </a:t>
            </a:r>
            <a:r>
              <a:rPr lang="en-US" dirty="0" err="1"/>
              <a:t>fiant</a:t>
            </a:r>
            <a:r>
              <a:rPr lang="en-US" dirty="0"/>
              <a:t> </a:t>
            </a:r>
            <a:r>
              <a:rPr lang="en-US" dirty="0" err="1"/>
              <a:t>sollemnes</a:t>
            </a:r>
            <a:r>
              <a:rPr lang="en-US" dirty="0"/>
              <a:t> in</a:t>
            </a:r>
          </a:p>
        </p:txBody>
      </p:sp>
      <p:pic>
        <p:nvPicPr>
          <p:cNvPr id="11" name="Picture 1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10800" y="6371286"/>
            <a:ext cx="713675" cy="286690"/>
          </a:xfrm>
          <a:prstGeom prst="rect">
            <a:avLst/>
          </a:prstGeom>
        </p:spPr>
      </p:pic>
    </p:spTree>
    <p:extLst>
      <p:ext uri="{BB962C8B-B14F-4D97-AF65-F5344CB8AC3E}">
        <p14:creationId xmlns:p14="http://schemas.microsoft.com/office/powerpoint/2010/main" val="3089143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New Blank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84377A62-CDEF-4B5B-A987-F435EE746B1E}"/>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2" name="Rectangle 1">
            <a:extLst>
              <a:ext uri="{FF2B5EF4-FFF2-40B4-BE49-F238E27FC236}">
                <a16:creationId xmlns:a16="http://schemas.microsoft.com/office/drawing/2014/main" id="{F4AC159A-A594-BC43-8212-570344E3A282}"/>
              </a:ext>
            </a:extLst>
          </p:cNvPr>
          <p:cNvSpPr/>
          <p:nvPr userDrawn="1"/>
        </p:nvSpPr>
        <p:spPr>
          <a:xfrm>
            <a:off x="10764982" y="6047509"/>
            <a:ext cx="100791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
        <p:nvSpPr>
          <p:cNvPr id="4" name="Rectangle 3">
            <a:extLst>
              <a:ext uri="{FF2B5EF4-FFF2-40B4-BE49-F238E27FC236}">
                <a16:creationId xmlns:a16="http://schemas.microsoft.com/office/drawing/2014/main" id="{D5AE2A5E-7B1C-AE43-886A-AD936BB54BF7}"/>
              </a:ext>
            </a:extLst>
          </p:cNvPr>
          <p:cNvSpPr/>
          <p:nvPr userDrawn="1"/>
        </p:nvSpPr>
        <p:spPr>
          <a:xfrm>
            <a:off x="363682" y="6120245"/>
            <a:ext cx="100791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X" sz="1350">
              <a:solidFill>
                <a:schemeClr val="lt1"/>
              </a:solidFill>
            </a:endParaRPr>
          </a:p>
        </p:txBody>
      </p:sp>
    </p:spTree>
    <p:extLst>
      <p:ext uri="{BB962C8B-B14F-4D97-AF65-F5344CB8AC3E}">
        <p14:creationId xmlns:p14="http://schemas.microsoft.com/office/powerpoint/2010/main" val="1991930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488">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Single column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495482-6054-492E-B414-CC0FA15B8938}"/>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28" name="think-cell Slide" r:id="rId5" imgW="359" imgH="360" progId="TCLayout.ActiveDocument.1">
                  <p:embed/>
                </p:oleObj>
              </mc:Choice>
              <mc:Fallback>
                <p:oleObj name="think-cell Slide" r:id="rId5" imgW="359" imgH="360" progId="TCLayout.ActiveDocument.1">
                  <p:embed/>
                  <p:pic>
                    <p:nvPicPr>
                      <p:cNvPr id="5" name="Object 4" hidden="1">
                        <a:extLst>
                          <a:ext uri="{FF2B5EF4-FFF2-40B4-BE49-F238E27FC236}">
                            <a16:creationId xmlns:a16="http://schemas.microsoft.com/office/drawing/2014/main" id="{5A495482-6054-492E-B414-CC0FA15B8938}"/>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E45BEB-3394-4052-A304-2CB36D25A95C}"/>
              </a:ext>
            </a:extLst>
          </p:cNvPr>
          <p:cNvSpPr/>
          <p:nvPr userDrawn="1">
            <p:custDataLst>
              <p:tags r:id="rId3"/>
            </p:custDataLst>
          </p:nvPr>
        </p:nvSpPr>
        <p:spPr>
          <a:xfrm>
            <a:off x="1" y="1"/>
            <a:ext cx="119063" cy="119063"/>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50" b="1" i="0" baseline="0">
              <a:solidFill>
                <a:schemeClr val="lt1"/>
              </a:solidFill>
              <a:latin typeface="Century Gothic" panose="020B0502020202020204" pitchFamily="34" charset="0"/>
              <a:ea typeface="+mj-ea"/>
              <a:cs typeface="+mj-cs"/>
              <a:sym typeface="Century Gothic" panose="020B0502020202020204" pitchFamily="34" charset="0"/>
            </a:endParaRPr>
          </a:p>
        </p:txBody>
      </p:sp>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a:xfrm>
            <a:off x="609600" y="218831"/>
            <a:ext cx="10972800" cy="902187"/>
          </a:xfrm>
        </p:spPr>
        <p:txBody>
          <a:bodyPr/>
          <a:lstStyle/>
          <a:p>
            <a:r>
              <a:rPr lang="en-US"/>
              <a:t>Click to edit your title</a:t>
            </a:r>
          </a:p>
        </p:txBody>
      </p:sp>
      <p:pic>
        <p:nvPicPr>
          <p:cNvPr id="4" name="Graphic 3">
            <a:extLst>
              <a:ext uri="{FF2B5EF4-FFF2-40B4-BE49-F238E27FC236}">
                <a16:creationId xmlns:a16="http://schemas.microsoft.com/office/drawing/2014/main" id="{0A193B6F-42A2-4AAB-BEAA-9DD63566C74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black">
          <a:xfrm>
            <a:off x="10902366" y="6227202"/>
            <a:ext cx="644785" cy="260942"/>
          </a:xfrm>
          <a:prstGeom prst="rect">
            <a:avLst/>
          </a:prstGeom>
        </p:spPr>
      </p:pic>
      <p:sp>
        <p:nvSpPr>
          <p:cNvPr id="6" name="Slide Number Placeholder 2">
            <a:extLst>
              <a:ext uri="{FF2B5EF4-FFF2-40B4-BE49-F238E27FC236}">
                <a16:creationId xmlns:a16="http://schemas.microsoft.com/office/drawing/2014/main" id="{E0CDFF78-B9F9-4110-B944-98514994ECE7}"/>
              </a:ext>
            </a:extLst>
          </p:cNvPr>
          <p:cNvSpPr txBox="1">
            <a:spLocks/>
          </p:cNvSpPr>
          <p:nvPr userDrawn="1"/>
        </p:nvSpPr>
        <p:spPr>
          <a:xfrm>
            <a:off x="512890" y="6344623"/>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Tree>
    <p:extLst>
      <p:ext uri="{BB962C8B-B14F-4D97-AF65-F5344CB8AC3E}">
        <p14:creationId xmlns:p14="http://schemas.microsoft.com/office/powerpoint/2010/main" val="8398789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6" orient="horz" pos="5016">
          <p15:clr>
            <a:srgbClr val="FBAE40"/>
          </p15:clr>
        </p15:guide>
        <p15:guide id="7" orient="horz" pos="576">
          <p15:clr>
            <a:srgbClr val="FBAE40"/>
          </p15:clr>
        </p15:guide>
        <p15:guide id="8" orient="horz" pos="1152">
          <p15:clr>
            <a:srgbClr val="FBAE40"/>
          </p15:clr>
        </p15:guide>
        <p15:guide id="9" pos="5120">
          <p15:clr>
            <a:srgbClr val="FBAE40"/>
          </p15:clr>
        </p15:guide>
        <p15:guide id="10" orient="horz" pos="307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solidFill>
                  <a:schemeClr val="tx1"/>
                </a:solidFill>
              </a:defRPr>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834947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6"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0" y="1535136"/>
            <a:ext cx="5344163" cy="2037940"/>
          </a:xfrm>
        </p:spPr>
        <p:txBody>
          <a:bodyPr/>
          <a:lstStyle>
            <a:lvl1pPr>
              <a:defRPr sz="4500">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47537" b="47537"/>
          <a:stretch/>
        </p:blipFill>
        <p:spPr>
          <a:xfrm>
            <a:off x="0" y="1011117"/>
            <a:ext cx="5846885" cy="5846884"/>
          </a:xfrm>
          <a:prstGeom prst="rect">
            <a:avLst/>
          </a:prstGeom>
        </p:spPr>
      </p:pic>
    </p:spTree>
    <p:extLst>
      <p:ext uri="{BB962C8B-B14F-4D97-AF65-F5344CB8AC3E}">
        <p14:creationId xmlns:p14="http://schemas.microsoft.com/office/powerpoint/2010/main" val="6735408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2"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8" y="1378458"/>
            <a:ext cx="5143500"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6"/>
            <a:ext cx="10972800" cy="902187"/>
          </a:xfrm>
        </p:spPr>
        <p:txBody>
          <a:bodyPr/>
          <a:lstStyle/>
          <a:p>
            <a:r>
              <a:rPr lang="en-US"/>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21606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0"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6"/>
            <a:ext cx="10972800" cy="902187"/>
          </a:xfrm>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5"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4112501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6"/>
            <a:ext cx="10972800" cy="902187"/>
          </a:xfrm>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33898287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6"/>
            <a:ext cx="10972800" cy="902187"/>
          </a:xfrm>
        </p:spPr>
        <p:txBody>
          <a:bodyPr/>
          <a:lstStyle/>
          <a:p>
            <a:r>
              <a:rPr lang="en-US" dirty="0"/>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2" y="1380503"/>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2" y="1380503"/>
            <a:ext cx="5143500"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2" y="3836798"/>
            <a:ext cx="5143500"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4" y="3836798"/>
            <a:ext cx="5143500"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739999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714500"/>
            <a:ext cx="4123424"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2" y="1714500"/>
            <a:ext cx="35123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1" y="1714500"/>
            <a:ext cx="35123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3"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6"/>
            <a:ext cx="10972800" cy="902187"/>
          </a:xfrm>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3"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3"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1" y="1929689"/>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1"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1"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4283469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0"/>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6"/>
            <a:ext cx="10972800" cy="902187"/>
          </a:xfrm>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3"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3"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3"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478919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5409248"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2"/>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2358831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solidFill>
                  <a:schemeClr val="tx1"/>
                </a:solidFill>
              </a:defRPr>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1393361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23637459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a:solidFill>
                  <a:schemeClr val="tx1"/>
                </a:solidFill>
              </a:rPr>
              <a:t>END OF TEMPLATE</a:t>
            </a:r>
          </a:p>
          <a:p>
            <a:pPr algn="l"/>
            <a:endParaRPr lang="en-US" sz="3000" b="0">
              <a:solidFill>
                <a:schemeClr val="tx1"/>
              </a:solidFill>
            </a:endParaRPr>
          </a:p>
          <a:p>
            <a:pPr algn="l"/>
            <a:r>
              <a:rPr lang="en-US" sz="6600" b="1">
                <a:solidFill>
                  <a:schemeClr val="tx1"/>
                </a:solidFill>
              </a:rPr>
              <a:t>Do not use any master slide that exists after this one</a:t>
            </a:r>
          </a:p>
        </p:txBody>
      </p:sp>
    </p:spTree>
    <p:extLst>
      <p:ext uri="{BB962C8B-B14F-4D97-AF65-F5344CB8AC3E}">
        <p14:creationId xmlns:p14="http://schemas.microsoft.com/office/powerpoint/2010/main" val="1613473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Cover - Blu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1"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4046" fontAlgn="auto">
              <a:lnSpc>
                <a:spcPct val="100000"/>
              </a:lnSpc>
              <a:spcBef>
                <a:spcPts val="0"/>
              </a:spcBef>
              <a:spcAft>
                <a:spcPts val="0"/>
              </a:spcAft>
              <a:buClrTx/>
              <a:buSzTx/>
              <a:buFontTx/>
              <a:buNone/>
              <a:tabLst/>
            </a:pPr>
            <a:endParaRPr kumimoji="0" lang="en-US" sz="1347"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1"/>
            <a:ext cx="4045796" cy="2294186"/>
          </a:xfrm>
        </p:spPr>
        <p:txBody>
          <a:bodyPr>
            <a:normAutofit/>
          </a:bodyPr>
          <a:lstStyle>
            <a:lvl1pPr>
              <a:defRPr sz="4489">
                <a:solidFill>
                  <a:schemeClr val="tx1"/>
                </a:solidFill>
              </a:defRPr>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5"/>
            <a:ext cx="4056257" cy="744265"/>
          </a:xfrm>
        </p:spPr>
        <p:txBody>
          <a:bodyPr>
            <a:normAutofit/>
          </a:bodyPr>
          <a:lstStyle>
            <a:lvl1pPr marL="0" indent="0" algn="l">
              <a:buNone/>
              <a:defRPr sz="1496">
                <a:solidFill>
                  <a:schemeClr val="tx1"/>
                </a:solidFill>
              </a:defRPr>
            </a:lvl1pPr>
            <a:lvl2pPr marL="342023" indent="0" algn="ctr">
              <a:buNone/>
              <a:defRPr sz="1496"/>
            </a:lvl2pPr>
            <a:lvl3pPr marL="684046" indent="0" algn="ctr">
              <a:buNone/>
              <a:defRPr sz="1347"/>
            </a:lvl3pPr>
            <a:lvl4pPr marL="1026068" indent="0" algn="ctr">
              <a:buNone/>
              <a:defRPr sz="1197"/>
            </a:lvl4pPr>
            <a:lvl5pPr marL="1368091" indent="0" algn="ctr">
              <a:buNone/>
              <a:defRPr sz="1197"/>
            </a:lvl5pPr>
            <a:lvl6pPr marL="1710114" indent="0" algn="ctr">
              <a:buNone/>
              <a:defRPr sz="1197"/>
            </a:lvl6pPr>
            <a:lvl7pPr marL="2052137" indent="0" algn="ctr">
              <a:buNone/>
              <a:defRPr sz="1197"/>
            </a:lvl7pPr>
            <a:lvl8pPr marL="2394159" indent="0" algn="ctr">
              <a:buNone/>
              <a:defRPr sz="1197"/>
            </a:lvl8pPr>
            <a:lvl9pPr marL="2736182" indent="0" algn="ctr">
              <a:buNone/>
              <a:defRPr sz="1197"/>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808345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244116" y="3694101"/>
            <a:ext cx="5344259" cy="2167211"/>
          </a:xfrm>
          <a:prstGeom prst="rect">
            <a:avLst/>
          </a:prstGeom>
        </p:spPr>
        <p:txBody>
          <a:bodyPr/>
          <a:lstStyle>
            <a:lvl1pPr marL="0" indent="0">
              <a:buNone/>
              <a:defRPr sz="2394">
                <a:solidFill>
                  <a:schemeClr val="tx1"/>
                </a:solidFill>
              </a:defRPr>
            </a:lvl1pPr>
            <a:lvl2pPr marL="607930" indent="0">
              <a:buNone/>
              <a:defRPr sz="1347">
                <a:solidFill>
                  <a:schemeClr val="bg1"/>
                </a:solidFill>
              </a:defRPr>
            </a:lvl2pPr>
            <a:lvl3pPr marL="1215857" indent="0">
              <a:buNone/>
              <a:defRPr sz="1347">
                <a:solidFill>
                  <a:schemeClr val="bg1"/>
                </a:solidFill>
              </a:defRPr>
            </a:lvl3pPr>
            <a:lvl4pPr marL="1823786" indent="0">
              <a:buNone/>
              <a:defRPr sz="1347">
                <a:solidFill>
                  <a:schemeClr val="bg1"/>
                </a:solidFill>
              </a:defRPr>
            </a:lvl4pPr>
            <a:lvl5pPr marL="2431715" indent="0">
              <a:buNone/>
              <a:defRPr sz="1347">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244090" y="1535136"/>
            <a:ext cx="5344163" cy="2037940"/>
          </a:xfrm>
        </p:spPr>
        <p:txBody>
          <a:bodyPr/>
          <a:lstStyle>
            <a:lvl1pPr>
              <a:defRPr sz="4489">
                <a:solidFill>
                  <a:schemeClr val="tx1"/>
                </a:solidFill>
              </a:defRPr>
            </a:lvl1pPr>
          </a:lstStyle>
          <a:p>
            <a:r>
              <a:rPr lang="en-US"/>
              <a:t>Click to edit your title</a:t>
            </a:r>
          </a:p>
        </p:txBody>
      </p:sp>
      <p:pic>
        <p:nvPicPr>
          <p:cNvPr id="5" name="Graphic 4">
            <a:extLst>
              <a:ext uri="{FF2B5EF4-FFF2-40B4-BE49-F238E27FC236}">
                <a16:creationId xmlns:a16="http://schemas.microsoft.com/office/drawing/2014/main" id="{31BAFBED-9537-4EAC-B665-301BA7736A3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pic>
        <p:nvPicPr>
          <p:cNvPr id="4" name="Graphic 3">
            <a:extLst>
              <a:ext uri="{FF2B5EF4-FFF2-40B4-BE49-F238E27FC236}">
                <a16:creationId xmlns:a16="http://schemas.microsoft.com/office/drawing/2014/main" id="{788E704E-CF6C-4595-A96E-F1609989D1F9}"/>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47537" b="47537"/>
          <a:stretch/>
        </p:blipFill>
        <p:spPr>
          <a:xfrm>
            <a:off x="0" y="1011117"/>
            <a:ext cx="5846885" cy="5846884"/>
          </a:xfrm>
          <a:prstGeom prst="rect">
            <a:avLst/>
          </a:prstGeom>
        </p:spPr>
      </p:pic>
    </p:spTree>
    <p:extLst>
      <p:ext uri="{BB962C8B-B14F-4D97-AF65-F5344CB8AC3E}">
        <p14:creationId xmlns:p14="http://schemas.microsoft.com/office/powerpoint/2010/main" val="2248006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10363" y="1378458"/>
            <a:ext cx="5143499"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438139" y="1378458"/>
            <a:ext cx="5143499"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10362" y="219457"/>
            <a:ext cx="10972800" cy="902187"/>
          </a:xfrm>
        </p:spPr>
        <p:txBody>
          <a:bodyPr/>
          <a:lstStyle/>
          <a:p>
            <a:r>
              <a:rPr lang="en-US"/>
              <a:t>Click to edit your title</a:t>
            </a:r>
          </a:p>
        </p:txBody>
      </p:sp>
      <p:pic>
        <p:nvPicPr>
          <p:cNvPr id="5" name="Graphic 4">
            <a:extLst>
              <a:ext uri="{FF2B5EF4-FFF2-40B4-BE49-F238E27FC236}">
                <a16:creationId xmlns:a16="http://schemas.microsoft.com/office/drawing/2014/main" id="{9F2DD797-EF54-425D-A7CF-386E637A599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spTree>
    <p:extLst>
      <p:ext uri="{BB962C8B-B14F-4D97-AF65-F5344CB8AC3E}">
        <p14:creationId xmlns:p14="http://schemas.microsoft.com/office/powerpoint/2010/main" val="24948621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orient="horz" pos="576">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09600"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36293" y="1380505"/>
            <a:ext cx="3497623" cy="4588002"/>
          </a:xfrm>
        </p:spPr>
        <p:txBody>
          <a:bodyPr/>
          <a:lstStyle/>
          <a:p>
            <a:pPr lvl="0"/>
            <a:r>
              <a:rPr lang="en-US"/>
              <a:t>Click to edit Master text styles</a:t>
            </a:r>
          </a:p>
          <a:p>
            <a:pPr lvl="1"/>
            <a:r>
              <a:rPr lang="en-US"/>
              <a:t>Second level</a:t>
            </a:r>
          </a:p>
          <a:p>
            <a:pPr lvl="2"/>
            <a:r>
              <a:rPr lang="en-US"/>
              <a:t>Third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a:xfrm>
            <a:off x="609600" y="219457"/>
            <a:ext cx="10972800" cy="902187"/>
          </a:xfrm>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62986" y="1380505"/>
            <a:ext cx="3497623" cy="4588002"/>
          </a:xfrm>
        </p:spPr>
        <p:txBody>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A243FDD2-5BCF-4A02-8E37-FAF9EDAF514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spTree>
    <p:extLst>
      <p:ext uri="{BB962C8B-B14F-4D97-AF65-F5344CB8AC3E}">
        <p14:creationId xmlns:p14="http://schemas.microsoft.com/office/powerpoint/2010/main" val="29973783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016">
          <p15:clr>
            <a:srgbClr val="FBAE40"/>
          </p15:clr>
        </p15:guide>
        <p15:guide id="5" orient="horz" pos="576">
          <p15:clr>
            <a:srgbClr val="FBAE40"/>
          </p15:clr>
        </p15:guide>
        <p15:guide id="6" pos="51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6" y="1714500"/>
            <a:ext cx="4123424"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2" y="1714500"/>
            <a:ext cx="35123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1" y="1714500"/>
            <a:ext cx="35123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3"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6"/>
            <a:ext cx="10972800" cy="902187"/>
          </a:xfrm>
        </p:spPr>
        <p:txBody>
          <a:bodyPr/>
          <a:lstStyle/>
          <a:p>
            <a:r>
              <a:rPr lang="en-US" dirty="0"/>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3"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3"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8" y="2006824"/>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8"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8"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1" y="1929689"/>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1" y="3837478"/>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1" y="4524691"/>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30303991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a:xfrm>
            <a:off x="610362" y="219457"/>
            <a:ext cx="10972800" cy="902187"/>
          </a:xfrm>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10363" y="1380503"/>
            <a:ext cx="5143499"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442363" y="1380503"/>
            <a:ext cx="5143499" cy="2125980"/>
          </a:xfrm>
        </p:spPr>
        <p:txBody>
          <a:bodyPr/>
          <a:lstStyle/>
          <a:p>
            <a:pPr lvl="0"/>
            <a:r>
              <a:rPr lang="en-US"/>
              <a:t>Click to edit Master text styles</a:t>
            </a:r>
          </a:p>
          <a:p>
            <a:pPr lvl="1"/>
            <a:r>
              <a:rPr lang="en-US"/>
              <a:t>Second level</a:t>
            </a:r>
          </a:p>
          <a:p>
            <a:pPr lvl="2"/>
            <a:r>
              <a:rPr lang="en-US"/>
              <a:t>Third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10363" y="3836798"/>
            <a:ext cx="5143499" cy="2125980"/>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437056" y="3836798"/>
            <a:ext cx="5143499" cy="2125980"/>
          </a:xfrm>
        </p:spPr>
        <p:txBody>
          <a:bodyPr/>
          <a:lstStyle/>
          <a:p>
            <a:pPr lvl="0"/>
            <a:r>
              <a:rPr lang="en-US"/>
              <a:t>Click to edit Master text styles</a:t>
            </a:r>
          </a:p>
          <a:p>
            <a:pPr lvl="1"/>
            <a:r>
              <a:rPr lang="en-US"/>
              <a:t>Second level</a:t>
            </a:r>
          </a:p>
          <a:p>
            <a:pPr lvl="2"/>
            <a:r>
              <a:rPr lang="en-US"/>
              <a:t>Third level</a:t>
            </a:r>
          </a:p>
        </p:txBody>
      </p:sp>
      <p:pic>
        <p:nvPicPr>
          <p:cNvPr id="7" name="Graphic 6">
            <a:extLst>
              <a:ext uri="{FF2B5EF4-FFF2-40B4-BE49-F238E27FC236}">
                <a16:creationId xmlns:a16="http://schemas.microsoft.com/office/drawing/2014/main" id="{51116209-2C88-411D-BE3B-1B61347BD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spTree>
    <p:extLst>
      <p:ext uri="{BB962C8B-B14F-4D97-AF65-F5344CB8AC3E}">
        <p14:creationId xmlns:p14="http://schemas.microsoft.com/office/powerpoint/2010/main" val="4059269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pos="5120">
          <p15:clr>
            <a:srgbClr val="FBAE40"/>
          </p15:clr>
        </p15:guide>
        <p15:guide id="7" orient="horz" pos="30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3EC49-0EBF-934E-91BA-79B6AD475FFE}"/>
              </a:ext>
            </a:extLst>
          </p:cNvPr>
          <p:cNvSpPr/>
          <p:nvPr userDrawn="1"/>
        </p:nvSpPr>
        <p:spPr bwMode="hidden">
          <a:xfrm>
            <a:off x="8068578" y="1714501"/>
            <a:ext cx="4123423"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a:p>
        </p:txBody>
      </p:sp>
      <p:sp>
        <p:nvSpPr>
          <p:cNvPr id="15" name="Rectangle 14">
            <a:extLst>
              <a:ext uri="{FF2B5EF4-FFF2-40B4-BE49-F238E27FC236}">
                <a16:creationId xmlns:a16="http://schemas.microsoft.com/office/drawing/2014/main" id="{263B1029-3D65-B84A-A254-5217144DBA58}"/>
              </a:ext>
            </a:extLst>
          </p:cNvPr>
          <p:cNvSpPr/>
          <p:nvPr userDrawn="1"/>
        </p:nvSpPr>
        <p:spPr bwMode="hidden">
          <a:xfrm>
            <a:off x="4345662" y="1714501"/>
            <a:ext cx="3512324"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a:p>
        </p:txBody>
      </p:sp>
      <p:sp>
        <p:nvSpPr>
          <p:cNvPr id="27" name="Rectangle 26">
            <a:extLst>
              <a:ext uri="{FF2B5EF4-FFF2-40B4-BE49-F238E27FC236}">
                <a16:creationId xmlns:a16="http://schemas.microsoft.com/office/drawing/2014/main" id="{08AA3504-A3CC-4CD3-A78A-2E2FE2301C4F}"/>
              </a:ext>
            </a:extLst>
          </p:cNvPr>
          <p:cNvSpPr/>
          <p:nvPr userDrawn="1"/>
        </p:nvSpPr>
        <p:spPr bwMode="hidden">
          <a:xfrm>
            <a:off x="612951" y="1714501"/>
            <a:ext cx="3512324" cy="42576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a:p>
        </p:txBody>
      </p:sp>
      <p:sp>
        <p:nvSpPr>
          <p:cNvPr id="14" name="Picture Placeholder 2">
            <a:extLst>
              <a:ext uri="{FF2B5EF4-FFF2-40B4-BE49-F238E27FC236}">
                <a16:creationId xmlns:a16="http://schemas.microsoft.com/office/drawing/2014/main" id="{371C5043-2C77-4B15-9C54-2B1AAC2FAD26}"/>
              </a:ext>
            </a:extLst>
          </p:cNvPr>
          <p:cNvSpPr>
            <a:spLocks noGrp="1"/>
          </p:cNvSpPr>
          <p:nvPr userDrawn="1">
            <p:ph type="pic" sz="quarter" idx="21" hasCustomPrompt="1"/>
          </p:nvPr>
        </p:nvSpPr>
        <p:spPr>
          <a:xfrm>
            <a:off x="1439514" y="2006824"/>
            <a:ext cx="1859200" cy="1347572"/>
          </a:xfrm>
          <a:prstGeom prst="rect">
            <a:avLst/>
          </a:prstGeom>
        </p:spPr>
        <p:txBody>
          <a:bodyPr/>
          <a:lstStyle>
            <a:lvl1pPr marL="0" indent="0">
              <a:buNone/>
              <a:defRPr sz="1197">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userDrawn="1">
            <p:ph type="title" hasCustomPrompt="1"/>
          </p:nvPr>
        </p:nvSpPr>
        <p:spPr>
          <a:xfrm>
            <a:off x="610362" y="219457"/>
            <a:ext cx="10972800" cy="902187"/>
          </a:xfrm>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userDrawn="1">
            <p:ph type="body" sz="quarter" idx="12" hasCustomPrompt="1"/>
          </p:nvPr>
        </p:nvSpPr>
        <p:spPr>
          <a:xfrm>
            <a:off x="871984" y="3837478"/>
            <a:ext cx="2994260"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userDrawn="1">
            <p:ph type="body" sz="quarter" idx="15" hasCustomPrompt="1"/>
          </p:nvPr>
        </p:nvSpPr>
        <p:spPr>
          <a:xfrm>
            <a:off x="871984" y="4524691"/>
            <a:ext cx="2994260"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userDrawn="1">
            <p:ph type="pic" sz="quarter" idx="22" hasCustomPrompt="1"/>
          </p:nvPr>
        </p:nvSpPr>
        <p:spPr>
          <a:xfrm>
            <a:off x="5171089" y="2006824"/>
            <a:ext cx="1859200" cy="1347572"/>
          </a:xfrm>
          <a:prstGeom prst="rect">
            <a:avLst/>
          </a:prstGeom>
        </p:spPr>
        <p:txBody>
          <a:bodyPr/>
          <a:lstStyle>
            <a:lvl1pPr marL="0" indent="0">
              <a:buNone/>
              <a:defRPr sz="1197">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userDrawn="1">
            <p:ph type="body" sz="quarter" idx="23" hasCustomPrompt="1"/>
          </p:nvPr>
        </p:nvSpPr>
        <p:spPr>
          <a:xfrm>
            <a:off x="4603559" y="3837478"/>
            <a:ext cx="2994260"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userDrawn="1">
            <p:ph type="body" sz="quarter" idx="24" hasCustomPrompt="1"/>
          </p:nvPr>
        </p:nvSpPr>
        <p:spPr>
          <a:xfrm>
            <a:off x="4603559" y="4524691"/>
            <a:ext cx="2994260"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userDrawn="1">
            <p:ph type="pic" sz="quarter" idx="25" hasCustomPrompt="1"/>
          </p:nvPr>
        </p:nvSpPr>
        <p:spPr>
          <a:xfrm>
            <a:off x="8897402" y="1929690"/>
            <a:ext cx="1859200" cy="1347572"/>
          </a:xfrm>
          <a:prstGeom prst="rect">
            <a:avLst/>
          </a:prstGeom>
        </p:spPr>
        <p:txBody>
          <a:bodyPr/>
          <a:lstStyle>
            <a:lvl1pPr marL="0" indent="0">
              <a:buNone/>
              <a:defRPr sz="1197">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userDrawn="1">
            <p:ph type="body" sz="quarter" idx="26" hasCustomPrompt="1"/>
          </p:nvPr>
        </p:nvSpPr>
        <p:spPr>
          <a:xfrm>
            <a:off x="8329872" y="3837478"/>
            <a:ext cx="2994260"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userDrawn="1">
            <p:ph type="body" sz="quarter" idx="27" hasCustomPrompt="1"/>
          </p:nvPr>
        </p:nvSpPr>
        <p:spPr>
          <a:xfrm>
            <a:off x="8329872" y="4524691"/>
            <a:ext cx="2994260"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pic>
        <p:nvPicPr>
          <p:cNvPr id="17" name="Graphic 16">
            <a:extLst>
              <a:ext uri="{FF2B5EF4-FFF2-40B4-BE49-F238E27FC236}">
                <a16:creationId xmlns:a16="http://schemas.microsoft.com/office/drawing/2014/main" id="{32C3F492-CBF3-4747-9DA1-8072E2687F0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spTree>
    <p:extLst>
      <p:ext uri="{BB962C8B-B14F-4D97-AF65-F5344CB8AC3E}">
        <p14:creationId xmlns:p14="http://schemas.microsoft.com/office/powerpoint/2010/main" val="2949895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12">
          <p15:clr>
            <a:srgbClr val="FBAE40"/>
          </p15:clr>
        </p15:guide>
        <p15:guide id="2" pos="9728">
          <p15:clr>
            <a:srgbClr val="FBAE40"/>
          </p15:clr>
        </p15:guide>
        <p15:guide id="3" orient="horz" pos="576">
          <p15:clr>
            <a:srgbClr val="FBAE40"/>
          </p15:clr>
        </p15:guide>
        <p15:guide id="4" orient="horz" pos="1152">
          <p15:clr>
            <a:srgbClr val="FBAE40"/>
          </p15:clr>
        </p15:guide>
        <p15:guide id="5" orient="horz" pos="5016">
          <p15:clr>
            <a:srgbClr val="FBAE40"/>
          </p15:clr>
        </p15:guide>
        <p15:guide id="6" orient="horz" pos="3072">
          <p15:clr>
            <a:srgbClr val="FBAE40"/>
          </p15:clr>
        </p15:guide>
        <p15:guide id="7" pos="51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1"/>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5" y="1371601"/>
            <a:ext cx="2583931"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1"/>
            <a:ext cx="2583931"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1"/>
            <a:ext cx="2583931"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7"/>
            <a:ext cx="10972800" cy="902187"/>
          </a:xfrm>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3"/>
            <a:ext cx="1347401" cy="1347572"/>
          </a:xfrm>
          <a:prstGeom prst="rect">
            <a:avLst/>
          </a:prstGeom>
        </p:spPr>
        <p:txBody>
          <a:bodyPr/>
          <a:lstStyle>
            <a:lvl1pPr marL="0" indent="0">
              <a:buNone/>
              <a:defRPr sz="1197">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4" y="3816696"/>
            <a:ext cx="2170003"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4" y="4503910"/>
            <a:ext cx="2170003"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5" y="1986043"/>
            <a:ext cx="1347401" cy="1347572"/>
          </a:xfrm>
          <a:prstGeom prst="rect">
            <a:avLst/>
          </a:prstGeom>
        </p:spPr>
        <p:txBody>
          <a:bodyPr/>
          <a:lstStyle>
            <a:lvl1pPr marL="0" indent="0">
              <a:buNone/>
              <a:defRPr sz="1197">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4" y="3816696"/>
            <a:ext cx="2170003"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4" y="4503910"/>
            <a:ext cx="2170003"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4" y="1986043"/>
            <a:ext cx="1347401" cy="1347572"/>
          </a:xfrm>
          <a:prstGeom prst="rect">
            <a:avLst/>
          </a:prstGeom>
        </p:spPr>
        <p:txBody>
          <a:bodyPr/>
          <a:lstStyle>
            <a:lvl1pPr marL="0" indent="0">
              <a:buNone/>
              <a:defRPr sz="1197">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5" y="3816696"/>
            <a:ext cx="2170003"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5" y="4503910"/>
            <a:ext cx="2170003"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4" y="1986043"/>
            <a:ext cx="1347401" cy="1347572"/>
          </a:xfrm>
          <a:prstGeom prst="rect">
            <a:avLst/>
          </a:prstGeom>
        </p:spPr>
        <p:txBody>
          <a:bodyPr/>
          <a:lstStyle>
            <a:lvl1pPr marL="0" indent="0">
              <a:buNone/>
              <a:defRPr sz="1197">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4" y="3816696"/>
            <a:ext cx="2170003" cy="528674"/>
          </a:xfrm>
          <a:prstGeom prst="rect">
            <a:avLst/>
          </a:prstGeom>
        </p:spPr>
        <p:txBody>
          <a:bodyPr>
            <a:noAutofit/>
          </a:bodyPr>
          <a:lstStyle>
            <a:lvl1pPr marL="0" indent="0" algn="ctr">
              <a:buNone/>
              <a:defRPr sz="2095" b="1">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4" y="4503910"/>
            <a:ext cx="2170003" cy="1025786"/>
          </a:xfrm>
          <a:prstGeom prst="rect">
            <a:avLst/>
          </a:prstGeom>
        </p:spPr>
        <p:txBody>
          <a:bodyPr>
            <a:noAutofit/>
          </a:bodyPr>
          <a:lstStyle>
            <a:lvl1pPr marL="0" indent="0" algn="ctr">
              <a:buNone/>
              <a:defRPr sz="1496" b="0">
                <a:solidFill>
                  <a:schemeClr val="bg1"/>
                </a:solidFill>
              </a:defRPr>
            </a:lvl1pPr>
            <a:lvl2pPr marL="607930" indent="0" algn="ctr">
              <a:buNone/>
              <a:defRPr sz="2095" b="1">
                <a:solidFill>
                  <a:schemeClr val="bg2"/>
                </a:solidFill>
              </a:defRPr>
            </a:lvl2pPr>
            <a:lvl3pPr marL="1215857" indent="0" algn="ctr">
              <a:buNone/>
              <a:defRPr sz="2095" b="1">
                <a:solidFill>
                  <a:schemeClr val="bg2"/>
                </a:solidFill>
              </a:defRPr>
            </a:lvl3pPr>
            <a:lvl4pPr marL="1823786" indent="0" algn="ctr">
              <a:buNone/>
              <a:defRPr sz="2095" b="1">
                <a:solidFill>
                  <a:schemeClr val="bg2"/>
                </a:solidFill>
              </a:defRPr>
            </a:lvl4pPr>
            <a:lvl5pPr marL="2431715" indent="0" algn="ctr">
              <a:buNone/>
              <a:defRPr sz="2095" b="1">
                <a:solidFill>
                  <a:schemeClr val="bg2"/>
                </a:solidFill>
              </a:defRPr>
            </a:lvl5pPr>
          </a:lstStyle>
          <a:p>
            <a:pPr lvl="0"/>
            <a:r>
              <a:rPr lang="en-US"/>
              <a:t>Click to add body</a:t>
            </a:r>
          </a:p>
          <a:p>
            <a:pPr lvl="0"/>
            <a:endParaRPr lang="en-US"/>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spTree>
    <p:extLst>
      <p:ext uri="{BB962C8B-B14F-4D97-AF65-F5344CB8AC3E}">
        <p14:creationId xmlns:p14="http://schemas.microsoft.com/office/powerpoint/2010/main" val="16594220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1" y="0"/>
            <a:ext cx="5409247"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90" y="6230323"/>
            <a:ext cx="2844800" cy="366183"/>
          </a:xfrm>
          <a:prstGeom prst="rect">
            <a:avLst/>
          </a:prstGeom>
        </p:spPr>
        <p:txBody>
          <a:bodyPr vert="horz" lIns="121609" tIns="60804" rIns="121609" bIns="60804"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898">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898">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506" indent="-85506">
              <a:spcBef>
                <a:spcPts val="449"/>
              </a:spcBef>
              <a:buFont typeface="Arial" panose="020B0604020202020204" pitchFamily="34" charset="0"/>
              <a:buChar char="“"/>
              <a:defRPr sz="1347" b="0">
                <a:solidFill>
                  <a:schemeClr val="bg1"/>
                </a:solidFill>
              </a:defRPr>
            </a:lvl1pPr>
            <a:lvl2pPr marL="85506" indent="0">
              <a:spcBef>
                <a:spcPts val="449"/>
              </a:spcBef>
              <a:buClr>
                <a:schemeClr val="bg1"/>
              </a:buClr>
              <a:buFont typeface="Arial" panose="020B0604020202020204" pitchFamily="34" charset="0"/>
              <a:buChar char="​"/>
              <a:tabLst/>
              <a:defRPr sz="1347" b="0">
                <a:solidFill>
                  <a:schemeClr val="bg1"/>
                </a:solidFill>
              </a:defRPr>
            </a:lvl2pPr>
            <a:lvl3pPr marL="85506" indent="0">
              <a:spcBef>
                <a:spcPts val="449"/>
              </a:spcBef>
              <a:buClr>
                <a:schemeClr val="bg1"/>
              </a:buClr>
              <a:buFont typeface="Arial" panose="020B0604020202020204" pitchFamily="34" charset="0"/>
              <a:buChar char="​"/>
              <a:tabLst/>
              <a:defRPr sz="1347" b="0">
                <a:solidFill>
                  <a:schemeClr val="bg1"/>
                </a:solidFill>
              </a:defRPr>
            </a:lvl3pPr>
            <a:lvl4pPr marL="85506" indent="0">
              <a:spcBef>
                <a:spcPts val="449"/>
              </a:spcBef>
              <a:buFont typeface="Arial" panose="020B0604020202020204" pitchFamily="34" charset="0"/>
              <a:buChar char="​"/>
              <a:defRPr sz="1347" b="0">
                <a:solidFill>
                  <a:schemeClr val="bg1"/>
                </a:solidFill>
              </a:defRPr>
            </a:lvl4pPr>
            <a:lvl5pPr marL="85506" indent="0">
              <a:spcBef>
                <a:spcPts val="449"/>
              </a:spcBef>
              <a:buFont typeface="Arial" panose="020B0604020202020204" pitchFamily="34" charset="0"/>
              <a:buChar char="​"/>
              <a:defRPr sz="1347" b="0">
                <a:solidFill>
                  <a:schemeClr val="bg1"/>
                </a:solidFill>
              </a:defRPr>
            </a:lvl5pPr>
            <a:lvl6pPr marL="85506" indent="0">
              <a:spcBef>
                <a:spcPts val="449"/>
              </a:spcBef>
              <a:buFont typeface="Arial" panose="020B0604020202020204" pitchFamily="34" charset="0"/>
              <a:buChar char="​"/>
              <a:defRPr sz="1347" b="0">
                <a:solidFill>
                  <a:schemeClr val="bg1"/>
                </a:solidFill>
              </a:defRPr>
            </a:lvl6pPr>
            <a:lvl9pPr marL="85506" indent="0">
              <a:spcBef>
                <a:spcPts val="449"/>
              </a:spcBef>
              <a:buFont typeface="Arial" panose="020B0604020202020204" pitchFamily="34" charset="0"/>
              <a:buChar char="​"/>
              <a:defRPr sz="1347"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3"/>
            <a:ext cx="2844800" cy="366183"/>
          </a:xfrm>
          <a:prstGeom prst="rect">
            <a:avLst/>
          </a:prstGeom>
        </p:spPr>
        <p:txBody>
          <a:bodyPr vert="horz" lIns="121609" tIns="60804" rIns="121609" bIns="60804"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898" smtClean="0">
                <a:solidFill>
                  <a:schemeClr val="bg1"/>
                </a:solidFill>
              </a:rPr>
              <a:pPr/>
              <a:t>‹#›</a:t>
            </a:fld>
            <a:endParaRPr lang="en-US" sz="898">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90" y="6230323"/>
            <a:ext cx="2844800" cy="366183"/>
          </a:xfrm>
          <a:prstGeom prst="rect">
            <a:avLst/>
          </a:prstGeom>
        </p:spPr>
        <p:txBody>
          <a:bodyPr vert="horz" lIns="121609" tIns="60804" rIns="121609" bIns="60804"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898">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3"/>
            <a:ext cx="2844800" cy="366183"/>
          </a:xfrm>
          <a:prstGeom prst="rect">
            <a:avLst/>
          </a:prstGeom>
        </p:spPr>
        <p:txBody>
          <a:bodyPr vert="horz" lIns="121609" tIns="60804" rIns="121609" bIns="60804"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898" smtClean="0">
                <a:solidFill>
                  <a:schemeClr val="bg1"/>
                </a:solidFill>
              </a:rPr>
              <a:pPr/>
              <a:t>‹#›</a:t>
            </a:fld>
            <a:endParaRPr lang="en-US" sz="898">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90" y="6230323"/>
            <a:ext cx="2844800" cy="366183"/>
          </a:xfrm>
          <a:prstGeom prst="rect">
            <a:avLst/>
          </a:prstGeom>
        </p:spPr>
        <p:txBody>
          <a:bodyPr vert="horz" lIns="121609" tIns="60804" rIns="121609" bIns="60804"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898">
              <a:solidFill>
                <a:schemeClr val="bg2"/>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3"/>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3" y="5294157"/>
            <a:ext cx="3584858" cy="529372"/>
          </a:xfrm>
        </p:spPr>
        <p:txBody>
          <a:bodyPr>
            <a:noAutofit/>
          </a:bodyPr>
          <a:lstStyle>
            <a:lvl1pPr marL="85506" indent="0">
              <a:spcBef>
                <a:spcPts val="449"/>
              </a:spcBef>
              <a:buFont typeface="Arial" panose="020B0604020202020204" pitchFamily="34" charset="0"/>
              <a:buChar char="​"/>
              <a:defRPr sz="1347" b="1">
                <a:solidFill>
                  <a:schemeClr val="bg1"/>
                </a:solidFill>
              </a:defRPr>
            </a:lvl1pPr>
            <a:lvl2pPr marL="85506" indent="0">
              <a:spcBef>
                <a:spcPts val="449"/>
              </a:spcBef>
              <a:buFont typeface="Arial" panose="020B0604020202020204" pitchFamily="34" charset="0"/>
              <a:buChar char="​"/>
              <a:defRPr sz="1347" b="1">
                <a:solidFill>
                  <a:schemeClr val="bg1"/>
                </a:solidFill>
              </a:defRPr>
            </a:lvl2pPr>
            <a:lvl3pPr marL="85506" indent="0">
              <a:spcBef>
                <a:spcPts val="449"/>
              </a:spcBef>
              <a:buFont typeface="Arial" panose="020B0604020202020204" pitchFamily="34" charset="0"/>
              <a:buChar char="​"/>
              <a:defRPr sz="1347" b="1">
                <a:solidFill>
                  <a:schemeClr val="bg1"/>
                </a:solidFill>
              </a:defRPr>
            </a:lvl3pPr>
            <a:lvl4pPr marL="85506" indent="0">
              <a:spcBef>
                <a:spcPts val="449"/>
              </a:spcBef>
              <a:buFont typeface="Arial" panose="020B0604020202020204" pitchFamily="34" charset="0"/>
              <a:buChar char="​"/>
              <a:defRPr sz="1347" b="1">
                <a:solidFill>
                  <a:schemeClr val="bg1"/>
                </a:solidFill>
              </a:defRPr>
            </a:lvl4pPr>
            <a:lvl5pPr marL="85506" indent="0">
              <a:spcBef>
                <a:spcPts val="449"/>
              </a:spcBef>
              <a:buFont typeface="Arial" panose="020B0604020202020204" pitchFamily="34" charset="0"/>
              <a:buChar char="​"/>
              <a:defRPr sz="1347" b="1">
                <a:solidFill>
                  <a:schemeClr val="bg1"/>
                </a:solidFill>
              </a:defRPr>
            </a:lvl5pPr>
            <a:lvl6pPr marL="85506" indent="0">
              <a:spcBef>
                <a:spcPts val="449"/>
              </a:spcBef>
              <a:buFont typeface="Arial" panose="020B0604020202020204" pitchFamily="34" charset="0"/>
              <a:buChar char="​"/>
              <a:defRPr sz="1347" b="1">
                <a:solidFill>
                  <a:schemeClr val="bg1"/>
                </a:solidFill>
              </a:defRPr>
            </a:lvl6pPr>
            <a:lvl7pPr marL="85506" indent="0">
              <a:spcBef>
                <a:spcPts val="449"/>
              </a:spcBef>
              <a:buFont typeface="Arial" panose="020B0604020202020204" pitchFamily="34" charset="0"/>
              <a:buChar char="​"/>
              <a:defRPr sz="1347" b="1">
                <a:solidFill>
                  <a:schemeClr val="bg1"/>
                </a:solidFill>
              </a:defRPr>
            </a:lvl7pPr>
            <a:lvl8pPr marL="85506" indent="0">
              <a:spcBef>
                <a:spcPts val="449"/>
              </a:spcBef>
              <a:buFont typeface="Arial" panose="020B0604020202020204" pitchFamily="34" charset="0"/>
              <a:buChar char="​"/>
              <a:defRPr sz="1347" b="1">
                <a:solidFill>
                  <a:schemeClr val="bg1"/>
                </a:solidFill>
              </a:defRPr>
            </a:lvl8pPr>
            <a:lvl9pPr marL="85506" indent="0">
              <a:spcBef>
                <a:spcPts val="449"/>
              </a:spcBef>
              <a:buFont typeface="Arial" panose="020B0604020202020204" pitchFamily="34" charset="0"/>
              <a:buChar char="​"/>
              <a:defRPr sz="1347"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a:t>Click to insert case study proof points</a:t>
            </a:r>
          </a:p>
          <a:p>
            <a:pPr lvl="1"/>
            <a:r>
              <a:rPr lang="en-US"/>
              <a:t>Second level</a:t>
            </a:r>
          </a:p>
          <a:p>
            <a:pPr lvl="2"/>
            <a:r>
              <a:rPr lang="en-US"/>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4" y="6227202"/>
            <a:ext cx="644786" cy="260942"/>
          </a:xfrm>
          <a:prstGeom prst="rect">
            <a:avLst/>
          </a:prstGeom>
        </p:spPr>
      </p:pic>
    </p:spTree>
    <p:extLst>
      <p:ext uri="{BB962C8B-B14F-4D97-AF65-F5344CB8AC3E}">
        <p14:creationId xmlns:p14="http://schemas.microsoft.com/office/powerpoint/2010/main" val="765450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71"/>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7"/>
            <a:ext cx="6473797" cy="3381265"/>
          </a:xfrm>
        </p:spPr>
        <p:txBody>
          <a:bodyPr anchor="t">
            <a:normAutofit/>
          </a:bodyPr>
          <a:lstStyle>
            <a:lvl1pPr>
              <a:defRPr sz="5985">
                <a:solidFill>
                  <a:schemeClr val="tx1"/>
                </a:solidFill>
              </a:defRPr>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1782" t="12990" r="50000" b="12990"/>
          <a:stretch/>
        </p:blipFill>
        <p:spPr>
          <a:xfrm>
            <a:off x="7394333" y="0"/>
            <a:ext cx="4797668" cy="6858000"/>
          </a:xfrm>
          <a:prstGeom prst="rect">
            <a:avLst/>
          </a:prstGeom>
        </p:spPr>
      </p:pic>
    </p:spTree>
    <p:extLst>
      <p:ext uri="{BB962C8B-B14F-4D97-AF65-F5344CB8AC3E}">
        <p14:creationId xmlns:p14="http://schemas.microsoft.com/office/powerpoint/2010/main" val="3587992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171455"/>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2802" y="171455"/>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802" y="171455"/>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2" y="1"/>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3"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3"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3"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3"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3"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0"/>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0"/>
              </a:p>
            </p:txBody>
          </p:sp>
        </p:grpSp>
      </p:grpSp>
    </p:spTree>
    <p:extLst>
      <p:ext uri="{BB962C8B-B14F-4D97-AF65-F5344CB8AC3E}">
        <p14:creationId xmlns:p14="http://schemas.microsoft.com/office/powerpoint/2010/main" val="11700232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52328"/>
          </a:xfrm>
          <a:prstGeom prst="rect">
            <a:avLst/>
          </a:prstGeom>
          <a:noFill/>
        </p:spPr>
        <p:txBody>
          <a:bodyPr wrap="square" rtlCol="0">
            <a:spAutoFit/>
          </a:bodyPr>
          <a:lstStyle/>
          <a:p>
            <a:pPr algn="l"/>
            <a:r>
              <a:rPr lang="en-US" sz="2992" b="0">
                <a:solidFill>
                  <a:schemeClr val="tx1"/>
                </a:solidFill>
              </a:rPr>
              <a:t>END OF TEMPLATE</a:t>
            </a:r>
          </a:p>
          <a:p>
            <a:pPr algn="l"/>
            <a:endParaRPr lang="en-US" sz="2992" b="0">
              <a:solidFill>
                <a:schemeClr val="tx1"/>
              </a:solidFill>
            </a:endParaRPr>
          </a:p>
          <a:p>
            <a:pPr algn="l"/>
            <a:r>
              <a:rPr lang="en-US" sz="6583" b="1">
                <a:solidFill>
                  <a:schemeClr val="tx1"/>
                </a:solidFill>
              </a:rPr>
              <a:t>Do not use any master slide that exists after this one</a:t>
            </a:r>
          </a:p>
        </p:txBody>
      </p:sp>
    </p:spTree>
    <p:extLst>
      <p:ext uri="{BB962C8B-B14F-4D97-AF65-F5344CB8AC3E}">
        <p14:creationId xmlns:p14="http://schemas.microsoft.com/office/powerpoint/2010/main" val="3626482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323073" y="6326791"/>
            <a:ext cx="2679276" cy="477074"/>
          </a:xfrm>
          <a:prstGeom prst="rect">
            <a:avLst/>
          </a:prstGeom>
          <a:noFill/>
          <a:ln w="9525">
            <a:noFill/>
            <a:miter lim="800000"/>
            <a:headEnd/>
            <a:tailEnd/>
          </a:ln>
          <a:effectLst/>
        </p:spPr>
      </p:pic>
    </p:spTree>
    <p:extLst>
      <p:ext uri="{BB962C8B-B14F-4D97-AF65-F5344CB8AC3E}">
        <p14:creationId xmlns:p14="http://schemas.microsoft.com/office/powerpoint/2010/main" val="4123625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810125" y="6356674"/>
            <a:ext cx="2110335" cy="375768"/>
          </a:xfrm>
          <a:prstGeom prst="rect">
            <a:avLst/>
          </a:prstGeom>
          <a:noFill/>
          <a:ln w="9525">
            <a:noFill/>
            <a:miter lim="800000"/>
            <a:headEnd/>
            <a:tailEnd/>
          </a:ln>
          <a:effectLst/>
        </p:spPr>
      </p:pic>
    </p:spTree>
    <p:extLst>
      <p:ext uri="{BB962C8B-B14F-4D97-AF65-F5344CB8AC3E}">
        <p14:creationId xmlns:p14="http://schemas.microsoft.com/office/powerpoint/2010/main" val="28788182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Quotes">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FE18CE73-80EE-4919-88B6-3D5B7FDADA33}"/>
              </a:ext>
            </a:extLst>
          </p:cNvPr>
          <p:cNvSpPr>
            <a:spLocks noGrp="1"/>
          </p:cNvSpPr>
          <p:nvPr>
            <p:ph type="pic" sz="quarter" idx="10"/>
          </p:nvPr>
        </p:nvSpPr>
        <p:spPr>
          <a:xfrm>
            <a:off x="2986311" y="2"/>
            <a:ext cx="9205690" cy="6858000"/>
          </a:xfrm>
          <a:custGeom>
            <a:avLst/>
            <a:gdLst>
              <a:gd name="connsiteX0" fmla="*/ 0 w 9205690"/>
              <a:gd name="connsiteY0" fmla="*/ 0 h 6858000"/>
              <a:gd name="connsiteX1" fmla="*/ 9205690 w 9205690"/>
              <a:gd name="connsiteY1" fmla="*/ 0 h 6858000"/>
              <a:gd name="connsiteX2" fmla="*/ 9205690 w 9205690"/>
              <a:gd name="connsiteY2" fmla="*/ 3425913 h 6858000"/>
              <a:gd name="connsiteX3" fmla="*/ 5753555 w 9205690"/>
              <a:gd name="connsiteY3" fmla="*/ 6858000 h 6858000"/>
              <a:gd name="connsiteX4" fmla="*/ 0 w 9205690"/>
              <a:gd name="connsiteY4" fmla="*/ 685799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5690" h="6858000">
                <a:moveTo>
                  <a:pt x="0" y="0"/>
                </a:moveTo>
                <a:lnTo>
                  <a:pt x="9205690" y="0"/>
                </a:lnTo>
                <a:lnTo>
                  <a:pt x="9205690" y="3425913"/>
                </a:lnTo>
                <a:cubicBezTo>
                  <a:pt x="9205690" y="5321403"/>
                  <a:pt x="7660116" y="6858000"/>
                  <a:pt x="5753555" y="6858000"/>
                </a:cubicBezTo>
                <a:lnTo>
                  <a:pt x="0" y="6857999"/>
                </a:lnTo>
                <a:close/>
              </a:path>
            </a:pathLst>
          </a:custGeom>
        </p:spPr>
        <p:txBody>
          <a:bodyPr wrap="square">
            <a:noAutofit/>
          </a:bodyPr>
          <a:lstStyle/>
          <a:p>
            <a:endParaRPr lang="en-ID"/>
          </a:p>
        </p:txBody>
      </p:sp>
      <p:sp>
        <p:nvSpPr>
          <p:cNvPr id="15" name="Content Placeholder 2">
            <a:extLst>
              <a:ext uri="{FF2B5EF4-FFF2-40B4-BE49-F238E27FC236}">
                <a16:creationId xmlns:a16="http://schemas.microsoft.com/office/drawing/2014/main" id="{9738A948-47BB-4D46-B100-E0441E11695A}"/>
              </a:ext>
            </a:extLst>
          </p:cNvPr>
          <p:cNvSpPr>
            <a:spLocks noGrp="1"/>
          </p:cNvSpPr>
          <p:nvPr>
            <p:ph idx="1" hasCustomPrompt="1"/>
          </p:nvPr>
        </p:nvSpPr>
        <p:spPr>
          <a:xfrm>
            <a:off x="3972333" y="5109360"/>
            <a:ext cx="1615667" cy="405189"/>
          </a:xfrm>
          <a:prstGeom prst="round2DiagRect">
            <a:avLst>
              <a:gd name="adj1" fmla="val 50000"/>
              <a:gd name="adj2" fmla="val 0"/>
            </a:avLst>
          </a:prstGeom>
          <a:noFill/>
          <a:ln w="15875">
            <a:solidFill>
              <a:schemeClr val="bg1"/>
            </a:solidFill>
          </a:ln>
        </p:spPr>
        <p:txBody>
          <a:bodyPr vert="horz" wrap="square" lIns="36000" tIns="36000" rIns="36000" bIns="36000" rtlCol="0" anchor="ctr" anchorCtr="0">
            <a:spAutoFit/>
          </a:bodyPr>
          <a:lstStyle>
            <a:lvl1pPr marL="0" indent="0" algn="ctr">
              <a:buFont typeface="Arial" panose="020B0604020202020204" pitchFamily="34" charset="0"/>
              <a:buNone/>
              <a:defRPr lang="en-ID" sz="1400" dirty="0">
                <a:solidFill>
                  <a:schemeClr val="bg1"/>
                </a:solidFill>
                <a:latin typeface="Times New Roman" panose="02020603050405020304" pitchFamily="18" charset="0"/>
                <a:ea typeface="Verdana" panose="020B0604030504040204" pitchFamily="34" charset="0"/>
                <a:cs typeface="Times New Roman" panose="02020603050405020304" pitchFamily="18" charset="0"/>
              </a:defRPr>
            </a:lvl1pPr>
          </a:lstStyle>
          <a:p>
            <a:pPr marL="228594" lvl="0" indent="-228594" algn="ctr"/>
            <a:r>
              <a:rPr lang="en-US" dirty="0"/>
              <a:t>Your Quotes</a:t>
            </a:r>
            <a:endParaRPr lang="en-ID" dirty="0"/>
          </a:p>
        </p:txBody>
      </p:sp>
      <p:sp>
        <p:nvSpPr>
          <p:cNvPr id="16" name="Title 1">
            <a:extLst>
              <a:ext uri="{FF2B5EF4-FFF2-40B4-BE49-F238E27FC236}">
                <a16:creationId xmlns:a16="http://schemas.microsoft.com/office/drawing/2014/main" id="{34CF7F2A-782E-460C-9F0A-5EB775E97002}"/>
              </a:ext>
            </a:extLst>
          </p:cNvPr>
          <p:cNvSpPr>
            <a:spLocks noGrp="1"/>
          </p:cNvSpPr>
          <p:nvPr>
            <p:ph type="title"/>
          </p:nvPr>
        </p:nvSpPr>
        <p:spPr>
          <a:xfrm>
            <a:off x="3890906" y="962072"/>
            <a:ext cx="5595999" cy="3748719"/>
          </a:xfrm>
          <a:prstGeom prst="rect">
            <a:avLst/>
          </a:prstGeom>
        </p:spPr>
        <p:txBody>
          <a:bodyPr wrap="square" anchor="t" anchorCtr="0">
            <a:noAutofit/>
          </a:bodyPr>
          <a:lstStyle>
            <a:lvl1pPr>
              <a:defRPr lang="en-ID" sz="6600" b="1" i="1" dirty="0">
                <a:solidFill>
                  <a:schemeClr val="bg1"/>
                </a:solidFill>
                <a:latin typeface="Times New Roman" panose="02020603050405020304" pitchFamily="18" charset="0"/>
                <a:cs typeface="Times New Roman" panose="02020603050405020304" pitchFamily="18" charset="0"/>
              </a:defRPr>
            </a:lvl1pPr>
          </a:lstStyle>
          <a:p>
            <a:pPr marL="0" lvl="0"/>
            <a:r>
              <a:rPr lang="en-US" dirty="0"/>
              <a:t>Click to edit Master title style</a:t>
            </a:r>
            <a:endParaRPr lang="en-ID" dirty="0"/>
          </a:p>
        </p:txBody>
      </p:sp>
      <p:sp>
        <p:nvSpPr>
          <p:cNvPr id="12" name="Freeform: Shape 11">
            <a:extLst>
              <a:ext uri="{FF2B5EF4-FFF2-40B4-BE49-F238E27FC236}">
                <a16:creationId xmlns:a16="http://schemas.microsoft.com/office/drawing/2014/main" id="{91E43D42-F3A1-4C19-BB04-6D91FC4E5D0D}"/>
              </a:ext>
            </a:extLst>
          </p:cNvPr>
          <p:cNvSpPr/>
          <p:nvPr/>
        </p:nvSpPr>
        <p:spPr>
          <a:xfrm>
            <a:off x="694199" y="3620691"/>
            <a:ext cx="1814043" cy="1409032"/>
          </a:xfrm>
          <a:custGeom>
            <a:avLst/>
            <a:gdLst/>
            <a:ahLst/>
            <a:cxnLst/>
            <a:rect l="l" t="t" r="r" b="b"/>
            <a:pathLst>
              <a:path w="95994" h="74562">
                <a:moveTo>
                  <a:pt x="92199" y="0"/>
                </a:moveTo>
                <a:lnTo>
                  <a:pt x="92199" y="5469"/>
                </a:lnTo>
                <a:cubicBezTo>
                  <a:pt x="84460" y="8297"/>
                  <a:pt x="78396" y="12743"/>
                  <a:pt x="74005" y="18808"/>
                </a:cubicBezTo>
                <a:cubicBezTo>
                  <a:pt x="69615" y="24872"/>
                  <a:pt x="67419" y="31179"/>
                  <a:pt x="67419" y="37727"/>
                </a:cubicBezTo>
                <a:cubicBezTo>
                  <a:pt x="67419" y="39141"/>
                  <a:pt x="67643" y="40183"/>
                  <a:pt x="68089" y="40853"/>
                </a:cubicBezTo>
                <a:cubicBezTo>
                  <a:pt x="68387" y="41299"/>
                  <a:pt x="68722" y="41523"/>
                  <a:pt x="69094" y="41523"/>
                </a:cubicBezTo>
                <a:cubicBezTo>
                  <a:pt x="69466" y="41523"/>
                  <a:pt x="70024" y="41262"/>
                  <a:pt x="70768" y="40741"/>
                </a:cubicBezTo>
                <a:cubicBezTo>
                  <a:pt x="73149" y="39030"/>
                  <a:pt x="76163" y="38174"/>
                  <a:pt x="79809" y="38174"/>
                </a:cubicBezTo>
                <a:cubicBezTo>
                  <a:pt x="84051" y="38174"/>
                  <a:pt x="87809" y="39904"/>
                  <a:pt x="91083" y="43364"/>
                </a:cubicBezTo>
                <a:cubicBezTo>
                  <a:pt x="94357" y="46825"/>
                  <a:pt x="95994" y="50936"/>
                  <a:pt x="95994" y="55698"/>
                </a:cubicBezTo>
                <a:cubicBezTo>
                  <a:pt x="95994" y="60684"/>
                  <a:pt x="94115" y="65075"/>
                  <a:pt x="90358" y="68870"/>
                </a:cubicBezTo>
                <a:cubicBezTo>
                  <a:pt x="86600" y="72665"/>
                  <a:pt x="82042" y="74562"/>
                  <a:pt x="76684" y="74562"/>
                </a:cubicBezTo>
                <a:cubicBezTo>
                  <a:pt x="70433" y="74562"/>
                  <a:pt x="65038" y="71995"/>
                  <a:pt x="60499" y="66861"/>
                </a:cubicBezTo>
                <a:cubicBezTo>
                  <a:pt x="55960" y="61726"/>
                  <a:pt x="53690" y="54843"/>
                  <a:pt x="53690" y="46211"/>
                </a:cubicBezTo>
                <a:cubicBezTo>
                  <a:pt x="53690" y="36165"/>
                  <a:pt x="56778" y="27161"/>
                  <a:pt x="62955" y="19198"/>
                </a:cubicBezTo>
                <a:cubicBezTo>
                  <a:pt x="69131" y="11236"/>
                  <a:pt x="78879" y="4836"/>
                  <a:pt x="92199" y="0"/>
                </a:cubicBezTo>
                <a:close/>
                <a:moveTo>
                  <a:pt x="38510" y="0"/>
                </a:moveTo>
                <a:lnTo>
                  <a:pt x="38510" y="5469"/>
                </a:lnTo>
                <a:cubicBezTo>
                  <a:pt x="30771" y="8297"/>
                  <a:pt x="24706" y="12743"/>
                  <a:pt x="20315" y="18808"/>
                </a:cubicBezTo>
                <a:cubicBezTo>
                  <a:pt x="15925" y="24872"/>
                  <a:pt x="13730" y="31179"/>
                  <a:pt x="13730" y="37727"/>
                </a:cubicBezTo>
                <a:cubicBezTo>
                  <a:pt x="13730" y="39141"/>
                  <a:pt x="13953" y="40183"/>
                  <a:pt x="14399" y="40853"/>
                </a:cubicBezTo>
                <a:cubicBezTo>
                  <a:pt x="14697" y="41299"/>
                  <a:pt x="15032" y="41523"/>
                  <a:pt x="15404" y="41523"/>
                </a:cubicBezTo>
                <a:cubicBezTo>
                  <a:pt x="15776" y="41523"/>
                  <a:pt x="16334" y="41262"/>
                  <a:pt x="17078" y="40741"/>
                </a:cubicBezTo>
                <a:cubicBezTo>
                  <a:pt x="19460" y="39030"/>
                  <a:pt x="22473" y="38174"/>
                  <a:pt x="26120" y="38174"/>
                </a:cubicBezTo>
                <a:cubicBezTo>
                  <a:pt x="30361" y="38174"/>
                  <a:pt x="34119" y="39904"/>
                  <a:pt x="37393" y="43364"/>
                </a:cubicBezTo>
                <a:cubicBezTo>
                  <a:pt x="40668" y="46825"/>
                  <a:pt x="42305" y="50936"/>
                  <a:pt x="42305" y="55698"/>
                </a:cubicBezTo>
                <a:cubicBezTo>
                  <a:pt x="42305" y="60684"/>
                  <a:pt x="40426" y="65075"/>
                  <a:pt x="36668" y="68870"/>
                </a:cubicBezTo>
                <a:cubicBezTo>
                  <a:pt x="32910" y="72665"/>
                  <a:pt x="28352" y="74562"/>
                  <a:pt x="22994" y="74562"/>
                </a:cubicBezTo>
                <a:cubicBezTo>
                  <a:pt x="16743" y="74562"/>
                  <a:pt x="11348" y="71995"/>
                  <a:pt x="6809" y="66861"/>
                </a:cubicBezTo>
                <a:cubicBezTo>
                  <a:pt x="2270" y="61726"/>
                  <a:pt x="0" y="54843"/>
                  <a:pt x="0" y="46211"/>
                </a:cubicBezTo>
                <a:cubicBezTo>
                  <a:pt x="0" y="36165"/>
                  <a:pt x="3088" y="27161"/>
                  <a:pt x="9265" y="19198"/>
                </a:cubicBezTo>
                <a:cubicBezTo>
                  <a:pt x="15441" y="11236"/>
                  <a:pt x="25189" y="4836"/>
                  <a:pt x="38510" y="0"/>
                </a:cubicBezTo>
                <a:close/>
              </a:path>
            </a:pathLst>
          </a:custGeom>
          <a:noFill/>
          <a:ln w="25400" cap="rnd">
            <a:gradFill flip="none" rotWithShape="1">
              <a:gsLst>
                <a:gs pos="54000">
                  <a:srgbClr val="788B4B"/>
                </a:gs>
                <a:gs pos="0">
                  <a:srgbClr val="38502A"/>
                </a:gs>
              </a:gsLst>
              <a:lin ang="1080000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D" sz="2900" dirty="0"/>
          </a:p>
        </p:txBody>
      </p:sp>
    </p:spTree>
    <p:extLst>
      <p:ext uri="{BB962C8B-B14F-4D97-AF65-F5344CB8AC3E}">
        <p14:creationId xmlns:p14="http://schemas.microsoft.com/office/powerpoint/2010/main" val="992413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0137BEE-B921-A945-80E6-C38B95E92354}"/>
              </a:ext>
            </a:extLst>
          </p:cNvPr>
          <p:cNvSpPr/>
          <p:nvPr userDrawn="1"/>
        </p:nvSpPr>
        <p:spPr bwMode="white">
          <a:xfrm>
            <a:off x="8995954" y="1371600"/>
            <a:ext cx="3196046"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0" name="Rectangle 19">
            <a:extLst>
              <a:ext uri="{FF2B5EF4-FFF2-40B4-BE49-F238E27FC236}">
                <a16:creationId xmlns:a16="http://schemas.microsoft.com/office/drawing/2014/main" id="{E1BBE990-CD1D-304C-A878-01462CB32A74}"/>
              </a:ext>
            </a:extLst>
          </p:cNvPr>
          <p:cNvSpPr/>
          <p:nvPr userDrawn="1"/>
        </p:nvSpPr>
        <p:spPr bwMode="white">
          <a:xfrm>
            <a:off x="621356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19" name="Rectangle 18">
            <a:extLst>
              <a:ext uri="{FF2B5EF4-FFF2-40B4-BE49-F238E27FC236}">
                <a16:creationId xmlns:a16="http://schemas.microsoft.com/office/drawing/2014/main" id="{DA9273FC-712D-7341-852B-1F9A92698452}"/>
              </a:ext>
            </a:extLst>
          </p:cNvPr>
          <p:cNvSpPr/>
          <p:nvPr userDrawn="1"/>
        </p:nvSpPr>
        <p:spPr bwMode="white">
          <a:xfrm>
            <a:off x="3401786"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9" name="Rectangle 28">
            <a:extLst>
              <a:ext uri="{FF2B5EF4-FFF2-40B4-BE49-F238E27FC236}">
                <a16:creationId xmlns:a16="http://schemas.microsoft.com/office/drawing/2014/main" id="{F8F1EED4-9C02-4A24-A994-AD388A2977C2}"/>
              </a:ext>
            </a:extLst>
          </p:cNvPr>
          <p:cNvSpPr/>
          <p:nvPr userDrawn="1"/>
        </p:nvSpPr>
        <p:spPr bwMode="white">
          <a:xfrm>
            <a:off x="609600" y="1371600"/>
            <a:ext cx="2583930" cy="4600575"/>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2" name="Title 1">
            <a:extLst>
              <a:ext uri="{FF2B5EF4-FFF2-40B4-BE49-F238E27FC236}">
                <a16:creationId xmlns:a16="http://schemas.microsoft.com/office/drawing/2014/main" id="{776E45A0-DE19-41AA-9EA2-68795CBC79E7}"/>
              </a:ext>
            </a:extLst>
          </p:cNvPr>
          <p:cNvSpPr>
            <a:spLocks noGrp="1"/>
          </p:cNvSpPr>
          <p:nvPr userDrawn="1">
            <p:ph type="title" hasCustomPrompt="1"/>
          </p:nvPr>
        </p:nvSpPr>
        <p:spPr>
          <a:xfrm>
            <a:off x="610362" y="219456"/>
            <a:ext cx="10972800" cy="902187"/>
          </a:xfrm>
        </p:spPr>
        <p:txBody>
          <a:bodyPr/>
          <a:lstStyle/>
          <a:p>
            <a:r>
              <a:rPr lang="en-US" dirty="0"/>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userDrawn="1">
            <p:ph type="pic" sz="quarter" idx="21" hasCustomPrompt="1"/>
          </p:nvPr>
        </p:nvSpPr>
        <p:spPr>
          <a:xfrm>
            <a:off x="1227865"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userDrawn="1">
            <p:ph type="body" sz="quarter" idx="12" hasCustomPrompt="1"/>
          </p:nvPr>
        </p:nvSpPr>
        <p:spPr>
          <a:xfrm>
            <a:off x="81656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userDrawn="1">
            <p:ph type="body" sz="quarter" idx="15" hasCustomPrompt="1"/>
          </p:nvPr>
        </p:nvSpPr>
        <p:spPr>
          <a:xfrm>
            <a:off x="81656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2" name="Picture Placeholder 2">
            <a:extLst>
              <a:ext uri="{FF2B5EF4-FFF2-40B4-BE49-F238E27FC236}">
                <a16:creationId xmlns:a16="http://schemas.microsoft.com/office/drawing/2014/main" id="{EE06F97E-AECF-46C6-8C72-D8614FF8B8A2}"/>
              </a:ext>
            </a:extLst>
          </p:cNvPr>
          <p:cNvSpPr>
            <a:spLocks noGrp="1"/>
          </p:cNvSpPr>
          <p:nvPr userDrawn="1">
            <p:ph type="pic" sz="quarter" idx="22" hasCustomPrompt="1"/>
          </p:nvPr>
        </p:nvSpPr>
        <p:spPr>
          <a:xfrm>
            <a:off x="402415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userDrawn="1">
            <p:ph type="body" sz="quarter" idx="23" hasCustomPrompt="1"/>
          </p:nvPr>
        </p:nvSpPr>
        <p:spPr>
          <a:xfrm>
            <a:off x="361285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userDrawn="1">
            <p:ph type="body" sz="quarter" idx="24" hasCustomPrompt="1"/>
          </p:nvPr>
        </p:nvSpPr>
        <p:spPr>
          <a:xfrm>
            <a:off x="361285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5" name="Picture Placeholder 2">
            <a:extLst>
              <a:ext uri="{FF2B5EF4-FFF2-40B4-BE49-F238E27FC236}">
                <a16:creationId xmlns:a16="http://schemas.microsoft.com/office/drawing/2014/main" id="{43AE853D-A5F4-4D54-A18E-7D0A184EF5C2}"/>
              </a:ext>
            </a:extLst>
          </p:cNvPr>
          <p:cNvSpPr>
            <a:spLocks noGrp="1"/>
          </p:cNvSpPr>
          <p:nvPr userDrawn="1">
            <p:ph type="pic" sz="quarter" idx="25" hasCustomPrompt="1"/>
          </p:nvPr>
        </p:nvSpPr>
        <p:spPr>
          <a:xfrm>
            <a:off x="6820444"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userDrawn="1">
            <p:ph type="body" sz="quarter" idx="26" hasCustomPrompt="1"/>
          </p:nvPr>
        </p:nvSpPr>
        <p:spPr>
          <a:xfrm>
            <a:off x="6409144"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userDrawn="1">
            <p:ph type="body" sz="quarter" idx="27" hasCustomPrompt="1"/>
          </p:nvPr>
        </p:nvSpPr>
        <p:spPr>
          <a:xfrm>
            <a:off x="6409144"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sp>
        <p:nvSpPr>
          <p:cNvPr id="108" name="Picture Placeholder 2">
            <a:extLst>
              <a:ext uri="{FF2B5EF4-FFF2-40B4-BE49-F238E27FC236}">
                <a16:creationId xmlns:a16="http://schemas.microsoft.com/office/drawing/2014/main" id="{6FE0039E-3D28-4402-9344-60BE08AF1697}"/>
              </a:ext>
            </a:extLst>
          </p:cNvPr>
          <p:cNvSpPr>
            <a:spLocks noGrp="1"/>
          </p:cNvSpPr>
          <p:nvPr userDrawn="1">
            <p:ph type="pic" sz="quarter" idx="28" hasCustomPrompt="1"/>
          </p:nvPr>
        </p:nvSpPr>
        <p:spPr>
          <a:xfrm>
            <a:off x="9585113" y="1986042"/>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userDrawn="1">
            <p:ph type="body" sz="quarter" idx="29" hasCustomPrompt="1"/>
          </p:nvPr>
        </p:nvSpPr>
        <p:spPr>
          <a:xfrm>
            <a:off x="9173813" y="3816696"/>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userDrawn="1">
            <p:ph type="body" sz="quarter" idx="30" hasCustomPrompt="1"/>
          </p:nvPr>
        </p:nvSpPr>
        <p:spPr>
          <a:xfrm>
            <a:off x="9173813" y="4503910"/>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dirty="0"/>
              <a:t>Click to add body</a:t>
            </a:r>
          </a:p>
          <a:p>
            <a:pPr lvl="0"/>
            <a:endParaRPr lang="en-US" dirty="0"/>
          </a:p>
        </p:txBody>
      </p:sp>
      <p:pic>
        <p:nvPicPr>
          <p:cNvPr id="22" name="Graphic 21">
            <a:extLst>
              <a:ext uri="{FF2B5EF4-FFF2-40B4-BE49-F238E27FC236}">
                <a16:creationId xmlns:a16="http://schemas.microsoft.com/office/drawing/2014/main" id="{00181245-24A2-4E6A-A250-6F1DC11967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11759380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576">
          <p15:clr>
            <a:srgbClr val="FBAE40"/>
          </p15:clr>
        </p15:guide>
        <p15:guide id="2" pos="512">
          <p15:clr>
            <a:srgbClr val="FBAE40"/>
          </p15:clr>
        </p15:guide>
        <p15:guide id="3" pos="9728">
          <p15:clr>
            <a:srgbClr val="FBAE40"/>
          </p15:clr>
        </p15:guide>
        <p15:guide id="4" orient="horz" pos="1152">
          <p15:clr>
            <a:srgbClr val="FBAE40"/>
          </p15:clr>
        </p15:guide>
        <p15:guide id="5" orient="horz" pos="5016">
          <p15:clr>
            <a:srgbClr val="FBAE40"/>
          </p15:clr>
        </p15:guide>
        <p15:guide id="6" pos="51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C87FADD-5E49-4CBF-AF28-EDDE572285AA}"/>
              </a:ext>
            </a:extLst>
          </p:cNvPr>
          <p:cNvGrpSpPr/>
          <p:nvPr userDrawn="1"/>
        </p:nvGrpSpPr>
        <p:grpSpPr>
          <a:xfrm>
            <a:off x="5450207" y="12668"/>
            <a:ext cx="6735543" cy="4844649"/>
            <a:chOff x="8034510" y="750981"/>
            <a:chExt cx="6735543" cy="4844649"/>
          </a:xfrm>
        </p:grpSpPr>
        <p:pic>
          <p:nvPicPr>
            <p:cNvPr id="10" name="Graphic 9">
              <a:extLst>
                <a:ext uri="{FF2B5EF4-FFF2-40B4-BE49-F238E27FC236}">
                  <a16:creationId xmlns:a16="http://schemas.microsoft.com/office/drawing/2014/main" id="{D757649F-8C83-4DCC-810D-AC11FC85E4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153821" y="901261"/>
              <a:ext cx="6496921" cy="4544088"/>
            </a:xfrm>
            <a:prstGeom prst="rect">
              <a:avLst/>
            </a:prstGeom>
          </p:spPr>
        </p:pic>
        <p:sp>
          <p:nvSpPr>
            <p:cNvPr id="11" name="Rectangle 10">
              <a:extLst>
                <a:ext uri="{FF2B5EF4-FFF2-40B4-BE49-F238E27FC236}">
                  <a16:creationId xmlns:a16="http://schemas.microsoft.com/office/drawing/2014/main" id="{19907937-2D7F-486A-BEE5-089547CB5D63}"/>
                </a:ext>
              </a:extLst>
            </p:cNvPr>
            <p:cNvSpPr/>
            <p:nvPr/>
          </p:nvSpPr>
          <p:spPr>
            <a:xfrm>
              <a:off x="8034510" y="750981"/>
              <a:ext cx="6735543" cy="4844649"/>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p:grpSp>
      <p:sp>
        <p:nvSpPr>
          <p:cNvPr id="7" name="Freeform 5">
            <a:extLst>
              <a:ext uri="{FF2B5EF4-FFF2-40B4-BE49-F238E27FC236}">
                <a16:creationId xmlns:a16="http://schemas.microsoft.com/office/drawing/2014/main" id="{0CA91239-CCC9-45FD-8D1E-CA9A3DFC415C}"/>
              </a:ext>
            </a:extLst>
          </p:cNvPr>
          <p:cNvSpPr>
            <a:spLocks/>
          </p:cNvSpPr>
          <p:nvPr userDrawn="1"/>
        </p:nvSpPr>
        <p:spPr bwMode="auto">
          <a:xfrm rot="10800000" flipH="1">
            <a:off x="10693401" y="5932422"/>
            <a:ext cx="1854200" cy="1851156"/>
          </a:xfrm>
          <a:custGeom>
            <a:avLst/>
            <a:gdLst>
              <a:gd name="T0" fmla="*/ 1354 w 1620"/>
              <a:gd name="T1" fmla="*/ 1619 h 1619"/>
              <a:gd name="T2" fmla="*/ 827 w 1620"/>
              <a:gd name="T3" fmla="*/ 1513 h 1619"/>
              <a:gd name="T4" fmla="*/ 396 w 1620"/>
              <a:gd name="T5" fmla="*/ 1223 h 1619"/>
              <a:gd name="T6" fmla="*/ 106 w 1620"/>
              <a:gd name="T7" fmla="*/ 793 h 1619"/>
              <a:gd name="T8" fmla="*/ 0 w 1620"/>
              <a:gd name="T9" fmla="*/ 266 h 1619"/>
              <a:gd name="T10" fmla="*/ 266 w 1620"/>
              <a:gd name="T11" fmla="*/ 0 h 1619"/>
              <a:gd name="T12" fmla="*/ 532 w 1620"/>
              <a:gd name="T13" fmla="*/ 266 h 1619"/>
              <a:gd name="T14" fmla="*/ 1354 w 1620"/>
              <a:gd name="T15" fmla="*/ 1087 h 1619"/>
              <a:gd name="T16" fmla="*/ 1620 w 1620"/>
              <a:gd name="T17" fmla="*/ 1353 h 1619"/>
              <a:gd name="T18" fmla="*/ 1354 w 1620"/>
              <a:gd name="T19" fmla="*/ 1619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0" h="1619">
                <a:moveTo>
                  <a:pt x="1354" y="1619"/>
                </a:moveTo>
                <a:cubicBezTo>
                  <a:pt x="1171" y="1619"/>
                  <a:pt x="994" y="1584"/>
                  <a:pt x="827" y="1513"/>
                </a:cubicBezTo>
                <a:cubicBezTo>
                  <a:pt x="665" y="1445"/>
                  <a:pt x="521" y="1347"/>
                  <a:pt x="396" y="1223"/>
                </a:cubicBezTo>
                <a:cubicBezTo>
                  <a:pt x="272" y="1099"/>
                  <a:pt x="175" y="954"/>
                  <a:pt x="106" y="793"/>
                </a:cubicBezTo>
                <a:cubicBezTo>
                  <a:pt x="36" y="626"/>
                  <a:pt x="0" y="448"/>
                  <a:pt x="0" y="266"/>
                </a:cubicBezTo>
                <a:cubicBezTo>
                  <a:pt x="0" y="119"/>
                  <a:pt x="119" y="0"/>
                  <a:pt x="266" y="0"/>
                </a:cubicBezTo>
                <a:cubicBezTo>
                  <a:pt x="413" y="0"/>
                  <a:pt x="532" y="119"/>
                  <a:pt x="532" y="266"/>
                </a:cubicBezTo>
                <a:cubicBezTo>
                  <a:pt x="532" y="719"/>
                  <a:pt x="901" y="1087"/>
                  <a:pt x="1354" y="1087"/>
                </a:cubicBezTo>
                <a:cubicBezTo>
                  <a:pt x="1501" y="1087"/>
                  <a:pt x="1620" y="1206"/>
                  <a:pt x="1620" y="1353"/>
                </a:cubicBezTo>
                <a:cubicBezTo>
                  <a:pt x="1620" y="1500"/>
                  <a:pt x="1501" y="1619"/>
                  <a:pt x="1354" y="1619"/>
                </a:cubicBezTo>
                <a:close/>
              </a:path>
            </a:pathLst>
          </a:custGeom>
          <a:gradFill>
            <a:gsLst>
              <a:gs pos="0">
                <a:schemeClr val="accent1">
                  <a:lumMod val="5000"/>
                  <a:lumOff val="95000"/>
                </a:schemeClr>
              </a:gs>
              <a:gs pos="71000">
                <a:srgbClr val="EB5232"/>
              </a:gs>
            </a:gsLst>
            <a:lin ang="5400000" scaled="1"/>
          </a:gradFill>
          <a:ln>
            <a:noFill/>
          </a:ln>
        </p:spPr>
        <p:txBody>
          <a:bodyPr vert="horz" wrap="square" lIns="91440" tIns="45720" rIns="91440" bIns="45720" numCol="1" anchor="t" anchorCtr="0" compatLnSpc="1">
            <a:prstTxWarp prst="textNoShape">
              <a:avLst/>
            </a:prstTxWarp>
          </a:bodyPr>
          <a:lstStyle/>
          <a:p>
            <a:endParaRPr lang="en-US" sz="2900"/>
          </a:p>
        </p:txBody>
      </p:sp>
      <p:sp>
        <p:nvSpPr>
          <p:cNvPr id="8" name="Freeform 5">
            <a:extLst>
              <a:ext uri="{FF2B5EF4-FFF2-40B4-BE49-F238E27FC236}">
                <a16:creationId xmlns:a16="http://schemas.microsoft.com/office/drawing/2014/main" id="{F4493024-83EF-4CE6-AF87-80B96C58A6DB}"/>
              </a:ext>
            </a:extLst>
          </p:cNvPr>
          <p:cNvSpPr>
            <a:spLocks/>
          </p:cNvSpPr>
          <p:nvPr userDrawn="1"/>
        </p:nvSpPr>
        <p:spPr bwMode="auto">
          <a:xfrm rot="17178977">
            <a:off x="-551636" y="-480782"/>
            <a:ext cx="1385492" cy="1383220"/>
          </a:xfrm>
          <a:custGeom>
            <a:avLst/>
            <a:gdLst>
              <a:gd name="T0" fmla="*/ 1354 w 1620"/>
              <a:gd name="T1" fmla="*/ 1619 h 1619"/>
              <a:gd name="T2" fmla="*/ 827 w 1620"/>
              <a:gd name="T3" fmla="*/ 1513 h 1619"/>
              <a:gd name="T4" fmla="*/ 396 w 1620"/>
              <a:gd name="T5" fmla="*/ 1223 h 1619"/>
              <a:gd name="T6" fmla="*/ 106 w 1620"/>
              <a:gd name="T7" fmla="*/ 793 h 1619"/>
              <a:gd name="T8" fmla="*/ 0 w 1620"/>
              <a:gd name="T9" fmla="*/ 266 h 1619"/>
              <a:gd name="T10" fmla="*/ 266 w 1620"/>
              <a:gd name="T11" fmla="*/ 0 h 1619"/>
              <a:gd name="T12" fmla="*/ 532 w 1620"/>
              <a:gd name="T13" fmla="*/ 266 h 1619"/>
              <a:gd name="T14" fmla="*/ 1354 w 1620"/>
              <a:gd name="T15" fmla="*/ 1087 h 1619"/>
              <a:gd name="T16" fmla="*/ 1620 w 1620"/>
              <a:gd name="T17" fmla="*/ 1353 h 1619"/>
              <a:gd name="T18" fmla="*/ 1354 w 1620"/>
              <a:gd name="T19" fmla="*/ 1619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0" h="1619">
                <a:moveTo>
                  <a:pt x="1354" y="1619"/>
                </a:moveTo>
                <a:cubicBezTo>
                  <a:pt x="1171" y="1619"/>
                  <a:pt x="994" y="1584"/>
                  <a:pt x="827" y="1513"/>
                </a:cubicBezTo>
                <a:cubicBezTo>
                  <a:pt x="665" y="1445"/>
                  <a:pt x="521" y="1347"/>
                  <a:pt x="396" y="1223"/>
                </a:cubicBezTo>
                <a:cubicBezTo>
                  <a:pt x="272" y="1099"/>
                  <a:pt x="175" y="954"/>
                  <a:pt x="106" y="793"/>
                </a:cubicBezTo>
                <a:cubicBezTo>
                  <a:pt x="36" y="626"/>
                  <a:pt x="0" y="448"/>
                  <a:pt x="0" y="266"/>
                </a:cubicBezTo>
                <a:cubicBezTo>
                  <a:pt x="0" y="119"/>
                  <a:pt x="119" y="0"/>
                  <a:pt x="266" y="0"/>
                </a:cubicBezTo>
                <a:cubicBezTo>
                  <a:pt x="413" y="0"/>
                  <a:pt x="532" y="119"/>
                  <a:pt x="532" y="266"/>
                </a:cubicBezTo>
                <a:cubicBezTo>
                  <a:pt x="532" y="719"/>
                  <a:pt x="901" y="1087"/>
                  <a:pt x="1354" y="1087"/>
                </a:cubicBezTo>
                <a:cubicBezTo>
                  <a:pt x="1501" y="1087"/>
                  <a:pt x="1620" y="1206"/>
                  <a:pt x="1620" y="1353"/>
                </a:cubicBezTo>
                <a:cubicBezTo>
                  <a:pt x="1620" y="1500"/>
                  <a:pt x="1501" y="1619"/>
                  <a:pt x="1354" y="1619"/>
                </a:cubicBezTo>
                <a:close/>
              </a:path>
            </a:pathLst>
          </a:custGeom>
          <a:gradFill>
            <a:gsLst>
              <a:gs pos="0">
                <a:schemeClr val="accent1">
                  <a:lumMod val="5000"/>
                  <a:lumOff val="95000"/>
                </a:schemeClr>
              </a:gs>
              <a:gs pos="71000">
                <a:srgbClr val="26AA83"/>
              </a:gs>
            </a:gsLst>
            <a:lin ang="5400000" scaled="1"/>
          </a:gradFill>
          <a:ln>
            <a:noFill/>
          </a:ln>
        </p:spPr>
        <p:txBody>
          <a:bodyPr vert="horz" wrap="square" lIns="91440" tIns="45720" rIns="91440" bIns="45720" numCol="1" anchor="t" anchorCtr="0" compatLnSpc="1">
            <a:prstTxWarp prst="textNoShape">
              <a:avLst/>
            </a:prstTxWarp>
          </a:bodyPr>
          <a:lstStyle/>
          <a:p>
            <a:endParaRPr lang="en-US" sz="2900"/>
          </a:p>
        </p:txBody>
      </p:sp>
      <p:sp>
        <p:nvSpPr>
          <p:cNvPr id="2" name="Title 1">
            <a:extLst>
              <a:ext uri="{FF2B5EF4-FFF2-40B4-BE49-F238E27FC236}">
                <a16:creationId xmlns:a16="http://schemas.microsoft.com/office/drawing/2014/main" id="{EE397862-A6AA-4426-8EFA-E1F0082B9A9A}"/>
              </a:ext>
            </a:extLst>
          </p:cNvPr>
          <p:cNvSpPr>
            <a:spLocks noGrp="1"/>
          </p:cNvSpPr>
          <p:nvPr>
            <p:ph type="title"/>
          </p:nvPr>
        </p:nvSpPr>
        <p:spPr>
          <a:xfrm>
            <a:off x="584201" y="292100"/>
            <a:ext cx="11023600" cy="777875"/>
          </a:xfrm>
          <a:prstGeom prst="rect">
            <a:avLst/>
          </a:prstGeom>
        </p:spPr>
        <p:txBody>
          <a:bodyPr/>
          <a:lstStyle>
            <a:lvl1pPr>
              <a:defRPr b="1">
                <a:solidFill>
                  <a:srgbClr val="22202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19EDC53-A444-4EBA-9845-5641F8B2B7E7}"/>
              </a:ext>
            </a:extLst>
          </p:cNvPr>
          <p:cNvSpPr>
            <a:spLocks noGrp="1"/>
          </p:cNvSpPr>
          <p:nvPr>
            <p:ph idx="1"/>
          </p:nvPr>
        </p:nvSpPr>
        <p:spPr>
          <a:xfrm>
            <a:off x="584201" y="1443831"/>
            <a:ext cx="11023600" cy="45386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8863711-2F8A-4071-BA89-2403F0AC9A12}"/>
              </a:ext>
            </a:extLst>
          </p:cNvPr>
          <p:cNvSpPr>
            <a:spLocks noGrp="1"/>
          </p:cNvSpPr>
          <p:nvPr>
            <p:ph type="dt" sz="half" idx="10"/>
          </p:nvPr>
        </p:nvSpPr>
        <p:spPr>
          <a:xfrm>
            <a:off x="584200" y="6356351"/>
            <a:ext cx="2743200" cy="365125"/>
          </a:xfrm>
          <a:prstGeom prst="rect">
            <a:avLst/>
          </a:prstGeom>
        </p:spPr>
        <p:txBody>
          <a:bodyPr/>
          <a:lstStyle/>
          <a:p>
            <a:fld id="{213E9384-6FA0-4EFB-9E50-B90B631BDEDA}" type="datetime1">
              <a:rPr lang="en-US" smtClean="0"/>
              <a:t>9/30/2024</a:t>
            </a:fld>
            <a:endParaRPr lang="en-US"/>
          </a:p>
        </p:txBody>
      </p:sp>
      <p:sp>
        <p:nvSpPr>
          <p:cNvPr id="5" name="Footer Placeholder 4">
            <a:extLst>
              <a:ext uri="{FF2B5EF4-FFF2-40B4-BE49-F238E27FC236}">
                <a16:creationId xmlns:a16="http://schemas.microsoft.com/office/drawing/2014/main" id="{D857074A-24C6-442A-A2DC-D6B899E7E14A}"/>
              </a:ext>
            </a:extLst>
          </p:cNvPr>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0B2EA2CF-2A0A-45B8-B191-4DFF35C681B4}"/>
              </a:ext>
            </a:extLst>
          </p:cNvPr>
          <p:cNvSpPr>
            <a:spLocks noGrp="1"/>
          </p:cNvSpPr>
          <p:nvPr>
            <p:ph type="sldNum" sz="quarter" idx="12"/>
          </p:nvPr>
        </p:nvSpPr>
        <p:spPr>
          <a:xfrm>
            <a:off x="8864600" y="6356351"/>
            <a:ext cx="2743200" cy="365125"/>
          </a:xfrm>
          <a:prstGeom prst="rect">
            <a:avLst/>
          </a:prstGeom>
        </p:spPr>
        <p:txBody>
          <a:bodyPr/>
          <a:lstStyle>
            <a:lvl1pPr>
              <a:defRPr sz="1100">
                <a:solidFill>
                  <a:schemeClr val="bg1"/>
                </a:solidFill>
              </a:defRPr>
            </a:lvl1pPr>
          </a:lstStyle>
          <a:p>
            <a:fld id="{3653A8B8-0320-463C-9CFC-F3F813B668DA}" type="slidenum">
              <a:rPr lang="en-US" smtClean="0"/>
              <a:pPr/>
              <a:t>‹#›</a:t>
            </a:fld>
            <a:endParaRPr lang="en-US" dirty="0"/>
          </a:p>
        </p:txBody>
      </p:sp>
    </p:spTree>
    <p:extLst>
      <p:ext uri="{BB962C8B-B14F-4D97-AF65-F5344CB8AC3E}">
        <p14:creationId xmlns:p14="http://schemas.microsoft.com/office/powerpoint/2010/main" val="18526906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Slide">
    <p:bg>
      <p:bgPr>
        <a:blipFill dpi="0" rotWithShape="1">
          <a:blip r:embed="rId5" cstate="email">
            <a:extLst>
              <a:ext uri="{BEBA8EAE-BF5A-486C-A8C5-ECC9F3942E4B}">
                <a14:imgProps xmlns:a14="http://schemas.microsoft.com/office/drawing/2010/main">
                  <a14:imgLayer r:embed="rId6">
                    <a14:imgEffect>
                      <a14:brightnessContrast bright="5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6601EF-A164-42E7-A5A6-1C214304D0FD}"/>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7" imgW="395" imgH="396" progId="TCLayout.ActiveDocument.1">
                  <p:embed/>
                </p:oleObj>
              </mc:Choice>
              <mc:Fallback>
                <p:oleObj name="think-cell Slide" r:id="rId7" imgW="395" imgH="396" progId="TCLayout.ActiveDocument.1">
                  <p:embed/>
                  <p:pic>
                    <p:nvPicPr>
                      <p:cNvPr id="4" name="Object 3" hidden="1">
                        <a:extLst>
                          <a:ext uri="{FF2B5EF4-FFF2-40B4-BE49-F238E27FC236}">
                            <a16:creationId xmlns:a16="http://schemas.microsoft.com/office/drawing/2014/main" id="{F66601EF-A164-42E7-A5A6-1C214304D0FD}"/>
                          </a:ext>
                        </a:extLst>
                      </p:cNvPr>
                      <p:cNvPicPr/>
                      <p:nvPr/>
                    </p:nvPicPr>
                    <p:blipFill>
                      <a:blip r:embed="rId8"/>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9E7B3C-AF1B-4547-B33C-2FBFB1EA0EF8}"/>
              </a:ext>
            </a:extLst>
          </p:cNvPr>
          <p:cNvSpPr/>
          <p:nvPr userDrawn="1">
            <p:custDataLst>
              <p:tags r:id="rId3"/>
            </p:custDataLst>
          </p:nvPr>
        </p:nvSpPr>
        <p:spPr>
          <a:xfrm>
            <a:off x="1" y="1"/>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a:latin typeface="ITC Avant Garde Pro Md" panose="020B0602020202020204" pitchFamily="34" charset="0"/>
              <a:ea typeface="+mj-ea"/>
              <a:cs typeface="+mj-cs"/>
              <a:sym typeface="ITC Avant Garde Pro Md" panose="020B0602020202020204" pitchFamily="34" charset="0"/>
            </a:endParaRPr>
          </a:p>
        </p:txBody>
      </p:sp>
      <p:sp>
        <p:nvSpPr>
          <p:cNvPr id="6" name="Title 10"/>
          <p:cNvSpPr>
            <a:spLocks noGrp="1"/>
          </p:cNvSpPr>
          <p:nvPr>
            <p:ph type="title" hasCustomPrompt="1"/>
          </p:nvPr>
        </p:nvSpPr>
        <p:spPr>
          <a:xfrm>
            <a:off x="237393" y="275170"/>
            <a:ext cx="11717219" cy="627944"/>
          </a:xfrm>
          <a:prstGeom prst="rect">
            <a:avLst/>
          </a:prstGeom>
        </p:spPr>
        <p:txBody>
          <a:bodyPr vert="horz">
            <a:noAutofit/>
          </a:bodyPr>
          <a:lstStyle>
            <a:lvl1pPr algn="l">
              <a:defRPr sz="3000" b="1">
                <a:solidFill>
                  <a:srgbClr val="009BDE"/>
                </a:solidFill>
                <a:latin typeface="ITC Avant Garde Pro Md" panose="020B0602020202020204" pitchFamily="34" charset="0"/>
              </a:defRPr>
            </a:lvl1pPr>
          </a:lstStyle>
          <a:p>
            <a:r>
              <a:rPr lang="en-US" dirty="0"/>
              <a:t>Subject Title</a:t>
            </a:r>
          </a:p>
        </p:txBody>
      </p:sp>
      <p:pic>
        <p:nvPicPr>
          <p:cNvPr id="7" name="Picture 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210802" y="6371286"/>
            <a:ext cx="713675" cy="286690"/>
          </a:xfrm>
          <a:prstGeom prst="rect">
            <a:avLst/>
          </a:prstGeom>
        </p:spPr>
      </p:pic>
    </p:spTree>
    <p:extLst>
      <p:ext uri="{BB962C8B-B14F-4D97-AF65-F5344CB8AC3E}">
        <p14:creationId xmlns:p14="http://schemas.microsoft.com/office/powerpoint/2010/main" val="27197821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ver - Blue gradient">
    <p:bg>
      <p:bgRef idx="1001">
        <a:schemeClr val="bg1"/>
      </p:bgRef>
    </p:bg>
    <p:spTree>
      <p:nvGrpSpPr>
        <p:cNvPr id="1" name=""/>
        <p:cNvGrpSpPr/>
        <p:nvPr/>
      </p:nvGrpSpPr>
      <p:grpSpPr>
        <a:xfrm>
          <a:off x="0" y="0"/>
          <a:ext cx="0" cy="0"/>
          <a:chOff x="0" y="0"/>
          <a:chExt cx="0" cy="0"/>
        </a:xfrm>
      </p:grpSpPr>
      <p:pic>
        <p:nvPicPr>
          <p:cNvPr id="7" name="Picture 6" descr="A body of water with a mountain in the background&#10;&#10;Description automatically generated">
            <a:extLst>
              <a:ext uri="{FF2B5EF4-FFF2-40B4-BE49-F238E27FC236}">
                <a16:creationId xmlns:a16="http://schemas.microsoft.com/office/drawing/2014/main" id="{B92443FF-9D46-4FEA-B425-69939657E2DB}"/>
              </a:ext>
            </a:extLst>
          </p:cNvPr>
          <p:cNvPicPr>
            <a:picLocks noChangeAspect="1"/>
          </p:cNvPicPr>
          <p:nvPr userDrawn="1"/>
        </p:nvPicPr>
        <p:blipFill>
          <a:blip r:embed="rId2"/>
          <a:stretch>
            <a:fillRect/>
          </a:stretch>
        </p:blipFill>
        <p:spPr>
          <a:xfrm>
            <a:off x="-1" y="-1"/>
            <a:ext cx="12192001" cy="6858001"/>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848624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_Cover - Blue gradient">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DAD5E-5C69-401D-8BC6-22DF2FF56A6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848457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_Cover - Blue gradient">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49F89B-A296-4B84-B95A-3ABCD41C057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6" name="Rectangle 75">
            <a:extLst>
              <a:ext uri="{FF2B5EF4-FFF2-40B4-BE49-F238E27FC236}">
                <a16:creationId xmlns:a16="http://schemas.microsoft.com/office/drawing/2014/main" id="{606C5D28-9584-47C7-A3F7-6D88B6719B58}"/>
              </a:ext>
            </a:extLst>
          </p:cNvPr>
          <p:cNvSpPr/>
          <p:nvPr/>
        </p:nvSpPr>
        <p:spPr bwMode="white">
          <a:xfrm>
            <a:off x="0" y="655148"/>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55312" y="1799180"/>
            <a:ext cx="4045796" cy="2294186"/>
          </a:xfrm>
        </p:spPr>
        <p:txBody>
          <a:bodyPr>
            <a:normAutofit/>
          </a:bodyPr>
          <a:lstStyle>
            <a:lvl1pPr>
              <a:defRPr sz="4500"/>
            </a:lvl1pPr>
          </a:lstStyle>
          <a:p>
            <a:r>
              <a:rPr lang="en-US"/>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44851" y="4636294"/>
            <a:ext cx="4056257" cy="744265"/>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615801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ivider - Blue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7" name="Picture 6">
            <a:extLst>
              <a:ext uri="{FF2B5EF4-FFF2-40B4-BE49-F238E27FC236}">
                <a16:creationId xmlns:a16="http://schemas.microsoft.com/office/drawing/2014/main" id="{F99C53D4-B33D-4443-A9D7-69EBFE1FB5D7}"/>
              </a:ext>
            </a:extLst>
          </p:cNvPr>
          <p:cNvPicPr>
            <a:picLocks noChangeAspect="1"/>
          </p:cNvPicPr>
          <p:nvPr/>
        </p:nvPicPr>
        <p:blipFill rotWithShape="1">
          <a:blip r:embed="rId2">
            <a:extLst>
              <a:ext uri="{28A0092B-C50C-407E-A947-70E740481C1C}">
                <a14:useLocalDpi xmlns:a14="http://schemas.microsoft.com/office/drawing/2010/main"/>
              </a:ext>
            </a:extLst>
          </a:blip>
          <a:srcRect l="3878" t="8967"/>
          <a:stretch/>
        </p:blipFill>
        <p:spPr bwMode="black">
          <a:xfrm>
            <a:off x="0" y="0"/>
            <a:ext cx="11047763" cy="3926205"/>
          </a:xfrm>
          <a:prstGeom prst="rect">
            <a:avLst/>
          </a:prstGeom>
        </p:spPr>
      </p:pic>
      <p:sp>
        <p:nvSpPr>
          <p:cNvPr id="2" name="Title 1">
            <a:extLst>
              <a:ext uri="{FF2B5EF4-FFF2-40B4-BE49-F238E27FC236}">
                <a16:creationId xmlns:a16="http://schemas.microsoft.com/office/drawing/2014/main" id="{D61AB769-0474-4D0D-BECE-395FBA115431}"/>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2753870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 Green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sp>
        <p:nvSpPr>
          <p:cNvPr id="2" name="Title 1">
            <a:extLst>
              <a:ext uri="{FF2B5EF4-FFF2-40B4-BE49-F238E27FC236}">
                <a16:creationId xmlns:a16="http://schemas.microsoft.com/office/drawing/2014/main" id="{1AF6193C-FC63-40E3-9D4E-DAA085E63F6D}"/>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pic>
        <p:nvPicPr>
          <p:cNvPr id="9" name="Picture 8">
            <a:extLst>
              <a:ext uri="{FF2B5EF4-FFF2-40B4-BE49-F238E27FC236}">
                <a16:creationId xmlns:a16="http://schemas.microsoft.com/office/drawing/2014/main" id="{72F0C79A-5767-447E-BFBC-3C587A00B65D}"/>
              </a:ext>
            </a:extLst>
          </p:cNvPr>
          <p:cNvPicPr>
            <a:picLocks noChangeAspect="1"/>
          </p:cNvPicPr>
          <p:nvPr/>
        </p:nvPicPr>
        <p:blipFill rotWithShape="1">
          <a:blip r:embed="rId2">
            <a:extLst>
              <a:ext uri="{28A0092B-C50C-407E-A947-70E740481C1C}">
                <a14:useLocalDpi xmlns:a14="http://schemas.microsoft.com/office/drawing/2010/main"/>
              </a:ext>
            </a:extLst>
          </a:blip>
          <a:srcRect l="41390" t="77774" b="8035"/>
          <a:stretch/>
        </p:blipFill>
        <p:spPr>
          <a:xfrm>
            <a:off x="-85725" y="0"/>
            <a:ext cx="5047289" cy="6858000"/>
          </a:xfrm>
          <a:prstGeom prst="rect">
            <a:avLst/>
          </a:prstGeom>
        </p:spPr>
      </p:pic>
      <p:pic>
        <p:nvPicPr>
          <p:cNvPr id="5" name="Picture 4">
            <a:extLst>
              <a:ext uri="{FF2B5EF4-FFF2-40B4-BE49-F238E27FC236}">
                <a16:creationId xmlns:a16="http://schemas.microsoft.com/office/drawing/2014/main" id="{A7B7AF42-FA8B-4E62-8199-B95EE20046E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41390" t="77774" b="8035"/>
          <a:stretch/>
        </p:blipFill>
        <p:spPr bwMode="black">
          <a:xfrm>
            <a:off x="-85725" y="0"/>
            <a:ext cx="5047289" cy="6858000"/>
          </a:xfrm>
          <a:prstGeom prst="rect">
            <a:avLst/>
          </a:prstGeom>
        </p:spPr>
      </p:pic>
    </p:spTree>
    <p:extLst>
      <p:ext uri="{BB962C8B-B14F-4D97-AF65-F5344CB8AC3E}">
        <p14:creationId xmlns:p14="http://schemas.microsoft.com/office/powerpoint/2010/main" val="25382266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vider - Fuschia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099"/>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59F5FB2A-25C0-A341-84C5-1FBAC66FCC52}"/>
              </a:ext>
            </a:extLst>
          </p:cNvPr>
          <p:cNvPicPr>
            <a:picLocks noChangeAspect="1"/>
          </p:cNvPicPr>
          <p:nvPr/>
        </p:nvPicPr>
        <p:blipFill rotWithShape="1">
          <a:blip r:embed="rId2">
            <a:extLst>
              <a:ext uri="{28A0092B-C50C-407E-A947-70E740481C1C}">
                <a14:useLocalDpi xmlns:a14="http://schemas.microsoft.com/office/drawing/2010/main"/>
              </a:ext>
            </a:extLst>
          </a:blip>
          <a:srcRect l="35314" b="27707"/>
          <a:stretch/>
        </p:blipFill>
        <p:spPr bwMode="black">
          <a:xfrm>
            <a:off x="0" y="464756"/>
            <a:ext cx="5720519" cy="6393245"/>
          </a:xfrm>
          <a:prstGeom prst="rect">
            <a:avLst/>
          </a:prstGeom>
        </p:spPr>
      </p:pic>
      <p:sp>
        <p:nvSpPr>
          <p:cNvPr id="3" name="Title 2">
            <a:extLst>
              <a:ext uri="{FF2B5EF4-FFF2-40B4-BE49-F238E27FC236}">
                <a16:creationId xmlns:a16="http://schemas.microsoft.com/office/drawing/2014/main" id="{3436B071-8BEA-43B1-87FE-9FA213E3D8CB}"/>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6046897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vider - Yellow patter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8A4E68C6-FBE7-C74A-A1B4-CC6C65D1DD14}"/>
              </a:ext>
            </a:extLst>
          </p:cNvPr>
          <p:cNvSpPr>
            <a:spLocks noGrp="1"/>
          </p:cNvSpPr>
          <p:nvPr>
            <p:ph type="body" sz="quarter" idx="11" hasCustomPrompt="1"/>
          </p:nvPr>
        </p:nvSpPr>
        <p:spPr>
          <a:xfrm>
            <a:off x="6193317" y="3694100"/>
            <a:ext cx="5344259" cy="2167211"/>
          </a:xfrm>
          <a:prstGeom prst="rect">
            <a:avLst/>
          </a:prstGeom>
        </p:spPr>
        <p:txBody>
          <a:bodyPr/>
          <a:lstStyle>
            <a:lvl1pPr marL="0" indent="0">
              <a:buNone/>
              <a:defRPr sz="2400">
                <a:solidFill>
                  <a:schemeClr val="tx1"/>
                </a:solidFill>
              </a:defRPr>
            </a:lvl1pPr>
            <a:lvl2pPr marL="609489" indent="0">
              <a:buNone/>
              <a:defRPr sz="1350">
                <a:solidFill>
                  <a:schemeClr val="bg1"/>
                </a:solidFill>
              </a:defRPr>
            </a:lvl2pPr>
            <a:lvl3pPr marL="1218976" indent="0">
              <a:buNone/>
              <a:defRPr sz="1350">
                <a:solidFill>
                  <a:schemeClr val="bg1"/>
                </a:solidFill>
              </a:defRPr>
            </a:lvl3pPr>
            <a:lvl4pPr marL="1828463" indent="0">
              <a:buNone/>
              <a:defRPr sz="1350">
                <a:solidFill>
                  <a:schemeClr val="bg1"/>
                </a:solidFill>
              </a:defRPr>
            </a:lvl4pPr>
            <a:lvl5pPr marL="2437951" indent="0">
              <a:buNone/>
              <a:defRPr sz="1350">
                <a:solidFill>
                  <a:schemeClr val="bg1"/>
                </a:solidFill>
              </a:defRPr>
            </a:lvl5pPr>
          </a:lstStyle>
          <a:p>
            <a:pPr lvl="0"/>
            <a:r>
              <a:rPr lang="en-US"/>
              <a:t>Click to add description</a:t>
            </a:r>
          </a:p>
        </p:txBody>
      </p:sp>
      <p:pic>
        <p:nvPicPr>
          <p:cNvPr id="2" name="Picture 1">
            <a:extLst>
              <a:ext uri="{FF2B5EF4-FFF2-40B4-BE49-F238E27FC236}">
                <a16:creationId xmlns:a16="http://schemas.microsoft.com/office/drawing/2014/main" id="{751B44C2-E17A-B444-8E08-86FF5CCF3E8B}"/>
              </a:ext>
            </a:extLst>
          </p:cNvPr>
          <p:cNvPicPr>
            <a:picLocks noChangeAspect="1"/>
          </p:cNvPicPr>
          <p:nvPr/>
        </p:nvPicPr>
        <p:blipFill rotWithShape="1">
          <a:blip r:embed="rId2">
            <a:extLst>
              <a:ext uri="{28A0092B-C50C-407E-A947-70E740481C1C}">
                <a14:useLocalDpi xmlns:a14="http://schemas.microsoft.com/office/drawing/2010/main"/>
              </a:ext>
            </a:extLst>
          </a:blip>
          <a:srcRect l="29809" t="44849" r="-383" b="25155"/>
          <a:stretch/>
        </p:blipFill>
        <p:spPr bwMode="black">
          <a:xfrm>
            <a:off x="1" y="0"/>
            <a:ext cx="4445459" cy="6858000"/>
          </a:xfrm>
          <a:prstGeom prst="rect">
            <a:avLst/>
          </a:prstGeom>
        </p:spPr>
      </p:pic>
      <p:sp>
        <p:nvSpPr>
          <p:cNvPr id="3" name="Title 2">
            <a:extLst>
              <a:ext uri="{FF2B5EF4-FFF2-40B4-BE49-F238E27FC236}">
                <a16:creationId xmlns:a16="http://schemas.microsoft.com/office/drawing/2014/main" id="{4ABFEB5A-5B0E-426B-93EC-629646B3452A}"/>
              </a:ext>
            </a:extLst>
          </p:cNvPr>
          <p:cNvSpPr>
            <a:spLocks noGrp="1"/>
          </p:cNvSpPr>
          <p:nvPr>
            <p:ph type="title" hasCustomPrompt="1"/>
          </p:nvPr>
        </p:nvSpPr>
        <p:spPr>
          <a:xfrm>
            <a:off x="6193291" y="1535136"/>
            <a:ext cx="5344163" cy="2037940"/>
          </a:xfrm>
        </p:spPr>
        <p:txBody>
          <a:bodyPr/>
          <a:lstStyle>
            <a:lvl1pPr>
              <a:defRPr sz="4500"/>
            </a:lvl1pPr>
          </a:lstStyle>
          <a:p>
            <a:r>
              <a:rPr lang="en-US"/>
              <a:t>Click to edit your title</a:t>
            </a:r>
          </a:p>
        </p:txBody>
      </p:sp>
    </p:spTree>
    <p:extLst>
      <p:ext uri="{BB962C8B-B14F-4D97-AF65-F5344CB8AC3E}">
        <p14:creationId xmlns:p14="http://schemas.microsoft.com/office/powerpoint/2010/main" val="3117792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Singl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87AAB1-E6B7-4457-A1AA-73B13BD1EBD0}"/>
              </a:ext>
            </a:extLst>
          </p:cNvPr>
          <p:cNvSpPr>
            <a:spLocks noGrp="1"/>
          </p:cNvSpPr>
          <p:nvPr>
            <p:ph type="title" hasCustomPrompt="1"/>
          </p:nvPr>
        </p:nvSpPr>
        <p:spPr/>
        <p:txBody>
          <a:bodyPr/>
          <a:lstStyle/>
          <a:p>
            <a:r>
              <a:rPr lang="en-US"/>
              <a:t>Click to edit your title</a:t>
            </a:r>
          </a:p>
        </p:txBody>
      </p:sp>
      <p:sp>
        <p:nvSpPr>
          <p:cNvPr id="5" name="Content Placeholder 4">
            <a:extLst>
              <a:ext uri="{FF2B5EF4-FFF2-40B4-BE49-F238E27FC236}">
                <a16:creationId xmlns:a16="http://schemas.microsoft.com/office/drawing/2014/main" id="{7BC457BD-828D-4560-AC2E-D9774101D67E}"/>
              </a:ext>
            </a:extLst>
          </p:cNvPr>
          <p:cNvSpPr>
            <a:spLocks noGrp="1"/>
          </p:cNvSpPr>
          <p:nvPr>
            <p:ph sz="quarter" idx="10"/>
          </p:nvPr>
        </p:nvSpPr>
        <p:spPr>
          <a:xfrm>
            <a:off x="639555" y="1573833"/>
            <a:ext cx="10903849"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3442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536">
          <p15:clr>
            <a:srgbClr val="FBAE40"/>
          </p15:clr>
        </p15:guide>
        <p15:guide id="2" pos="97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5409248"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6591" y="689543"/>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610362" y="3289701"/>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dirty="0"/>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dirty="0">
              <a:solidFill>
                <a:schemeClr val="bg2"/>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10363" y="692982"/>
            <a:ext cx="3497624" cy="1757635"/>
          </a:xfrm>
        </p:spPr>
        <p:txBody>
          <a:bodyPr anchor="t"/>
          <a:lstStyle>
            <a:lvl1pP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610362" y="5294156"/>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dirty="0"/>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6591" y="1482493"/>
            <a:ext cx="5955047" cy="4685964"/>
          </a:xfrm>
        </p:spPr>
        <p:txBody>
          <a:bodyPr/>
          <a:lstStyle>
            <a:lvl1pPr>
              <a:defRPr/>
            </a:lvl1pPr>
          </a:lstStyle>
          <a:p>
            <a:pPr lvl="0"/>
            <a:r>
              <a:rPr lang="en-US" dirty="0"/>
              <a:t>Click to insert case study proof points</a:t>
            </a:r>
          </a:p>
          <a:p>
            <a:pPr lvl="1"/>
            <a:r>
              <a:rPr lang="en-US" dirty="0"/>
              <a:t>Second level</a:t>
            </a:r>
          </a:p>
          <a:p>
            <a:pPr lvl="2"/>
            <a:r>
              <a:rPr lang="en-US" dirty="0"/>
              <a:t>Third level</a:t>
            </a:r>
          </a:p>
        </p:txBody>
      </p:sp>
      <p:pic>
        <p:nvPicPr>
          <p:cNvPr id="16" name="Graphic 15">
            <a:extLst>
              <a:ext uri="{FF2B5EF4-FFF2-40B4-BE49-F238E27FC236}">
                <a16:creationId xmlns:a16="http://schemas.microsoft.com/office/drawing/2014/main" id="{FA3FEE7B-B6DB-47D2-8107-C948926C19B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902365" y="6227201"/>
            <a:ext cx="644785" cy="260942"/>
          </a:xfrm>
          <a:prstGeom prst="rect">
            <a:avLst/>
          </a:prstGeom>
        </p:spPr>
      </p:pic>
    </p:spTree>
    <p:extLst>
      <p:ext uri="{BB962C8B-B14F-4D97-AF65-F5344CB8AC3E}">
        <p14:creationId xmlns:p14="http://schemas.microsoft.com/office/powerpoint/2010/main" val="2583071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9728">
          <p15:clr>
            <a:srgbClr val="FBAE40"/>
          </p15:clr>
        </p15:guide>
        <p15:guide id="2" pos="512">
          <p15:clr>
            <a:srgbClr val="FBAE40"/>
          </p15:clr>
        </p15:guide>
        <p15:guide id="3" orient="horz" pos="1152">
          <p15:clr>
            <a:srgbClr val="FBAE40"/>
          </p15:clr>
        </p15:guide>
        <p15:guide id="4" orient="horz" pos="576">
          <p15:clr>
            <a:srgbClr val="FBAE40"/>
          </p15:clr>
        </p15:guide>
        <p15:guide id="5" orient="horz" pos="518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39555" y="1573833"/>
            <a:ext cx="4987799"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6569956" y="1573833"/>
            <a:ext cx="4977193" cy="427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a:t>Click to edit your title</a:t>
            </a:r>
          </a:p>
        </p:txBody>
      </p:sp>
    </p:spTree>
    <p:extLst>
      <p:ext uri="{BB962C8B-B14F-4D97-AF65-F5344CB8AC3E}">
        <p14:creationId xmlns:p14="http://schemas.microsoft.com/office/powerpoint/2010/main" val="1798893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hre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E40299-C6BD-4C34-80B9-8FC4694E34B0}"/>
              </a:ext>
            </a:extLst>
          </p:cNvPr>
          <p:cNvSpPr>
            <a:spLocks noGrp="1"/>
          </p:cNvSpPr>
          <p:nvPr>
            <p:ph sz="quarter" idx="10"/>
          </p:nvPr>
        </p:nvSpPr>
        <p:spPr>
          <a:xfrm>
            <a:off x="639554"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0DBED79-F367-4777-BEAE-FB2B148E8DA0}"/>
              </a:ext>
            </a:extLst>
          </p:cNvPr>
          <p:cNvSpPr>
            <a:spLocks noGrp="1"/>
          </p:cNvSpPr>
          <p:nvPr>
            <p:ph sz="quarter" idx="11"/>
          </p:nvPr>
        </p:nvSpPr>
        <p:spPr>
          <a:xfrm>
            <a:off x="4344536"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9BF155E8-490F-4FEA-BE80-70CA62F0DC54}"/>
              </a:ext>
            </a:extLst>
          </p:cNvPr>
          <p:cNvSpPr>
            <a:spLocks noGrp="1"/>
          </p:cNvSpPr>
          <p:nvPr>
            <p:ph type="title" hasCustomPrompt="1"/>
          </p:nvPr>
        </p:nvSpPr>
        <p:spPr/>
        <p:txBody>
          <a:bodyPr/>
          <a:lstStyle/>
          <a:p>
            <a:r>
              <a:rPr lang="en-US"/>
              <a:t>Click to edit your title</a:t>
            </a:r>
          </a:p>
        </p:txBody>
      </p:sp>
      <p:sp>
        <p:nvSpPr>
          <p:cNvPr id="5" name="Content Placeholder 9">
            <a:extLst>
              <a:ext uri="{FF2B5EF4-FFF2-40B4-BE49-F238E27FC236}">
                <a16:creationId xmlns:a16="http://schemas.microsoft.com/office/drawing/2014/main" id="{021577E5-8A21-4025-AEA6-97CD75A62773}"/>
              </a:ext>
            </a:extLst>
          </p:cNvPr>
          <p:cNvSpPr>
            <a:spLocks noGrp="1"/>
          </p:cNvSpPr>
          <p:nvPr>
            <p:ph sz="quarter" idx="12"/>
          </p:nvPr>
        </p:nvSpPr>
        <p:spPr>
          <a:xfrm>
            <a:off x="8049522" y="1573833"/>
            <a:ext cx="3497623" cy="4277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555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30275-A1EE-4998-B3FE-B23BD948C385}"/>
              </a:ext>
            </a:extLst>
          </p:cNvPr>
          <p:cNvSpPr>
            <a:spLocks noGrp="1"/>
          </p:cNvSpPr>
          <p:nvPr>
            <p:ph type="title" hasCustomPrompt="1"/>
          </p:nvPr>
        </p:nvSpPr>
        <p:spPr/>
        <p:txBody>
          <a:bodyPr/>
          <a:lstStyle/>
          <a:p>
            <a:r>
              <a:rPr lang="en-US"/>
              <a:t>Click to edit your title</a:t>
            </a:r>
          </a:p>
        </p:txBody>
      </p:sp>
      <p:sp>
        <p:nvSpPr>
          <p:cNvPr id="12" name="Content Placeholder 2">
            <a:extLst>
              <a:ext uri="{FF2B5EF4-FFF2-40B4-BE49-F238E27FC236}">
                <a16:creationId xmlns:a16="http://schemas.microsoft.com/office/drawing/2014/main" id="{BCBA7BB4-04C7-432E-8F47-E8CC90265CF8}"/>
              </a:ext>
            </a:extLst>
          </p:cNvPr>
          <p:cNvSpPr>
            <a:spLocks noGrp="1"/>
          </p:cNvSpPr>
          <p:nvPr>
            <p:ph sz="quarter" idx="10"/>
          </p:nvPr>
        </p:nvSpPr>
        <p:spPr>
          <a:xfrm>
            <a:off x="639555" y="1573833"/>
            <a:ext cx="4987799" cy="1874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9">
            <a:extLst>
              <a:ext uri="{FF2B5EF4-FFF2-40B4-BE49-F238E27FC236}">
                <a16:creationId xmlns:a16="http://schemas.microsoft.com/office/drawing/2014/main" id="{86D49A64-995B-4F99-8ADC-A0ED5EFA1AF8}"/>
              </a:ext>
            </a:extLst>
          </p:cNvPr>
          <p:cNvSpPr>
            <a:spLocks noGrp="1"/>
          </p:cNvSpPr>
          <p:nvPr>
            <p:ph sz="quarter" idx="11"/>
          </p:nvPr>
        </p:nvSpPr>
        <p:spPr>
          <a:xfrm>
            <a:off x="6569956" y="1573835"/>
            <a:ext cx="4977193" cy="18748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Content Placeholder 9">
            <a:extLst>
              <a:ext uri="{FF2B5EF4-FFF2-40B4-BE49-F238E27FC236}">
                <a16:creationId xmlns:a16="http://schemas.microsoft.com/office/drawing/2014/main" id="{45A7BFC3-44EC-49E3-8523-D1C6776B8140}"/>
              </a:ext>
            </a:extLst>
          </p:cNvPr>
          <p:cNvSpPr>
            <a:spLocks noGrp="1"/>
          </p:cNvSpPr>
          <p:nvPr>
            <p:ph sz="quarter" idx="12"/>
          </p:nvPr>
        </p:nvSpPr>
        <p:spPr>
          <a:xfrm>
            <a:off x="639120" y="3931908"/>
            <a:ext cx="4988234"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6" name="Content Placeholder 9">
            <a:extLst>
              <a:ext uri="{FF2B5EF4-FFF2-40B4-BE49-F238E27FC236}">
                <a16:creationId xmlns:a16="http://schemas.microsoft.com/office/drawing/2014/main" id="{71E9AF23-0E70-407E-B303-9B8FC53C9947}"/>
              </a:ext>
            </a:extLst>
          </p:cNvPr>
          <p:cNvSpPr>
            <a:spLocks noGrp="1"/>
          </p:cNvSpPr>
          <p:nvPr>
            <p:ph sz="quarter" idx="13"/>
          </p:nvPr>
        </p:nvSpPr>
        <p:spPr>
          <a:xfrm>
            <a:off x="6564648" y="3931908"/>
            <a:ext cx="4977193" cy="1925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068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lumn icon">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8AA3504-A3CC-4CD3-A78A-2E2FE2301C4F}"/>
              </a:ext>
            </a:extLst>
          </p:cNvPr>
          <p:cNvSpPr/>
          <p:nvPr userDrawn="1"/>
        </p:nvSpPr>
        <p:spPr bwMode="hidden">
          <a:xfrm>
            <a:off x="644850" y="1532676"/>
            <a:ext cx="3490457" cy="432246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8" name="Rectangle 27">
            <a:extLst>
              <a:ext uri="{FF2B5EF4-FFF2-40B4-BE49-F238E27FC236}">
                <a16:creationId xmlns:a16="http://schemas.microsoft.com/office/drawing/2014/main" id="{4D1BE738-C7FE-4063-9CE3-50B70EACE4FF}"/>
              </a:ext>
            </a:extLst>
          </p:cNvPr>
          <p:cNvSpPr/>
          <p:nvPr userDrawn="1"/>
        </p:nvSpPr>
        <p:spPr bwMode="hidden">
          <a:xfrm>
            <a:off x="4353194" y="1532676"/>
            <a:ext cx="3490457" cy="432246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Rectangle 28">
            <a:extLst>
              <a:ext uri="{FF2B5EF4-FFF2-40B4-BE49-F238E27FC236}">
                <a16:creationId xmlns:a16="http://schemas.microsoft.com/office/drawing/2014/main" id="{998B9464-C1B3-49B1-BEC9-EF06DCDDDC88}"/>
              </a:ext>
            </a:extLst>
          </p:cNvPr>
          <p:cNvSpPr/>
          <p:nvPr userDrawn="1"/>
        </p:nvSpPr>
        <p:spPr bwMode="hidden">
          <a:xfrm>
            <a:off x="8056309" y="1532676"/>
            <a:ext cx="3490457" cy="432246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14" name="Picture Placeholder 2">
            <a:extLst>
              <a:ext uri="{FF2B5EF4-FFF2-40B4-BE49-F238E27FC236}">
                <a16:creationId xmlns:a16="http://schemas.microsoft.com/office/drawing/2014/main" id="{371C5043-2C77-4B15-9C54-2B1AAC2FAD26}"/>
              </a:ext>
            </a:extLst>
          </p:cNvPr>
          <p:cNvSpPr>
            <a:spLocks noGrp="1"/>
          </p:cNvSpPr>
          <p:nvPr>
            <p:ph type="pic" sz="quarter" idx="21" hasCustomPrompt="1"/>
          </p:nvPr>
        </p:nvSpPr>
        <p:spPr>
          <a:xfrm>
            <a:off x="1464029" y="2152296"/>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3" name="Title 2">
            <a:extLst>
              <a:ext uri="{FF2B5EF4-FFF2-40B4-BE49-F238E27FC236}">
                <a16:creationId xmlns:a16="http://schemas.microsoft.com/office/drawing/2014/main" id="{F2417AE2-412E-4C0D-8FE0-27D6CB516AEB}"/>
              </a:ext>
            </a:extLst>
          </p:cNvPr>
          <p:cNvSpPr>
            <a:spLocks noGrp="1"/>
          </p:cNvSpPr>
          <p:nvPr>
            <p:ph type="title" hasCustomPrompt="1"/>
          </p:nvPr>
        </p:nvSpPr>
        <p:spPr/>
        <p:txBody>
          <a:bodyPr/>
          <a:lstStyle/>
          <a:p>
            <a:r>
              <a:rPr lang="en-US"/>
              <a:t>Click to edit your title</a:t>
            </a:r>
          </a:p>
        </p:txBody>
      </p:sp>
      <p:sp>
        <p:nvSpPr>
          <p:cNvPr id="90" name="Text Placeholder 16">
            <a:extLst>
              <a:ext uri="{FF2B5EF4-FFF2-40B4-BE49-F238E27FC236}">
                <a16:creationId xmlns:a16="http://schemas.microsoft.com/office/drawing/2014/main" id="{BE9FDF36-69C2-4879-A893-6E3AFADCEC61}"/>
              </a:ext>
            </a:extLst>
          </p:cNvPr>
          <p:cNvSpPr>
            <a:spLocks noGrp="1"/>
          </p:cNvSpPr>
          <p:nvPr>
            <p:ph type="body" sz="quarter" idx="12" hasCustomPrompt="1"/>
          </p:nvPr>
        </p:nvSpPr>
        <p:spPr>
          <a:xfrm>
            <a:off x="896498"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1" name="Text Placeholder 16">
            <a:extLst>
              <a:ext uri="{FF2B5EF4-FFF2-40B4-BE49-F238E27FC236}">
                <a16:creationId xmlns:a16="http://schemas.microsoft.com/office/drawing/2014/main" id="{B39C7FA8-67BB-43DD-A186-FE2AD20BA366}"/>
              </a:ext>
            </a:extLst>
          </p:cNvPr>
          <p:cNvSpPr>
            <a:spLocks noGrp="1"/>
          </p:cNvSpPr>
          <p:nvPr>
            <p:ph type="body" sz="quarter" idx="15" hasCustomPrompt="1"/>
          </p:nvPr>
        </p:nvSpPr>
        <p:spPr>
          <a:xfrm>
            <a:off x="896498" y="4670164"/>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2" name="Picture Placeholder 2">
            <a:extLst>
              <a:ext uri="{FF2B5EF4-FFF2-40B4-BE49-F238E27FC236}">
                <a16:creationId xmlns:a16="http://schemas.microsoft.com/office/drawing/2014/main" id="{CE2D3244-6442-497C-889F-C2074497DB03}"/>
              </a:ext>
            </a:extLst>
          </p:cNvPr>
          <p:cNvSpPr>
            <a:spLocks noGrp="1"/>
          </p:cNvSpPr>
          <p:nvPr>
            <p:ph type="pic" sz="quarter" idx="22" hasCustomPrompt="1"/>
          </p:nvPr>
        </p:nvSpPr>
        <p:spPr>
          <a:xfrm>
            <a:off x="5167143" y="2152296"/>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3" name="Text Placeholder 16">
            <a:extLst>
              <a:ext uri="{FF2B5EF4-FFF2-40B4-BE49-F238E27FC236}">
                <a16:creationId xmlns:a16="http://schemas.microsoft.com/office/drawing/2014/main" id="{78D54533-2D20-477B-A683-600BFABC7712}"/>
              </a:ext>
            </a:extLst>
          </p:cNvPr>
          <p:cNvSpPr>
            <a:spLocks noGrp="1"/>
          </p:cNvSpPr>
          <p:nvPr>
            <p:ph type="body" sz="quarter" idx="23" hasCustomPrompt="1"/>
          </p:nvPr>
        </p:nvSpPr>
        <p:spPr>
          <a:xfrm>
            <a:off x="4599613"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4" name="Text Placeholder 16">
            <a:extLst>
              <a:ext uri="{FF2B5EF4-FFF2-40B4-BE49-F238E27FC236}">
                <a16:creationId xmlns:a16="http://schemas.microsoft.com/office/drawing/2014/main" id="{3FEDBCA1-F258-4916-9CCF-85801547E6A4}"/>
              </a:ext>
            </a:extLst>
          </p:cNvPr>
          <p:cNvSpPr>
            <a:spLocks noGrp="1"/>
          </p:cNvSpPr>
          <p:nvPr>
            <p:ph type="body" sz="quarter" idx="24" hasCustomPrompt="1"/>
          </p:nvPr>
        </p:nvSpPr>
        <p:spPr>
          <a:xfrm>
            <a:off x="4599613" y="4670163"/>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95" name="Picture Placeholder 2">
            <a:extLst>
              <a:ext uri="{FF2B5EF4-FFF2-40B4-BE49-F238E27FC236}">
                <a16:creationId xmlns:a16="http://schemas.microsoft.com/office/drawing/2014/main" id="{9DF7780E-0D6C-489E-99E9-33FCE705DBBA}"/>
              </a:ext>
            </a:extLst>
          </p:cNvPr>
          <p:cNvSpPr>
            <a:spLocks noGrp="1"/>
          </p:cNvSpPr>
          <p:nvPr>
            <p:ph type="pic" sz="quarter" idx="25" hasCustomPrompt="1"/>
          </p:nvPr>
        </p:nvSpPr>
        <p:spPr>
          <a:xfrm>
            <a:off x="8870259" y="2075161"/>
            <a:ext cx="1859200" cy="1347572"/>
          </a:xfrm>
          <a:prstGeom prst="rect">
            <a:avLst/>
          </a:prstGeom>
        </p:spPr>
        <p:txBody>
          <a:bodyPr/>
          <a:lstStyle>
            <a:lvl1pPr marL="0" indent="0">
              <a:buNone/>
              <a:defRPr sz="1200">
                <a:solidFill>
                  <a:schemeClr val="bg1"/>
                </a:solidFill>
              </a:defRPr>
            </a:lvl1pPr>
          </a:lstStyle>
          <a:p>
            <a:r>
              <a:rPr lang="en-US" dirty="0"/>
              <a:t>Copy and paste an icon onto this slide and size and align it to </a:t>
            </a:r>
            <a:r>
              <a:rPr lang="en-US"/>
              <a:t>this box. </a:t>
            </a:r>
            <a:r>
              <a:rPr lang="en-US" dirty="0"/>
              <a:t>Delete this box </a:t>
            </a:r>
            <a:r>
              <a:rPr lang="en-US"/>
              <a:t>when done.</a:t>
            </a:r>
            <a:endParaRPr lang="en-US" dirty="0"/>
          </a:p>
        </p:txBody>
      </p:sp>
      <p:sp>
        <p:nvSpPr>
          <p:cNvPr id="96" name="Text Placeholder 16">
            <a:extLst>
              <a:ext uri="{FF2B5EF4-FFF2-40B4-BE49-F238E27FC236}">
                <a16:creationId xmlns:a16="http://schemas.microsoft.com/office/drawing/2014/main" id="{886B26B5-A801-4D68-BC47-DC1257EA6348}"/>
              </a:ext>
            </a:extLst>
          </p:cNvPr>
          <p:cNvSpPr>
            <a:spLocks noGrp="1"/>
          </p:cNvSpPr>
          <p:nvPr>
            <p:ph type="body" sz="quarter" idx="26" hasCustomPrompt="1"/>
          </p:nvPr>
        </p:nvSpPr>
        <p:spPr>
          <a:xfrm>
            <a:off x="8302729" y="3982951"/>
            <a:ext cx="2994260"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97" name="Text Placeholder 16">
            <a:extLst>
              <a:ext uri="{FF2B5EF4-FFF2-40B4-BE49-F238E27FC236}">
                <a16:creationId xmlns:a16="http://schemas.microsoft.com/office/drawing/2014/main" id="{CB55DF53-8257-4AB2-A05E-9EA51E0AA690}"/>
              </a:ext>
            </a:extLst>
          </p:cNvPr>
          <p:cNvSpPr>
            <a:spLocks noGrp="1"/>
          </p:cNvSpPr>
          <p:nvPr>
            <p:ph type="body" sz="quarter" idx="27" hasCustomPrompt="1"/>
          </p:nvPr>
        </p:nvSpPr>
        <p:spPr>
          <a:xfrm>
            <a:off x="8302729" y="4670163"/>
            <a:ext cx="2994260"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4103021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column icon">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8F1EED4-9C02-4A24-A994-AD388A2977C2}"/>
              </a:ext>
            </a:extLst>
          </p:cNvPr>
          <p:cNvSpPr/>
          <p:nvPr userDrawn="1"/>
        </p:nvSpPr>
        <p:spPr bwMode="white">
          <a:xfrm>
            <a:off x="644850" y="1532677"/>
            <a:ext cx="2566081" cy="432246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0" name="Rectangle 29">
            <a:extLst>
              <a:ext uri="{FF2B5EF4-FFF2-40B4-BE49-F238E27FC236}">
                <a16:creationId xmlns:a16="http://schemas.microsoft.com/office/drawing/2014/main" id="{2913C06C-907C-4773-A5E4-AD20E35B9F5F}"/>
              </a:ext>
            </a:extLst>
          </p:cNvPr>
          <p:cNvSpPr/>
          <p:nvPr userDrawn="1"/>
        </p:nvSpPr>
        <p:spPr bwMode="white">
          <a:xfrm>
            <a:off x="3421824" y="1532677"/>
            <a:ext cx="2566081" cy="432246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1" name="Rectangle 30">
            <a:extLst>
              <a:ext uri="{FF2B5EF4-FFF2-40B4-BE49-F238E27FC236}">
                <a16:creationId xmlns:a16="http://schemas.microsoft.com/office/drawing/2014/main" id="{53C086EF-2C30-43A0-9153-3878AD90FBAF}"/>
              </a:ext>
            </a:extLst>
          </p:cNvPr>
          <p:cNvSpPr/>
          <p:nvPr userDrawn="1"/>
        </p:nvSpPr>
        <p:spPr bwMode="white">
          <a:xfrm>
            <a:off x="6198798" y="1532677"/>
            <a:ext cx="2566081" cy="432246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noProof="0"/>
          </a:p>
        </p:txBody>
      </p:sp>
      <p:sp>
        <p:nvSpPr>
          <p:cNvPr id="32" name="Rectangle 31">
            <a:extLst>
              <a:ext uri="{FF2B5EF4-FFF2-40B4-BE49-F238E27FC236}">
                <a16:creationId xmlns:a16="http://schemas.microsoft.com/office/drawing/2014/main" id="{87F60045-5CBA-4C5E-817F-3C6796211521}"/>
              </a:ext>
            </a:extLst>
          </p:cNvPr>
          <p:cNvSpPr/>
          <p:nvPr userDrawn="1"/>
        </p:nvSpPr>
        <p:spPr bwMode="white">
          <a:xfrm>
            <a:off x="8975773" y="1532677"/>
            <a:ext cx="2566081" cy="432246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noProof="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76E45A0-DE19-41AA-9EA2-68795CBC79E7}"/>
              </a:ext>
            </a:extLst>
          </p:cNvPr>
          <p:cNvSpPr>
            <a:spLocks noGrp="1"/>
          </p:cNvSpPr>
          <p:nvPr>
            <p:ph type="title" hasCustomPrompt="1"/>
          </p:nvPr>
        </p:nvSpPr>
        <p:spPr/>
        <p:txBody>
          <a:bodyPr/>
          <a:lstStyle/>
          <a:p>
            <a:r>
              <a:rPr lang="en-US"/>
              <a:t>Click to edit your title</a:t>
            </a:r>
          </a:p>
        </p:txBody>
      </p:sp>
      <p:sp>
        <p:nvSpPr>
          <p:cNvPr id="99" name="Picture Placeholder 2">
            <a:extLst>
              <a:ext uri="{FF2B5EF4-FFF2-40B4-BE49-F238E27FC236}">
                <a16:creationId xmlns:a16="http://schemas.microsoft.com/office/drawing/2014/main" id="{85169FAB-F40D-458D-BC33-342F5FA0A762}"/>
              </a:ext>
            </a:extLst>
          </p:cNvPr>
          <p:cNvSpPr>
            <a:spLocks noGrp="1"/>
          </p:cNvSpPr>
          <p:nvPr>
            <p:ph type="pic" sz="quarter" idx="21" hasCustomPrompt="1"/>
          </p:nvPr>
        </p:nvSpPr>
        <p:spPr>
          <a:xfrm>
            <a:off x="1254190"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0" name="Text Placeholder 16">
            <a:extLst>
              <a:ext uri="{FF2B5EF4-FFF2-40B4-BE49-F238E27FC236}">
                <a16:creationId xmlns:a16="http://schemas.microsoft.com/office/drawing/2014/main" id="{5A7BA6A7-7413-4691-9BCE-7270805F8EBD}"/>
              </a:ext>
            </a:extLst>
          </p:cNvPr>
          <p:cNvSpPr>
            <a:spLocks noGrp="1"/>
          </p:cNvSpPr>
          <p:nvPr>
            <p:ph type="body" sz="quarter" idx="12" hasCustomPrompt="1"/>
          </p:nvPr>
        </p:nvSpPr>
        <p:spPr>
          <a:xfrm>
            <a:off x="842889"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1" name="Text Placeholder 16">
            <a:extLst>
              <a:ext uri="{FF2B5EF4-FFF2-40B4-BE49-F238E27FC236}">
                <a16:creationId xmlns:a16="http://schemas.microsoft.com/office/drawing/2014/main" id="{03664417-C953-422F-8447-3E2931045DC6}"/>
              </a:ext>
            </a:extLst>
          </p:cNvPr>
          <p:cNvSpPr>
            <a:spLocks noGrp="1"/>
          </p:cNvSpPr>
          <p:nvPr>
            <p:ph type="body" sz="quarter" idx="15" hasCustomPrompt="1"/>
          </p:nvPr>
        </p:nvSpPr>
        <p:spPr>
          <a:xfrm>
            <a:off x="842889"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2" name="Picture Placeholder 2">
            <a:extLst>
              <a:ext uri="{FF2B5EF4-FFF2-40B4-BE49-F238E27FC236}">
                <a16:creationId xmlns:a16="http://schemas.microsoft.com/office/drawing/2014/main" id="{EE06F97E-AECF-46C6-8C72-D8614FF8B8A2}"/>
              </a:ext>
            </a:extLst>
          </p:cNvPr>
          <p:cNvSpPr>
            <a:spLocks noGrp="1"/>
          </p:cNvSpPr>
          <p:nvPr>
            <p:ph type="pic" sz="quarter" idx="22" hasCustomPrompt="1"/>
          </p:nvPr>
        </p:nvSpPr>
        <p:spPr>
          <a:xfrm>
            <a:off x="403116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3" name="Text Placeholder 16">
            <a:extLst>
              <a:ext uri="{FF2B5EF4-FFF2-40B4-BE49-F238E27FC236}">
                <a16:creationId xmlns:a16="http://schemas.microsoft.com/office/drawing/2014/main" id="{66BE1E77-0A9F-49A8-B7B3-9B807B658E2B}"/>
              </a:ext>
            </a:extLst>
          </p:cNvPr>
          <p:cNvSpPr>
            <a:spLocks noGrp="1"/>
          </p:cNvSpPr>
          <p:nvPr>
            <p:ph type="body" sz="quarter" idx="23" hasCustomPrompt="1"/>
          </p:nvPr>
        </p:nvSpPr>
        <p:spPr>
          <a:xfrm>
            <a:off x="361986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4" name="Text Placeholder 16">
            <a:extLst>
              <a:ext uri="{FF2B5EF4-FFF2-40B4-BE49-F238E27FC236}">
                <a16:creationId xmlns:a16="http://schemas.microsoft.com/office/drawing/2014/main" id="{E0CF0EE8-1C57-449B-A7AD-F5EAEAF6C03C}"/>
              </a:ext>
            </a:extLst>
          </p:cNvPr>
          <p:cNvSpPr>
            <a:spLocks noGrp="1"/>
          </p:cNvSpPr>
          <p:nvPr>
            <p:ph type="body" sz="quarter" idx="24" hasCustomPrompt="1"/>
          </p:nvPr>
        </p:nvSpPr>
        <p:spPr>
          <a:xfrm>
            <a:off x="3619864"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5" name="Picture Placeholder 2">
            <a:extLst>
              <a:ext uri="{FF2B5EF4-FFF2-40B4-BE49-F238E27FC236}">
                <a16:creationId xmlns:a16="http://schemas.microsoft.com/office/drawing/2014/main" id="{43AE853D-A5F4-4D54-A18E-7D0A184EF5C2}"/>
              </a:ext>
            </a:extLst>
          </p:cNvPr>
          <p:cNvSpPr>
            <a:spLocks noGrp="1"/>
          </p:cNvSpPr>
          <p:nvPr>
            <p:ph type="pic" sz="quarter" idx="25" hasCustomPrompt="1"/>
          </p:nvPr>
        </p:nvSpPr>
        <p:spPr>
          <a:xfrm>
            <a:off x="6808138"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6" name="Text Placeholder 16">
            <a:extLst>
              <a:ext uri="{FF2B5EF4-FFF2-40B4-BE49-F238E27FC236}">
                <a16:creationId xmlns:a16="http://schemas.microsoft.com/office/drawing/2014/main" id="{B357F2CF-DACC-49FE-B1A9-1957C3FF4F23}"/>
              </a:ext>
            </a:extLst>
          </p:cNvPr>
          <p:cNvSpPr>
            <a:spLocks noGrp="1"/>
          </p:cNvSpPr>
          <p:nvPr>
            <p:ph type="body" sz="quarter" idx="26" hasCustomPrompt="1"/>
          </p:nvPr>
        </p:nvSpPr>
        <p:spPr>
          <a:xfrm>
            <a:off x="6396838"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07" name="Text Placeholder 16">
            <a:extLst>
              <a:ext uri="{FF2B5EF4-FFF2-40B4-BE49-F238E27FC236}">
                <a16:creationId xmlns:a16="http://schemas.microsoft.com/office/drawing/2014/main" id="{74DA2522-CBA4-4840-B47C-35F7ED830E9A}"/>
              </a:ext>
            </a:extLst>
          </p:cNvPr>
          <p:cNvSpPr>
            <a:spLocks noGrp="1"/>
          </p:cNvSpPr>
          <p:nvPr>
            <p:ph type="body" sz="quarter" idx="27" hasCustomPrompt="1"/>
          </p:nvPr>
        </p:nvSpPr>
        <p:spPr>
          <a:xfrm>
            <a:off x="6396838"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
        <p:nvSpPr>
          <p:cNvPr id="108" name="Picture Placeholder 2">
            <a:extLst>
              <a:ext uri="{FF2B5EF4-FFF2-40B4-BE49-F238E27FC236}">
                <a16:creationId xmlns:a16="http://schemas.microsoft.com/office/drawing/2014/main" id="{6FE0039E-3D28-4402-9344-60BE08AF1697}"/>
              </a:ext>
            </a:extLst>
          </p:cNvPr>
          <p:cNvSpPr>
            <a:spLocks noGrp="1"/>
          </p:cNvSpPr>
          <p:nvPr>
            <p:ph type="pic" sz="quarter" idx="28" hasCustomPrompt="1"/>
          </p:nvPr>
        </p:nvSpPr>
        <p:spPr>
          <a:xfrm>
            <a:off x="9585114" y="2152296"/>
            <a:ext cx="1347401" cy="1347572"/>
          </a:xfrm>
          <a:prstGeom prst="rect">
            <a:avLst/>
          </a:prstGeom>
        </p:spPr>
        <p:txBody>
          <a:bodyPr/>
          <a:lstStyle>
            <a:lvl1pPr marL="0" indent="0">
              <a:buNone/>
              <a:defRPr sz="1200">
                <a:solidFill>
                  <a:schemeClr val="bg1"/>
                </a:solidFill>
              </a:defRPr>
            </a:lvl1pPr>
          </a:lstStyle>
          <a:p>
            <a:r>
              <a:rPr lang="en-US" dirty="0"/>
              <a:t>Copy and paste an icon onto this slide and use this box to help </a:t>
            </a:r>
            <a:r>
              <a:rPr lang="en-US"/>
              <a:t>align it. </a:t>
            </a:r>
            <a:r>
              <a:rPr lang="en-US" dirty="0"/>
              <a:t>Delete this box </a:t>
            </a:r>
            <a:r>
              <a:rPr lang="en-US"/>
              <a:t>when done.</a:t>
            </a:r>
            <a:endParaRPr lang="en-US" dirty="0"/>
          </a:p>
        </p:txBody>
      </p:sp>
      <p:sp>
        <p:nvSpPr>
          <p:cNvPr id="109" name="Text Placeholder 16">
            <a:extLst>
              <a:ext uri="{FF2B5EF4-FFF2-40B4-BE49-F238E27FC236}">
                <a16:creationId xmlns:a16="http://schemas.microsoft.com/office/drawing/2014/main" id="{50637BA2-3E16-47E1-BECC-085330E93B07}"/>
              </a:ext>
            </a:extLst>
          </p:cNvPr>
          <p:cNvSpPr>
            <a:spLocks noGrp="1"/>
          </p:cNvSpPr>
          <p:nvPr>
            <p:ph type="body" sz="quarter" idx="29" hasCustomPrompt="1"/>
          </p:nvPr>
        </p:nvSpPr>
        <p:spPr>
          <a:xfrm>
            <a:off x="9173813" y="3982951"/>
            <a:ext cx="2170003" cy="528674"/>
          </a:xfrm>
          <a:prstGeom prst="rect">
            <a:avLst/>
          </a:prstGeom>
        </p:spPr>
        <p:txBody>
          <a:bodyPr>
            <a:noAutofit/>
          </a:bodyPr>
          <a:lstStyle>
            <a:lvl1pPr marL="0" indent="0" algn="ctr">
              <a:buNone/>
              <a:defRPr sz="2100" b="1">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subhead</a:t>
            </a:r>
          </a:p>
        </p:txBody>
      </p:sp>
      <p:sp>
        <p:nvSpPr>
          <p:cNvPr id="110" name="Text Placeholder 16">
            <a:extLst>
              <a:ext uri="{FF2B5EF4-FFF2-40B4-BE49-F238E27FC236}">
                <a16:creationId xmlns:a16="http://schemas.microsoft.com/office/drawing/2014/main" id="{7F53B2DA-D14F-45BF-8D45-3FEF61013FCE}"/>
              </a:ext>
            </a:extLst>
          </p:cNvPr>
          <p:cNvSpPr>
            <a:spLocks noGrp="1"/>
          </p:cNvSpPr>
          <p:nvPr>
            <p:ph type="body" sz="quarter" idx="30" hasCustomPrompt="1"/>
          </p:nvPr>
        </p:nvSpPr>
        <p:spPr>
          <a:xfrm>
            <a:off x="9173812" y="4670164"/>
            <a:ext cx="2170003" cy="1025786"/>
          </a:xfrm>
          <a:prstGeom prst="rect">
            <a:avLst/>
          </a:prstGeom>
        </p:spPr>
        <p:txBody>
          <a:bodyPr>
            <a:noAutofit/>
          </a:bodyPr>
          <a:lstStyle>
            <a:lvl1pPr marL="0" indent="0" algn="ctr">
              <a:buNone/>
              <a:defRPr sz="1500" b="0">
                <a:solidFill>
                  <a:schemeClr val="bg1"/>
                </a:solidFill>
              </a:defRPr>
            </a:lvl1pPr>
            <a:lvl2pPr marL="609489" indent="0" algn="ctr">
              <a:buNone/>
              <a:defRPr sz="2100" b="1">
                <a:solidFill>
                  <a:schemeClr val="bg2"/>
                </a:solidFill>
              </a:defRPr>
            </a:lvl2pPr>
            <a:lvl3pPr marL="1218976" indent="0" algn="ctr">
              <a:buNone/>
              <a:defRPr sz="2100" b="1">
                <a:solidFill>
                  <a:schemeClr val="bg2"/>
                </a:solidFill>
              </a:defRPr>
            </a:lvl3pPr>
            <a:lvl4pPr marL="1828463" indent="0" algn="ctr">
              <a:buNone/>
              <a:defRPr sz="2100" b="1">
                <a:solidFill>
                  <a:schemeClr val="bg2"/>
                </a:solidFill>
              </a:defRPr>
            </a:lvl4pPr>
            <a:lvl5pPr marL="2437951" indent="0" algn="ctr">
              <a:buNone/>
              <a:defRPr sz="2100" b="1">
                <a:solidFill>
                  <a:schemeClr val="bg2"/>
                </a:solidFill>
              </a:defRPr>
            </a:lvl5pPr>
          </a:lstStyle>
          <a:p>
            <a:pPr lvl="0"/>
            <a:r>
              <a:rPr lang="en-US"/>
              <a:t>Click to add body</a:t>
            </a:r>
          </a:p>
          <a:p>
            <a:pPr lvl="0"/>
            <a:endParaRPr lang="en-US"/>
          </a:p>
        </p:txBody>
      </p:sp>
    </p:spTree>
    <p:extLst>
      <p:ext uri="{BB962C8B-B14F-4D97-AF65-F5344CB8AC3E}">
        <p14:creationId xmlns:p14="http://schemas.microsoft.com/office/powerpoint/2010/main" val="741910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ase study - Blue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0827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ase study - Green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100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ase study - Fuschia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090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ase study - Gold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3B6DBF-FBE9-8A4A-BC45-1565F00F0BED}"/>
              </a:ext>
            </a:extLst>
          </p:cNvPr>
          <p:cNvSpPr/>
          <p:nvPr/>
        </p:nvSpPr>
        <p:spPr bwMode="ltGray">
          <a:xfrm>
            <a:off x="0" y="0"/>
            <a:ext cx="4717463" cy="685800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a:solidFill>
                <a:srgbClr val="FFFFFF"/>
              </a:solidFill>
              <a:latin typeface="Century Gothic" panose="020F0302020204030204"/>
            </a:endParaRPr>
          </a:p>
        </p:txBody>
      </p:sp>
      <p:sp>
        <p:nvSpPr>
          <p:cNvPr id="29" name="Slide Number Placeholder 2">
            <a:extLst>
              <a:ext uri="{FF2B5EF4-FFF2-40B4-BE49-F238E27FC236}">
                <a16:creationId xmlns:a16="http://schemas.microsoft.com/office/drawing/2014/main" id="{C6A34ADA-95E5-814B-B018-B917A33880BB}"/>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25" name="Picture Placeholder 3">
            <a:extLst>
              <a:ext uri="{FF2B5EF4-FFF2-40B4-BE49-F238E27FC236}">
                <a16:creationId xmlns:a16="http://schemas.microsoft.com/office/drawing/2014/main" id="{79644521-9887-FD40-AFB8-80C2999F7C6A}"/>
              </a:ext>
            </a:extLst>
          </p:cNvPr>
          <p:cNvSpPr>
            <a:spLocks noGrp="1"/>
          </p:cNvSpPr>
          <p:nvPr>
            <p:ph type="pic" sz="quarter" idx="12" hasCustomPrompt="1"/>
          </p:nvPr>
        </p:nvSpPr>
        <p:spPr>
          <a:xfrm>
            <a:off x="5627353" y="593850"/>
            <a:ext cx="2214812" cy="670821"/>
          </a:xfrm>
          <a:prstGeom prst="rect">
            <a:avLst/>
          </a:prstGeom>
        </p:spPr>
        <p:txBody>
          <a:bodyPr anchor="t"/>
          <a:lstStyle>
            <a:lvl1pPr marL="0" indent="0" algn="l">
              <a:buNone/>
              <a:defRPr sz="900">
                <a:solidFill>
                  <a:schemeClr val="tx1"/>
                </a:solidFill>
              </a:defRPr>
            </a:lvl1pPr>
          </a:lstStyle>
          <a:p>
            <a:r>
              <a:rPr lang="en-US" dirty="0"/>
              <a:t>Copy and paste a logo onto this slide and use this box to help </a:t>
            </a:r>
            <a:r>
              <a:rPr lang="en-US"/>
              <a:t>align it. </a:t>
            </a:r>
            <a:r>
              <a:rPr lang="en-US" dirty="0"/>
              <a:t>Delete this box </a:t>
            </a:r>
            <a:r>
              <a:rPr lang="en-US"/>
              <a:t>when done.</a:t>
            </a:r>
            <a:endParaRPr lang="en-US" dirty="0"/>
          </a:p>
        </p:txBody>
      </p:sp>
      <p:sp>
        <p:nvSpPr>
          <p:cNvPr id="32" name="Text Placeholder 2">
            <a:extLst>
              <a:ext uri="{FF2B5EF4-FFF2-40B4-BE49-F238E27FC236}">
                <a16:creationId xmlns:a16="http://schemas.microsoft.com/office/drawing/2014/main" id="{D92C656B-3174-8541-8A8F-EEFC73B9B836}"/>
              </a:ext>
            </a:extLst>
          </p:cNvPr>
          <p:cNvSpPr>
            <a:spLocks noGrp="1"/>
          </p:cNvSpPr>
          <p:nvPr>
            <p:ph type="body" sz="quarter" idx="17" hasCustomPrompt="1"/>
          </p:nvPr>
        </p:nvSpPr>
        <p:spPr>
          <a:xfrm>
            <a:off x="562926" y="3257802"/>
            <a:ext cx="3584857" cy="1645754"/>
          </a:xfrm>
          <a:prstGeom prst="rect">
            <a:avLst/>
          </a:prstGeom>
        </p:spPr>
        <p:txBody>
          <a:bodyPr anchor="b">
            <a:normAutofit/>
          </a:bodyPr>
          <a:lstStyle>
            <a:lvl1pPr marL="85725" indent="-85725">
              <a:spcBef>
                <a:spcPts val="450"/>
              </a:spcBef>
              <a:buFont typeface="Arial" panose="020B0604020202020204" pitchFamily="34" charset="0"/>
              <a:buChar char="“"/>
              <a:defRPr sz="1350" b="0">
                <a:solidFill>
                  <a:schemeClr val="bg1"/>
                </a:solidFill>
              </a:defRPr>
            </a:lvl1pPr>
            <a:lvl2pPr marL="85725" indent="0">
              <a:spcBef>
                <a:spcPts val="450"/>
              </a:spcBef>
              <a:buClr>
                <a:schemeClr val="bg1"/>
              </a:buClr>
              <a:buFont typeface="Arial" panose="020B0604020202020204" pitchFamily="34" charset="0"/>
              <a:buChar char="​"/>
              <a:tabLst/>
              <a:defRPr sz="1350" b="0">
                <a:solidFill>
                  <a:schemeClr val="bg1"/>
                </a:solidFill>
              </a:defRPr>
            </a:lvl2pPr>
            <a:lvl3pPr marL="85725" indent="0">
              <a:spcBef>
                <a:spcPts val="450"/>
              </a:spcBef>
              <a:buClr>
                <a:schemeClr val="bg1"/>
              </a:buClr>
              <a:buFont typeface="Arial" panose="020B0604020202020204" pitchFamily="34" charset="0"/>
              <a:buChar char="​"/>
              <a:tabLst/>
              <a:defRPr sz="1350" b="0">
                <a:solidFill>
                  <a:schemeClr val="bg1"/>
                </a:solidFill>
              </a:defRPr>
            </a:lvl3pPr>
            <a:lvl4pPr marL="85725" indent="0">
              <a:spcBef>
                <a:spcPts val="450"/>
              </a:spcBef>
              <a:buFont typeface="Arial" panose="020B0604020202020204" pitchFamily="34" charset="0"/>
              <a:buChar char="​"/>
              <a:defRPr sz="1350" b="0">
                <a:solidFill>
                  <a:schemeClr val="bg1"/>
                </a:solidFill>
              </a:defRPr>
            </a:lvl4pPr>
            <a:lvl5pPr marL="85725" indent="0">
              <a:spcBef>
                <a:spcPts val="450"/>
              </a:spcBef>
              <a:buFont typeface="Arial" panose="020B0604020202020204" pitchFamily="34" charset="0"/>
              <a:buChar char="​"/>
              <a:defRPr sz="1350" b="0">
                <a:solidFill>
                  <a:schemeClr val="bg1"/>
                </a:solidFill>
              </a:defRPr>
            </a:lvl5pPr>
            <a:lvl6pPr marL="85725" indent="0">
              <a:spcBef>
                <a:spcPts val="450"/>
              </a:spcBef>
              <a:buFont typeface="Arial" panose="020B0604020202020204" pitchFamily="34" charset="0"/>
              <a:buChar char="​"/>
              <a:defRPr sz="1350" b="0">
                <a:solidFill>
                  <a:schemeClr val="bg1"/>
                </a:solidFill>
              </a:defRPr>
            </a:lvl6pPr>
            <a:lvl9pPr marL="85725" indent="0">
              <a:spcBef>
                <a:spcPts val="450"/>
              </a:spcBef>
              <a:buFont typeface="Arial" panose="020B0604020202020204" pitchFamily="34" charset="0"/>
              <a:buChar char="​"/>
              <a:defRPr sz="1350" b="0">
                <a:solidFill>
                  <a:schemeClr val="bg1"/>
                </a:solidFill>
              </a:defRPr>
            </a:lvl9pPr>
          </a:lstStyle>
          <a:p>
            <a:pPr lvl="0"/>
            <a:r>
              <a:rPr lang="en-US"/>
              <a:t>Click to add quote</a:t>
            </a:r>
          </a:p>
        </p:txBody>
      </p:sp>
      <p:sp>
        <p:nvSpPr>
          <p:cNvPr id="12" name="Slide Number Placeholder 2">
            <a:extLst>
              <a:ext uri="{FF2B5EF4-FFF2-40B4-BE49-F238E27FC236}">
                <a16:creationId xmlns:a16="http://schemas.microsoft.com/office/drawing/2014/main" id="{9AA6ABD7-4CD6-1843-9D57-67D6A084A17E}"/>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5" name="Slide Number Placeholder 2">
            <a:extLst>
              <a:ext uri="{FF2B5EF4-FFF2-40B4-BE49-F238E27FC236}">
                <a16:creationId xmlns:a16="http://schemas.microsoft.com/office/drawing/2014/main" id="{F903AB83-C2E5-418D-A4F0-AE1C8481068E}"/>
              </a:ext>
            </a:extLst>
          </p:cNvPr>
          <p:cNvSpPr txBox="1">
            <a:spLocks/>
          </p:cNvSpPr>
          <p:nvPr/>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7" name="Slide Number Placeholder 2">
            <a:extLst>
              <a:ext uri="{FF2B5EF4-FFF2-40B4-BE49-F238E27FC236}">
                <a16:creationId xmlns:a16="http://schemas.microsoft.com/office/drawing/2014/main" id="{21C42A24-5B69-40D9-BF4A-741D5E7CC970}"/>
              </a:ext>
            </a:extLst>
          </p:cNvPr>
          <p:cNvSpPr txBox="1">
            <a:spLocks/>
          </p:cNvSpPr>
          <p:nvPr/>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13" name="Slide Number Placeholder 2">
            <a:extLst>
              <a:ext uri="{FF2B5EF4-FFF2-40B4-BE49-F238E27FC236}">
                <a16:creationId xmlns:a16="http://schemas.microsoft.com/office/drawing/2014/main" id="{AE647E4F-8A77-4477-85DF-D8D81A084235}"/>
              </a:ext>
            </a:extLst>
          </p:cNvPr>
          <p:cNvSpPr txBox="1">
            <a:spLocks/>
          </p:cNvSpPr>
          <p:nvPr userDrawn="1"/>
        </p:nvSpPr>
        <p:spPr>
          <a:xfrm>
            <a:off x="398589" y="62303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endParaRPr lang="en-US" sz="900">
              <a:solidFill>
                <a:schemeClr val="bg2"/>
              </a:solidFill>
            </a:endParaRPr>
          </a:p>
        </p:txBody>
      </p:sp>
      <p:sp>
        <p:nvSpPr>
          <p:cNvPr id="14" name="Slide Number Placeholder 2">
            <a:extLst>
              <a:ext uri="{FF2B5EF4-FFF2-40B4-BE49-F238E27FC236}">
                <a16:creationId xmlns:a16="http://schemas.microsoft.com/office/drawing/2014/main" id="{06D7820F-6F97-4AD1-BCFA-520802E365C8}"/>
              </a:ext>
            </a:extLst>
          </p:cNvPr>
          <p:cNvSpPr txBox="1">
            <a:spLocks/>
          </p:cNvSpPr>
          <p:nvPr userDrawn="1"/>
        </p:nvSpPr>
        <p:spPr>
          <a:xfrm>
            <a:off x="512890" y="6344622"/>
            <a:ext cx="2844800" cy="366183"/>
          </a:xfrm>
          <a:prstGeom prst="rect">
            <a:avLst/>
          </a:prstGeom>
        </p:spPr>
        <p:txBody>
          <a:bodyPr vert="horz" lIns="121910" tIns="60955" rIns="121910" bIns="60955"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2" name="Title 1">
            <a:extLst>
              <a:ext uri="{FF2B5EF4-FFF2-40B4-BE49-F238E27FC236}">
                <a16:creationId xmlns:a16="http://schemas.microsoft.com/office/drawing/2014/main" id="{05FBF587-FDE8-4A49-9087-80777F5D79B3}"/>
              </a:ext>
            </a:extLst>
          </p:cNvPr>
          <p:cNvSpPr>
            <a:spLocks noGrp="1"/>
          </p:cNvSpPr>
          <p:nvPr>
            <p:ph type="title"/>
          </p:nvPr>
        </p:nvSpPr>
        <p:spPr>
          <a:xfrm>
            <a:off x="639555" y="593850"/>
            <a:ext cx="3497624" cy="1757635"/>
          </a:xfrm>
        </p:spPr>
        <p:txBody>
          <a:bodyPr anchor="t"/>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08BC5EC3-5714-4475-A957-7B22CF01C399}"/>
              </a:ext>
            </a:extLst>
          </p:cNvPr>
          <p:cNvSpPr>
            <a:spLocks noGrp="1"/>
          </p:cNvSpPr>
          <p:nvPr>
            <p:ph type="body" sz="quarter" idx="21" hasCustomPrompt="1"/>
          </p:nvPr>
        </p:nvSpPr>
        <p:spPr>
          <a:xfrm>
            <a:off x="562926" y="5262257"/>
            <a:ext cx="3584858" cy="529372"/>
          </a:xfrm>
        </p:spPr>
        <p:txBody>
          <a:bodyPr>
            <a:noAutofit/>
          </a:bodyPr>
          <a:lstStyle>
            <a:lvl1pPr marL="85725" indent="0">
              <a:spcBef>
                <a:spcPts val="450"/>
              </a:spcBef>
              <a:buFont typeface="Arial" panose="020B0604020202020204" pitchFamily="34" charset="0"/>
              <a:buChar char="​"/>
              <a:defRPr sz="1350" b="1">
                <a:solidFill>
                  <a:schemeClr val="bg1"/>
                </a:solidFill>
              </a:defRPr>
            </a:lvl1pPr>
            <a:lvl2pPr marL="85725" indent="0">
              <a:spcBef>
                <a:spcPts val="450"/>
              </a:spcBef>
              <a:buFont typeface="Arial" panose="020B0604020202020204" pitchFamily="34" charset="0"/>
              <a:buChar char="​"/>
              <a:defRPr sz="1350" b="1">
                <a:solidFill>
                  <a:schemeClr val="bg1"/>
                </a:solidFill>
              </a:defRPr>
            </a:lvl2pPr>
            <a:lvl3pPr marL="85725" indent="0">
              <a:spcBef>
                <a:spcPts val="450"/>
              </a:spcBef>
              <a:buFont typeface="Arial" panose="020B0604020202020204" pitchFamily="34" charset="0"/>
              <a:buChar char="​"/>
              <a:defRPr sz="1350" b="1">
                <a:solidFill>
                  <a:schemeClr val="bg1"/>
                </a:solidFill>
              </a:defRPr>
            </a:lvl3pPr>
            <a:lvl4pPr marL="85725" indent="0">
              <a:spcBef>
                <a:spcPts val="450"/>
              </a:spcBef>
              <a:buFont typeface="Arial" panose="020B0604020202020204" pitchFamily="34" charset="0"/>
              <a:buChar char="​"/>
              <a:defRPr sz="1350" b="1">
                <a:solidFill>
                  <a:schemeClr val="bg1"/>
                </a:solidFill>
              </a:defRPr>
            </a:lvl4pPr>
            <a:lvl5pPr marL="85725" indent="0">
              <a:spcBef>
                <a:spcPts val="450"/>
              </a:spcBef>
              <a:buFont typeface="Arial" panose="020B0604020202020204" pitchFamily="34" charset="0"/>
              <a:buChar char="​"/>
              <a:defRPr sz="1350" b="1">
                <a:solidFill>
                  <a:schemeClr val="bg1"/>
                </a:solidFill>
              </a:defRPr>
            </a:lvl5pPr>
            <a:lvl6pPr marL="85725" indent="0">
              <a:spcBef>
                <a:spcPts val="450"/>
              </a:spcBef>
              <a:buFont typeface="Arial" panose="020B0604020202020204" pitchFamily="34" charset="0"/>
              <a:buChar char="​"/>
              <a:defRPr sz="1350" b="1">
                <a:solidFill>
                  <a:schemeClr val="bg1"/>
                </a:solidFill>
              </a:defRPr>
            </a:lvl6pPr>
            <a:lvl7pPr marL="85725" indent="0">
              <a:spcBef>
                <a:spcPts val="450"/>
              </a:spcBef>
              <a:buFont typeface="Arial" panose="020B0604020202020204" pitchFamily="34" charset="0"/>
              <a:buChar char="​"/>
              <a:defRPr sz="1350" b="1">
                <a:solidFill>
                  <a:schemeClr val="bg1"/>
                </a:solidFill>
              </a:defRPr>
            </a:lvl7pPr>
            <a:lvl8pPr marL="85725" indent="0">
              <a:spcBef>
                <a:spcPts val="450"/>
              </a:spcBef>
              <a:buFont typeface="Arial" panose="020B0604020202020204" pitchFamily="34" charset="0"/>
              <a:buChar char="​"/>
              <a:defRPr sz="1350" b="1">
                <a:solidFill>
                  <a:schemeClr val="bg1"/>
                </a:solidFill>
              </a:defRPr>
            </a:lvl8pPr>
            <a:lvl9pPr marL="85725" indent="0">
              <a:spcBef>
                <a:spcPts val="450"/>
              </a:spcBef>
              <a:buFont typeface="Arial" panose="020B0604020202020204" pitchFamily="34" charset="0"/>
              <a:buChar char="​"/>
              <a:defRPr sz="1350" b="1">
                <a:solidFill>
                  <a:schemeClr val="bg1"/>
                </a:solidFill>
              </a:defRPr>
            </a:lvl9pPr>
          </a:lstStyle>
          <a:p>
            <a:pPr lvl="0"/>
            <a:r>
              <a:rPr lang="en-US"/>
              <a:t>Click to insert quote source name, title, and company</a:t>
            </a:r>
          </a:p>
        </p:txBody>
      </p:sp>
      <p:sp>
        <p:nvSpPr>
          <p:cNvPr id="8" name="Text Placeholder 7">
            <a:extLst>
              <a:ext uri="{FF2B5EF4-FFF2-40B4-BE49-F238E27FC236}">
                <a16:creationId xmlns:a16="http://schemas.microsoft.com/office/drawing/2014/main" id="{3A04D5B7-C911-4479-9370-41E34533673D}"/>
              </a:ext>
            </a:extLst>
          </p:cNvPr>
          <p:cNvSpPr>
            <a:spLocks noGrp="1"/>
          </p:cNvSpPr>
          <p:nvPr>
            <p:ph type="body" sz="quarter" idx="22" hasCustomPrompt="1"/>
          </p:nvPr>
        </p:nvSpPr>
        <p:spPr>
          <a:xfrm>
            <a:off x="5627354" y="1534716"/>
            <a:ext cx="5915756" cy="4345781"/>
          </a:xfrm>
        </p:spPr>
        <p:txBody>
          <a:bodyPr/>
          <a:lstStyle>
            <a:lvl1pPr>
              <a:defRPr/>
            </a:lvl1pPr>
          </a:lstStyle>
          <a:p>
            <a:pPr lvl="0"/>
            <a:r>
              <a:rPr lang="en-US"/>
              <a:t>Click to insert case study proof poin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477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lvl1pPr>
          </a:lstStyle>
          <a:p>
            <a:r>
              <a:rPr lang="en-US"/>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645512DE-CB1D-4630-AD41-1644F213BA87}"/>
              </a:ext>
            </a:extLst>
          </p:cNvPr>
          <p:cNvPicPr>
            <a:picLocks noChangeAspect="1"/>
          </p:cNvPicPr>
          <p:nvPr userDrawn="1"/>
        </p:nvPicPr>
        <p:blipFill rotWithShape="1">
          <a:blip r:embed="rId4">
            <a:extLst>
              <a:ext uri="{28A0092B-C50C-407E-A947-70E740481C1C}">
                <a14:useLocalDpi xmlns:a14="http://schemas.microsoft.com/office/drawing/2010/main"/>
              </a:ext>
            </a:extLst>
          </a:blip>
          <a:srcRect l="2954" t="8845"/>
          <a:stretch/>
        </p:blipFill>
        <p:spPr bwMode="black">
          <a:xfrm rot="10800000">
            <a:off x="1268730" y="2957706"/>
            <a:ext cx="10923270" cy="3900295"/>
          </a:xfrm>
          <a:prstGeom prst="rect">
            <a:avLst/>
          </a:prstGeom>
        </p:spPr>
      </p:pic>
    </p:spTree>
    <p:extLst>
      <p:ext uri="{BB962C8B-B14F-4D97-AF65-F5344CB8AC3E}">
        <p14:creationId xmlns:p14="http://schemas.microsoft.com/office/powerpoint/2010/main" val="1077675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losing - Blue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sp>
        <p:nvSpPr>
          <p:cNvPr id="21" name="Title 20">
            <a:extLst>
              <a:ext uri="{FF2B5EF4-FFF2-40B4-BE49-F238E27FC236}">
                <a16:creationId xmlns:a16="http://schemas.microsoft.com/office/drawing/2014/main" id="{CBD45648-DA2B-4D9F-9DDE-303FACD95636}"/>
              </a:ext>
            </a:extLst>
          </p:cNvPr>
          <p:cNvSpPr>
            <a:spLocks noGrp="1"/>
          </p:cNvSpPr>
          <p:nvPr>
            <p:ph type="title" hasCustomPrompt="1"/>
          </p:nvPr>
        </p:nvSpPr>
        <p:spPr>
          <a:xfrm>
            <a:off x="639555" y="2665026"/>
            <a:ext cx="6473797" cy="3381265"/>
          </a:xfrm>
        </p:spPr>
        <p:txBody>
          <a:bodyPr anchor="t">
            <a:normAutofit/>
          </a:bodyPr>
          <a:lstStyle>
            <a:lvl1pPr>
              <a:defRPr sz="6000">
                <a:solidFill>
                  <a:schemeClr val="tx1"/>
                </a:solidFill>
              </a:defRPr>
            </a:lvl1pPr>
          </a:lstStyle>
          <a:p>
            <a:r>
              <a:rPr lang="en-US" dirty="0"/>
              <a:t>Click to add short closing sentence</a:t>
            </a:r>
          </a:p>
        </p:txBody>
      </p:sp>
      <p:pic>
        <p:nvPicPr>
          <p:cNvPr id="22" name="Graphic 21">
            <a:extLst>
              <a:ext uri="{FF2B5EF4-FFF2-40B4-BE49-F238E27FC236}">
                <a16:creationId xmlns:a16="http://schemas.microsoft.com/office/drawing/2014/main" id="{35151EF8-0A42-48D6-8398-B387DD3F08A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F370C42B-F571-47AE-9A46-588DCEE5440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3" name="Graphic 2">
            <a:extLst>
              <a:ext uri="{FF2B5EF4-FFF2-40B4-BE49-F238E27FC236}">
                <a16:creationId xmlns:a16="http://schemas.microsoft.com/office/drawing/2014/main" id="{A1C155C8-97FA-4F2B-A382-B21DFA315F25}"/>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1782" t="12990" r="50000" b="12990"/>
          <a:stretch/>
        </p:blipFill>
        <p:spPr>
          <a:xfrm>
            <a:off x="7394332" y="0"/>
            <a:ext cx="4797668" cy="6858000"/>
          </a:xfrm>
          <a:prstGeom prst="rect">
            <a:avLst/>
          </a:prstGeom>
        </p:spPr>
      </p:pic>
    </p:spTree>
    <p:extLst>
      <p:ext uri="{BB962C8B-B14F-4D97-AF65-F5344CB8AC3E}">
        <p14:creationId xmlns:p14="http://schemas.microsoft.com/office/powerpoint/2010/main" val="1562383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losing - Green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6"/>
            <a:ext cx="6109588" cy="3381265"/>
          </a:xfrm>
        </p:spPr>
        <p:txBody>
          <a:bodyPr anchor="t">
            <a:normAutofit/>
          </a:bodyPr>
          <a:lstStyle>
            <a:lvl1pPr>
              <a:defRPr sz="6000"/>
            </a:lvl1pPr>
          </a:lstStyle>
          <a:p>
            <a:r>
              <a:rPr lang="en-US"/>
              <a:t>Click to add short closing sentence</a:t>
            </a:r>
          </a:p>
        </p:txBody>
      </p:sp>
      <p:pic>
        <p:nvPicPr>
          <p:cNvPr id="12" name="Graphic 11">
            <a:extLst>
              <a:ext uri="{FF2B5EF4-FFF2-40B4-BE49-F238E27FC236}">
                <a16:creationId xmlns:a16="http://schemas.microsoft.com/office/drawing/2014/main" id="{EFDA44A8-255F-47C9-B257-951087A30F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5EC7BA9B-B3CC-4795-BF6A-AF3C73C4E4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2357089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Closing - Green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white">
          <a:xfrm>
            <a:off x="0" y="0"/>
            <a:ext cx="12192000" cy="6858000"/>
          </a:xfrm>
          <a:prstGeom prst="rect">
            <a:avLst/>
          </a:prstGeom>
          <a:gradFill>
            <a:gsLst>
              <a:gs pos="50400">
                <a:schemeClr val="accent3">
                  <a:lumMod val="80000"/>
                </a:schemeClr>
              </a:gs>
              <a:gs pos="100000">
                <a:schemeClr val="accent3"/>
              </a:gs>
              <a:gs pos="0">
                <a:schemeClr val="accent4"/>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2" name="Picture 1">
            <a:extLst>
              <a:ext uri="{FF2B5EF4-FFF2-40B4-BE49-F238E27FC236}">
                <a16:creationId xmlns:a16="http://schemas.microsoft.com/office/drawing/2014/main" id="{474E7DC5-9FB3-3948-A24F-DC3CFDFFBB93}"/>
              </a:ext>
            </a:extLst>
          </p:cNvPr>
          <p:cNvPicPr>
            <a:picLocks noChangeAspect="1"/>
          </p:cNvPicPr>
          <p:nvPr/>
        </p:nvPicPr>
        <p:blipFill rotWithShape="1">
          <a:blip r:embed="rId2">
            <a:extLst>
              <a:ext uri="{28A0092B-C50C-407E-A947-70E740481C1C}">
                <a14:useLocalDpi xmlns:a14="http://schemas.microsoft.com/office/drawing/2010/main"/>
              </a:ext>
            </a:extLst>
          </a:blip>
          <a:srcRect t="73301" r="33002" b="10592"/>
          <a:stretch/>
        </p:blipFill>
        <p:spPr bwMode="black">
          <a:xfrm>
            <a:off x="7109058" y="-1"/>
            <a:ext cx="5082943" cy="6858001"/>
          </a:xfrm>
          <a:prstGeom prst="rect">
            <a:avLst/>
          </a:prstGeom>
        </p:spPr>
      </p:pic>
      <p:sp>
        <p:nvSpPr>
          <p:cNvPr id="3" name="Title 2">
            <a:extLst>
              <a:ext uri="{FF2B5EF4-FFF2-40B4-BE49-F238E27FC236}">
                <a16:creationId xmlns:a16="http://schemas.microsoft.com/office/drawing/2014/main" id="{E3EE7F1F-A9D9-4E1A-B4BD-18B7EF2D6FCD}"/>
              </a:ext>
            </a:extLst>
          </p:cNvPr>
          <p:cNvSpPr>
            <a:spLocks noGrp="1"/>
          </p:cNvSpPr>
          <p:nvPr>
            <p:ph type="title" hasCustomPrompt="1"/>
          </p:nvPr>
        </p:nvSpPr>
        <p:spPr>
          <a:xfrm>
            <a:off x="639555" y="2665026"/>
            <a:ext cx="6109588" cy="3381265"/>
          </a:xfrm>
        </p:spPr>
        <p:txBody>
          <a:bodyPr anchor="t">
            <a:normAutofit/>
          </a:bodyPr>
          <a:lstStyle>
            <a:lvl1pPr>
              <a:defRPr sz="6000"/>
            </a:lvl1pPr>
          </a:lstStyle>
          <a:p>
            <a:r>
              <a:rPr lang="en-US"/>
              <a:t>Click to add short closing sentence</a:t>
            </a:r>
          </a:p>
        </p:txBody>
      </p:sp>
    </p:spTree>
    <p:extLst>
      <p:ext uri="{BB962C8B-B14F-4D97-AF65-F5344CB8AC3E}">
        <p14:creationId xmlns:p14="http://schemas.microsoft.com/office/powerpoint/2010/main" val="3757140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losing - Fuschia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rgbClr val="B9247C">
                  <a:lumMod val="80000"/>
                </a:srgbClr>
              </a:gs>
              <a:gs pos="100000">
                <a:srgbClr val="B9247C"/>
              </a:gs>
              <a:gs pos="0">
                <a:srgbClr val="7F1D5E"/>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A9AD33F6-1416-4A9E-93DD-CB80F116A1C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2688" t="-449" r="2175" b="29077"/>
          <a:stretch/>
        </p:blipFill>
        <p:spPr bwMode="black">
          <a:xfrm rot="16200000">
            <a:off x="5888459" y="554451"/>
            <a:ext cx="6857998" cy="5749090"/>
          </a:xfrm>
          <a:prstGeom prst="rect">
            <a:avLst/>
          </a:prstGeom>
        </p:spPr>
      </p:pic>
      <p:sp>
        <p:nvSpPr>
          <p:cNvPr id="4" name="Title 3">
            <a:extLst>
              <a:ext uri="{FF2B5EF4-FFF2-40B4-BE49-F238E27FC236}">
                <a16:creationId xmlns:a16="http://schemas.microsoft.com/office/drawing/2014/main" id="{732A62C7-DE6E-41CE-BE44-090856989E47}"/>
              </a:ext>
            </a:extLst>
          </p:cNvPr>
          <p:cNvSpPr>
            <a:spLocks noGrp="1"/>
          </p:cNvSpPr>
          <p:nvPr>
            <p:ph type="title" hasCustomPrompt="1"/>
          </p:nvPr>
        </p:nvSpPr>
        <p:spPr>
          <a:xfrm>
            <a:off x="639555" y="2665026"/>
            <a:ext cx="5693153" cy="3381265"/>
          </a:xfrm>
        </p:spPr>
        <p:txBody>
          <a:bodyPr anchor="t">
            <a:normAutofit/>
          </a:bodyPr>
          <a:lstStyle>
            <a:lvl1pPr>
              <a:defRPr sz="6000"/>
            </a:lvl1pPr>
          </a:lstStyle>
          <a:p>
            <a:r>
              <a:rPr lang="en-US"/>
              <a:t>Click to add short closing sentence</a:t>
            </a:r>
          </a:p>
        </p:txBody>
      </p:sp>
      <p:pic>
        <p:nvPicPr>
          <p:cNvPr id="12" name="Graphic 11">
            <a:extLst>
              <a:ext uri="{FF2B5EF4-FFF2-40B4-BE49-F238E27FC236}">
                <a16:creationId xmlns:a16="http://schemas.microsoft.com/office/drawing/2014/main" id="{BA0F839E-D49C-4531-9396-454D3EF201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7707" y="1133612"/>
            <a:ext cx="982969" cy="397803"/>
          </a:xfrm>
          <a:prstGeom prst="rect">
            <a:avLst/>
          </a:prstGeom>
        </p:spPr>
      </p:pic>
      <p:pic>
        <p:nvPicPr>
          <p:cNvPr id="6" name="Graphic 5">
            <a:extLst>
              <a:ext uri="{FF2B5EF4-FFF2-40B4-BE49-F238E27FC236}">
                <a16:creationId xmlns:a16="http://schemas.microsoft.com/office/drawing/2014/main" id="{8D0238E7-9580-4E58-90B5-3A36E7E4E6B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637707" y="1133612"/>
            <a:ext cx="982969" cy="397803"/>
          </a:xfrm>
          <a:prstGeom prst="rect">
            <a:avLst/>
          </a:prstGeom>
        </p:spPr>
      </p:pic>
    </p:spTree>
    <p:extLst>
      <p:ext uri="{BB962C8B-B14F-4D97-AF65-F5344CB8AC3E}">
        <p14:creationId xmlns:p14="http://schemas.microsoft.com/office/powerpoint/2010/main" val="781539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losing - Gold gradien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rotWithShape="1">
            <a:gsLst>
              <a:gs pos="50000">
                <a:schemeClr val="accent5">
                  <a:lumMod val="80000"/>
                </a:schemeClr>
              </a:gs>
              <a:gs pos="100000">
                <a:srgbClr val="F1B52C"/>
              </a:gs>
              <a:gs pos="0">
                <a:srgbClr val="CE6D28"/>
              </a:gs>
            </a:gsLst>
            <a:lin ang="2700000" scaled="1"/>
          </a:gradFill>
          <a:ln w="9525" cap="flat" cmpd="sng" algn="ctr">
            <a:noFill/>
            <a:prstDash val="solid"/>
          </a:ln>
          <a:effectLst/>
        </p:spPr>
        <p:txBody>
          <a:bodyPr rtlCol="0" anchor="ctr"/>
          <a:lstStyle/>
          <a:p>
            <a:pPr lvl="0" algn="ctr" defTabSz="685800"/>
            <a:endParaRPr lang="en-US" sz="1350" kern="0">
              <a:solidFill>
                <a:srgbClr val="FFFFFF"/>
              </a:solidFill>
              <a:latin typeface="Century Gothic" panose="020F0302020204030204"/>
            </a:endParaRPr>
          </a:p>
        </p:txBody>
      </p:sp>
      <p:sp>
        <p:nvSpPr>
          <p:cNvPr id="2" name="Title 1">
            <a:extLst>
              <a:ext uri="{FF2B5EF4-FFF2-40B4-BE49-F238E27FC236}">
                <a16:creationId xmlns:a16="http://schemas.microsoft.com/office/drawing/2014/main" id="{71C0BAD3-71E8-4F30-86E6-613BBF710A63}"/>
              </a:ext>
            </a:extLst>
          </p:cNvPr>
          <p:cNvSpPr>
            <a:spLocks noGrp="1"/>
          </p:cNvSpPr>
          <p:nvPr>
            <p:ph type="title" hasCustomPrompt="1"/>
          </p:nvPr>
        </p:nvSpPr>
        <p:spPr>
          <a:xfrm>
            <a:off x="639555" y="2665026"/>
            <a:ext cx="6109588" cy="3381265"/>
          </a:xfrm>
        </p:spPr>
        <p:txBody>
          <a:bodyPr anchor="t">
            <a:noAutofit/>
          </a:bodyPr>
          <a:lstStyle>
            <a:lvl1pPr>
              <a:defRPr sz="6000"/>
            </a:lvl1pPr>
          </a:lstStyle>
          <a:p>
            <a:r>
              <a:rPr lang="en-US"/>
              <a:t>Click to add short closing sentence</a:t>
            </a:r>
          </a:p>
        </p:txBody>
      </p:sp>
      <p:pic>
        <p:nvPicPr>
          <p:cNvPr id="71" name="Graphic 70">
            <a:extLst>
              <a:ext uri="{FF2B5EF4-FFF2-40B4-BE49-F238E27FC236}">
                <a16:creationId xmlns:a16="http://schemas.microsoft.com/office/drawing/2014/main" id="{D61F507B-2EC6-43D0-8C98-4FFE0C8EB9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6" name="Graphic 5">
            <a:extLst>
              <a:ext uri="{FF2B5EF4-FFF2-40B4-BE49-F238E27FC236}">
                <a16:creationId xmlns:a16="http://schemas.microsoft.com/office/drawing/2014/main" id="{4DD9EAB6-D427-4E29-9773-D39A538947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637707" y="1133612"/>
            <a:ext cx="982969" cy="397803"/>
          </a:xfrm>
          <a:prstGeom prst="rect">
            <a:avLst/>
          </a:prstGeom>
        </p:spPr>
      </p:pic>
      <p:pic>
        <p:nvPicPr>
          <p:cNvPr id="8" name="Picture 7">
            <a:extLst>
              <a:ext uri="{FF2B5EF4-FFF2-40B4-BE49-F238E27FC236}">
                <a16:creationId xmlns:a16="http://schemas.microsoft.com/office/drawing/2014/main" id="{7CA0B16D-EEDF-46B0-924E-4B559D093E29}"/>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31256" r="11043" b="34663"/>
          <a:stretch/>
        </p:blipFill>
        <p:spPr bwMode="black">
          <a:xfrm>
            <a:off x="7260383" y="1"/>
            <a:ext cx="4931618" cy="6858000"/>
          </a:xfrm>
          <a:prstGeom prst="rect">
            <a:avLst/>
          </a:prstGeom>
        </p:spPr>
      </p:pic>
    </p:spTree>
    <p:extLst>
      <p:ext uri="{BB962C8B-B14F-4D97-AF65-F5344CB8AC3E}">
        <p14:creationId xmlns:p14="http://schemas.microsoft.com/office/powerpoint/2010/main" val="1836159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168" name="Picture 167">
            <a:extLst>
              <a:ext uri="{FF2B5EF4-FFF2-40B4-BE49-F238E27FC236}">
                <a16:creationId xmlns:a16="http://schemas.microsoft.com/office/drawing/2014/main" id="{B2914A7C-13AA-43DC-973C-59F00EECB59B}"/>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184" name="Picture 183">
            <a:extLst>
              <a:ext uri="{FF2B5EF4-FFF2-40B4-BE49-F238E27FC236}">
                <a16:creationId xmlns:a16="http://schemas.microsoft.com/office/drawing/2014/main" id="{F4964DAD-1588-4B43-BA28-7F5A258DD421}"/>
              </a:ext>
            </a:extLst>
          </p:cNvPr>
          <p:cNvPicPr>
            <a:picLocks noChangeAspect="1"/>
          </p:cNvPicPr>
          <p:nvPr/>
        </p:nvPicPr>
        <p:blipFill>
          <a:blip r:embed="rId2"/>
          <a:stretch>
            <a:fillRect/>
          </a:stretch>
        </p:blipFill>
        <p:spPr>
          <a:xfrm>
            <a:off x="372801" y="171454"/>
            <a:ext cx="11174936" cy="1161389"/>
          </a:xfrm>
          <a:prstGeom prst="rect">
            <a:avLst/>
          </a:prstGeom>
        </p:spPr>
      </p:pic>
      <p:pic>
        <p:nvPicPr>
          <p:cNvPr id="245" name="Picture 244">
            <a:extLst>
              <a:ext uri="{FF2B5EF4-FFF2-40B4-BE49-F238E27FC236}">
                <a16:creationId xmlns:a16="http://schemas.microsoft.com/office/drawing/2014/main" id="{11579E52-4BA8-4870-A425-FB4DE331E008}"/>
              </a:ext>
            </a:extLst>
          </p:cNvPr>
          <p:cNvPicPr>
            <a:picLocks noChangeAspect="1"/>
          </p:cNvPicPr>
          <p:nvPr userDrawn="1"/>
        </p:nvPicPr>
        <p:blipFill>
          <a:blip r:embed="rId2"/>
          <a:stretch>
            <a:fillRect/>
          </a:stretch>
        </p:blipFill>
        <p:spPr>
          <a:xfrm>
            <a:off x="372801" y="171454"/>
            <a:ext cx="11174936" cy="1161389"/>
          </a:xfrm>
          <a:prstGeom prst="rect">
            <a:avLst/>
          </a:prstGeom>
        </p:spPr>
      </p:pic>
      <p:grpSp>
        <p:nvGrpSpPr>
          <p:cNvPr id="368" name="Group 367">
            <a:extLst>
              <a:ext uri="{FF2B5EF4-FFF2-40B4-BE49-F238E27FC236}">
                <a16:creationId xmlns:a16="http://schemas.microsoft.com/office/drawing/2014/main" id="{815E32B5-FB38-48BD-9C78-A32C320D6A70}"/>
              </a:ext>
            </a:extLst>
          </p:cNvPr>
          <p:cNvGrpSpPr/>
          <p:nvPr userDrawn="1"/>
        </p:nvGrpSpPr>
        <p:grpSpPr>
          <a:xfrm>
            <a:off x="-5233" y="0"/>
            <a:ext cx="13531112" cy="6858001"/>
            <a:chOff x="-6977" y="0"/>
            <a:chExt cx="18041482" cy="9144001"/>
          </a:xfrm>
        </p:grpSpPr>
        <p:grpSp>
          <p:nvGrpSpPr>
            <p:cNvPr id="369" name="Group 368">
              <a:extLst>
                <a:ext uri="{FF2B5EF4-FFF2-40B4-BE49-F238E27FC236}">
                  <a16:creationId xmlns:a16="http://schemas.microsoft.com/office/drawing/2014/main" id="{AAFBF8FC-C743-408A-A4A2-FF666B13F17E}"/>
                </a:ext>
              </a:extLst>
            </p:cNvPr>
            <p:cNvGrpSpPr/>
            <p:nvPr/>
          </p:nvGrpSpPr>
          <p:grpSpPr>
            <a:xfrm>
              <a:off x="16391113" y="228606"/>
              <a:ext cx="1643392" cy="8400847"/>
              <a:chOff x="16391113" y="228606"/>
              <a:chExt cx="1643392" cy="8400847"/>
            </a:xfrm>
          </p:grpSpPr>
          <p:grpSp>
            <p:nvGrpSpPr>
              <p:cNvPr id="401" name="Group 400">
                <a:extLst>
                  <a:ext uri="{FF2B5EF4-FFF2-40B4-BE49-F238E27FC236}">
                    <a16:creationId xmlns:a16="http://schemas.microsoft.com/office/drawing/2014/main" id="{F62E36F9-6A84-431E-976E-12190619DE38}"/>
                  </a:ext>
                </a:extLst>
              </p:cNvPr>
              <p:cNvGrpSpPr/>
              <p:nvPr/>
            </p:nvGrpSpPr>
            <p:grpSpPr>
              <a:xfrm>
                <a:off x="16391113" y="873529"/>
                <a:ext cx="1643390" cy="429597"/>
                <a:chOff x="6816359" y="258274"/>
                <a:chExt cx="2729212" cy="763782"/>
              </a:xfrm>
              <a:solidFill>
                <a:schemeClr val="tx1"/>
              </a:solidFill>
            </p:grpSpPr>
            <p:sp>
              <p:nvSpPr>
                <p:cNvPr id="414" name="TextBox 413">
                  <a:extLst>
                    <a:ext uri="{FF2B5EF4-FFF2-40B4-BE49-F238E27FC236}">
                      <a16:creationId xmlns:a16="http://schemas.microsoft.com/office/drawing/2014/main" id="{BA44C3CE-BE56-4AAC-86A2-0F0A01082649}"/>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Title Area</a:t>
                  </a:r>
                </a:p>
              </p:txBody>
            </p:sp>
            <p:cxnSp>
              <p:nvCxnSpPr>
                <p:cNvPr id="415" name="Straight Arrow Connector 414">
                  <a:extLst>
                    <a:ext uri="{FF2B5EF4-FFF2-40B4-BE49-F238E27FC236}">
                      <a16:creationId xmlns:a16="http://schemas.microsoft.com/office/drawing/2014/main" id="{8ED47C83-A7FE-48BF-8D9C-2EED6DFFE84A}"/>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0941E687-3FA2-4D02-B84A-4356222E51A2}"/>
                  </a:ext>
                </a:extLst>
              </p:cNvPr>
              <p:cNvGrpSpPr/>
              <p:nvPr/>
            </p:nvGrpSpPr>
            <p:grpSpPr>
              <a:xfrm>
                <a:off x="16391113" y="7984708"/>
                <a:ext cx="1643392" cy="190760"/>
                <a:chOff x="6816359" y="6061558"/>
                <a:chExt cx="2729216" cy="211439"/>
              </a:xfrm>
              <a:solidFill>
                <a:schemeClr val="tx1"/>
              </a:solidFill>
            </p:grpSpPr>
            <p:sp>
              <p:nvSpPr>
                <p:cNvPr id="412" name="TextBox 411">
                  <a:extLst>
                    <a:ext uri="{FF2B5EF4-FFF2-40B4-BE49-F238E27FC236}">
                      <a16:creationId xmlns:a16="http://schemas.microsoft.com/office/drawing/2014/main" id="{41542C8B-AF22-4FAB-9B84-1DA754ABA30D}"/>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Suggested Source Area</a:t>
                  </a:r>
                </a:p>
              </p:txBody>
            </p:sp>
            <p:cxnSp>
              <p:nvCxnSpPr>
                <p:cNvPr id="413" name="Straight Arrow Connector 412">
                  <a:extLst>
                    <a:ext uri="{FF2B5EF4-FFF2-40B4-BE49-F238E27FC236}">
                      <a16:creationId xmlns:a16="http://schemas.microsoft.com/office/drawing/2014/main" id="{B9B0667C-0332-4944-8368-57ACE38F2294}"/>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E30F75F7-D118-4B53-88E8-2157693065F7}"/>
                  </a:ext>
                </a:extLst>
              </p:cNvPr>
              <p:cNvGrpSpPr/>
              <p:nvPr/>
            </p:nvGrpSpPr>
            <p:grpSpPr>
              <a:xfrm>
                <a:off x="16391113" y="1680123"/>
                <a:ext cx="1643390" cy="6122307"/>
                <a:chOff x="6816359" y="258274"/>
                <a:chExt cx="2729212" cy="763782"/>
              </a:xfrm>
              <a:solidFill>
                <a:schemeClr val="tx1"/>
              </a:solidFill>
            </p:grpSpPr>
            <p:sp>
              <p:nvSpPr>
                <p:cNvPr id="410" name="TextBox 409">
                  <a:extLst>
                    <a:ext uri="{FF2B5EF4-FFF2-40B4-BE49-F238E27FC236}">
                      <a16:creationId xmlns:a16="http://schemas.microsoft.com/office/drawing/2014/main" id="{478B5E85-1B8D-409C-8686-3F3FAE61E4B2}"/>
                    </a:ext>
                  </a:extLst>
                </p:cNvPr>
                <p:cNvSpPr txBox="1"/>
                <p:nvPr/>
              </p:nvSpPr>
              <p:spPr>
                <a:xfrm>
                  <a:off x="6911916" y="258274"/>
                  <a:ext cx="2633655" cy="763782"/>
                </a:xfrm>
                <a:prstGeom prst="rect">
                  <a:avLst/>
                </a:prstGeom>
                <a:grpFill/>
              </p:spPr>
              <p:txBody>
                <a:bodyPr wrap="square" rtlCol="0" anchor="ctr" anchorCtr="0">
                  <a:noAutofit/>
                </a:bodyPr>
                <a:lstStyle/>
                <a:p>
                  <a:r>
                    <a:rPr lang="en-US" sz="675" b="1">
                      <a:solidFill>
                        <a:schemeClr val="bg1"/>
                      </a:solidFill>
                    </a:rPr>
                    <a:t>Primary Content Area</a:t>
                  </a:r>
                </a:p>
              </p:txBody>
            </p:sp>
            <p:cxnSp>
              <p:nvCxnSpPr>
                <p:cNvPr id="411" name="Straight Arrow Connector 410">
                  <a:extLst>
                    <a:ext uri="{FF2B5EF4-FFF2-40B4-BE49-F238E27FC236}">
                      <a16:creationId xmlns:a16="http://schemas.microsoft.com/office/drawing/2014/main" id="{3F007CF6-7CA3-4488-AA4A-51DF3E44F29F}"/>
                    </a:ext>
                  </a:extLst>
                </p:cNvPr>
                <p:cNvCxnSpPr/>
                <p:nvPr/>
              </p:nvCxnSpPr>
              <p:spPr>
                <a:xfrm>
                  <a:off x="6816359" y="258274"/>
                  <a:ext cx="0" cy="763782"/>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1CF9A4BF-C5D3-4771-8318-EB39224ABFF9}"/>
                  </a:ext>
                </a:extLst>
              </p:cNvPr>
              <p:cNvGrpSpPr/>
              <p:nvPr/>
            </p:nvGrpSpPr>
            <p:grpSpPr>
              <a:xfrm>
                <a:off x="16391113" y="228606"/>
                <a:ext cx="1643390" cy="644924"/>
                <a:chOff x="6816359" y="258274"/>
                <a:chExt cx="2729212" cy="763782"/>
              </a:xfrm>
            </p:grpSpPr>
            <p:sp>
              <p:nvSpPr>
                <p:cNvPr id="408" name="TextBox 407">
                  <a:extLst>
                    <a:ext uri="{FF2B5EF4-FFF2-40B4-BE49-F238E27FC236}">
                      <a16:creationId xmlns:a16="http://schemas.microsoft.com/office/drawing/2014/main" id="{70CB5599-1DF3-4074-9A41-413EC5527F5A}"/>
                    </a:ext>
                  </a:extLst>
                </p:cNvPr>
                <p:cNvSpPr txBox="1"/>
                <p:nvPr/>
              </p:nvSpPr>
              <p:spPr>
                <a:xfrm>
                  <a:off x="6911916" y="258274"/>
                  <a:ext cx="2633655" cy="763782"/>
                </a:xfrm>
                <a:prstGeom prst="rect">
                  <a:avLst/>
                </a:prstGeom>
                <a:pattFill prst="ltUpDiag">
                  <a:fgClr>
                    <a:schemeClr val="tx1">
                      <a:lumMod val="60000"/>
                      <a:lumOff val="40000"/>
                    </a:schemeClr>
                  </a:fgClr>
                  <a:bgClr>
                    <a:schemeClr val="tx1"/>
                  </a:bgClr>
                </a:pattFill>
              </p:spPr>
              <p:txBody>
                <a:bodyPr wrap="square" rtlCol="0" anchor="ctr" anchorCtr="0">
                  <a:noAutofit/>
                </a:bodyPr>
                <a:lstStyle/>
                <a:p>
                  <a:r>
                    <a:rPr lang="en-US" sz="675" b="1">
                      <a:solidFill>
                        <a:schemeClr val="bg1"/>
                      </a:solidFill>
                    </a:rPr>
                    <a:t>Overflow Title Area</a:t>
                  </a:r>
                </a:p>
              </p:txBody>
            </p:sp>
            <p:cxnSp>
              <p:nvCxnSpPr>
                <p:cNvPr id="409" name="Straight Arrow Connector 408">
                  <a:extLst>
                    <a:ext uri="{FF2B5EF4-FFF2-40B4-BE49-F238E27FC236}">
                      <a16:creationId xmlns:a16="http://schemas.microsoft.com/office/drawing/2014/main" id="{68B2387C-6EAD-4CC5-B685-BD8E3DF0AE98}"/>
                    </a:ext>
                  </a:extLst>
                </p:cNvPr>
                <p:cNvCxnSpPr/>
                <p:nvPr/>
              </p:nvCxnSpPr>
              <p:spPr>
                <a:xfrm>
                  <a:off x="6816359" y="258274"/>
                  <a:ext cx="0" cy="763782"/>
                </a:xfrm>
                <a:prstGeom prst="straightConnector1">
                  <a:avLst/>
                </a:prstGeom>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1D51AB5C-A71F-4713-BA98-9522E975A010}"/>
                  </a:ext>
                </a:extLst>
              </p:cNvPr>
              <p:cNvGrpSpPr/>
              <p:nvPr/>
            </p:nvGrpSpPr>
            <p:grpSpPr>
              <a:xfrm>
                <a:off x="16391113" y="8286995"/>
                <a:ext cx="1643392" cy="342458"/>
                <a:chOff x="6816359" y="6061558"/>
                <a:chExt cx="2729216" cy="211439"/>
              </a:xfrm>
              <a:solidFill>
                <a:schemeClr val="tx1"/>
              </a:solidFill>
            </p:grpSpPr>
            <p:sp>
              <p:nvSpPr>
                <p:cNvPr id="406" name="TextBox 405">
                  <a:extLst>
                    <a:ext uri="{FF2B5EF4-FFF2-40B4-BE49-F238E27FC236}">
                      <a16:creationId xmlns:a16="http://schemas.microsoft.com/office/drawing/2014/main" id="{929CA122-BE8F-4716-88BF-A444EAC5D4D2}"/>
                    </a:ext>
                  </a:extLst>
                </p:cNvPr>
                <p:cNvSpPr txBox="1"/>
                <p:nvPr/>
              </p:nvSpPr>
              <p:spPr>
                <a:xfrm>
                  <a:off x="6905715" y="6061558"/>
                  <a:ext cx="2639860" cy="210510"/>
                </a:xfrm>
                <a:prstGeom prst="rect">
                  <a:avLst/>
                </a:prstGeom>
                <a:grpFill/>
              </p:spPr>
              <p:txBody>
                <a:bodyPr wrap="square" rtlCol="0" anchor="ctr" anchorCtr="0">
                  <a:noAutofit/>
                </a:bodyPr>
                <a:lstStyle/>
                <a:p>
                  <a:r>
                    <a:rPr lang="en-US" sz="675" b="1">
                      <a:solidFill>
                        <a:schemeClr val="bg1"/>
                      </a:solidFill>
                    </a:rPr>
                    <a:t>Logo and Page Number</a:t>
                  </a:r>
                </a:p>
              </p:txBody>
            </p:sp>
            <p:cxnSp>
              <p:nvCxnSpPr>
                <p:cNvPr id="407" name="Straight Arrow Connector 406">
                  <a:extLst>
                    <a:ext uri="{FF2B5EF4-FFF2-40B4-BE49-F238E27FC236}">
                      <a16:creationId xmlns:a16="http://schemas.microsoft.com/office/drawing/2014/main" id="{FE87EB25-B309-4603-A1FA-07097B8B737E}"/>
                    </a:ext>
                  </a:extLst>
                </p:cNvPr>
                <p:cNvCxnSpPr/>
                <p:nvPr/>
              </p:nvCxnSpPr>
              <p:spPr>
                <a:xfrm>
                  <a:off x="6816359" y="6062487"/>
                  <a:ext cx="0" cy="210510"/>
                </a:xfrm>
                <a:prstGeom prst="straightConnector1">
                  <a:avLst/>
                </a:prstGeom>
                <a:grpFill/>
                <a:ln w="12700">
                  <a:solidFill>
                    <a:schemeClr val="tx1">
                      <a:lumMod val="75000"/>
                      <a:lumOff val="25000"/>
                    </a:schemeClr>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grpSp>
        <p:grpSp>
          <p:nvGrpSpPr>
            <p:cNvPr id="370" name="Group 369">
              <a:extLst>
                <a:ext uri="{FF2B5EF4-FFF2-40B4-BE49-F238E27FC236}">
                  <a16:creationId xmlns:a16="http://schemas.microsoft.com/office/drawing/2014/main" id="{4FA9BEBD-FA44-497F-9925-6858C9E0449D}"/>
                </a:ext>
              </a:extLst>
            </p:cNvPr>
            <p:cNvGrpSpPr/>
            <p:nvPr userDrawn="1"/>
          </p:nvGrpSpPr>
          <p:grpSpPr>
            <a:xfrm>
              <a:off x="-6977" y="0"/>
              <a:ext cx="16262974" cy="9144001"/>
              <a:chOff x="-6977" y="0"/>
              <a:chExt cx="16262974" cy="9144001"/>
            </a:xfrm>
          </p:grpSpPr>
          <p:grpSp>
            <p:nvGrpSpPr>
              <p:cNvPr id="371" name="Group 370">
                <a:extLst>
                  <a:ext uri="{FF2B5EF4-FFF2-40B4-BE49-F238E27FC236}">
                    <a16:creationId xmlns:a16="http://schemas.microsoft.com/office/drawing/2014/main" id="{DF9C94DC-D1F0-464B-AE9B-9FB2FFF0426B}"/>
                  </a:ext>
                </a:extLst>
              </p:cNvPr>
              <p:cNvGrpSpPr/>
              <p:nvPr/>
            </p:nvGrpSpPr>
            <p:grpSpPr>
              <a:xfrm>
                <a:off x="852739" y="2041886"/>
                <a:ext cx="14543460" cy="5768234"/>
                <a:chOff x="544054" y="910199"/>
                <a:chExt cx="11099304" cy="5686989"/>
              </a:xfrm>
            </p:grpSpPr>
            <p:sp>
              <p:nvSpPr>
                <p:cNvPr id="389" name="Rectangle 388">
                  <a:extLst>
                    <a:ext uri="{FF2B5EF4-FFF2-40B4-BE49-F238E27FC236}">
                      <a16:creationId xmlns:a16="http://schemas.microsoft.com/office/drawing/2014/main" id="{7FD3E0D4-26D8-477C-81E9-E05DCFFA82FA}"/>
                    </a:ext>
                  </a:extLst>
                </p:cNvPr>
                <p:cNvSpPr/>
                <p:nvPr/>
              </p:nvSpPr>
              <p:spPr>
                <a:xfrm>
                  <a:off x="54405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0" name="Rectangle 389">
                  <a:extLst>
                    <a:ext uri="{FF2B5EF4-FFF2-40B4-BE49-F238E27FC236}">
                      <a16:creationId xmlns:a16="http://schemas.microsoft.com/office/drawing/2014/main" id="{8CBD9651-3189-42AA-8984-0AFB159FC0EA}"/>
                    </a:ext>
                  </a:extLst>
                </p:cNvPr>
                <p:cNvSpPr/>
                <p:nvPr/>
              </p:nvSpPr>
              <p:spPr>
                <a:xfrm>
                  <a:off x="148658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1" name="Rectangle 390">
                  <a:extLst>
                    <a:ext uri="{FF2B5EF4-FFF2-40B4-BE49-F238E27FC236}">
                      <a16:creationId xmlns:a16="http://schemas.microsoft.com/office/drawing/2014/main" id="{81988AB6-21B7-481C-B595-3F780F3E9F53}"/>
                    </a:ext>
                  </a:extLst>
                </p:cNvPr>
                <p:cNvSpPr/>
                <p:nvPr/>
              </p:nvSpPr>
              <p:spPr>
                <a:xfrm>
                  <a:off x="242910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2" name="Rectangle 391">
                  <a:extLst>
                    <a:ext uri="{FF2B5EF4-FFF2-40B4-BE49-F238E27FC236}">
                      <a16:creationId xmlns:a16="http://schemas.microsoft.com/office/drawing/2014/main" id="{39DDE36E-32F7-460B-988A-D31B6132E9EA}"/>
                    </a:ext>
                  </a:extLst>
                </p:cNvPr>
                <p:cNvSpPr/>
                <p:nvPr/>
              </p:nvSpPr>
              <p:spPr>
                <a:xfrm>
                  <a:off x="337163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3" name="Rectangle 392">
                  <a:extLst>
                    <a:ext uri="{FF2B5EF4-FFF2-40B4-BE49-F238E27FC236}">
                      <a16:creationId xmlns:a16="http://schemas.microsoft.com/office/drawing/2014/main" id="{BCC17DCC-9754-4816-92B3-394667032CCC}"/>
                    </a:ext>
                  </a:extLst>
                </p:cNvPr>
                <p:cNvSpPr/>
                <p:nvPr/>
              </p:nvSpPr>
              <p:spPr>
                <a:xfrm>
                  <a:off x="431415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4" name="Rectangle 393">
                  <a:extLst>
                    <a:ext uri="{FF2B5EF4-FFF2-40B4-BE49-F238E27FC236}">
                      <a16:creationId xmlns:a16="http://schemas.microsoft.com/office/drawing/2014/main" id="{D045F482-E486-40BB-85AA-BC1630007687}"/>
                    </a:ext>
                  </a:extLst>
                </p:cNvPr>
                <p:cNvSpPr/>
                <p:nvPr/>
              </p:nvSpPr>
              <p:spPr>
                <a:xfrm>
                  <a:off x="525668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5" name="Rectangle 394">
                  <a:extLst>
                    <a:ext uri="{FF2B5EF4-FFF2-40B4-BE49-F238E27FC236}">
                      <a16:creationId xmlns:a16="http://schemas.microsoft.com/office/drawing/2014/main" id="{C3D47B6C-50AB-4DF6-82D4-3F908585B00B}"/>
                    </a:ext>
                  </a:extLst>
                </p:cNvPr>
                <p:cNvSpPr/>
                <p:nvPr/>
              </p:nvSpPr>
              <p:spPr>
                <a:xfrm>
                  <a:off x="6199210"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6" name="Rectangle 395">
                  <a:extLst>
                    <a:ext uri="{FF2B5EF4-FFF2-40B4-BE49-F238E27FC236}">
                      <a16:creationId xmlns:a16="http://schemas.microsoft.com/office/drawing/2014/main" id="{3AFBA864-8FFF-42CD-A936-205BA937C58D}"/>
                    </a:ext>
                  </a:extLst>
                </p:cNvPr>
                <p:cNvSpPr/>
                <p:nvPr/>
              </p:nvSpPr>
              <p:spPr>
                <a:xfrm>
                  <a:off x="7141736"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7" name="Rectangle 396">
                  <a:extLst>
                    <a:ext uri="{FF2B5EF4-FFF2-40B4-BE49-F238E27FC236}">
                      <a16:creationId xmlns:a16="http://schemas.microsoft.com/office/drawing/2014/main" id="{0AB6FC89-52E3-4FFB-851C-85FD7C051FC5}"/>
                    </a:ext>
                  </a:extLst>
                </p:cNvPr>
                <p:cNvSpPr/>
                <p:nvPr/>
              </p:nvSpPr>
              <p:spPr>
                <a:xfrm>
                  <a:off x="8084262"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8" name="Rectangle 397">
                  <a:extLst>
                    <a:ext uri="{FF2B5EF4-FFF2-40B4-BE49-F238E27FC236}">
                      <a16:creationId xmlns:a16="http://schemas.microsoft.com/office/drawing/2014/main" id="{4B81C939-A67F-4DB1-9EE3-E7C9CABCE2AF}"/>
                    </a:ext>
                  </a:extLst>
                </p:cNvPr>
                <p:cNvSpPr/>
                <p:nvPr/>
              </p:nvSpPr>
              <p:spPr>
                <a:xfrm>
                  <a:off x="902678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99" name="Rectangle 398">
                  <a:extLst>
                    <a:ext uri="{FF2B5EF4-FFF2-40B4-BE49-F238E27FC236}">
                      <a16:creationId xmlns:a16="http://schemas.microsoft.com/office/drawing/2014/main" id="{C30533AE-D93F-4433-8561-D884886B8CD9}"/>
                    </a:ext>
                  </a:extLst>
                </p:cNvPr>
                <p:cNvSpPr/>
                <p:nvPr/>
              </p:nvSpPr>
              <p:spPr>
                <a:xfrm>
                  <a:off x="9969314"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00" name="Rectangle 399">
                  <a:extLst>
                    <a:ext uri="{FF2B5EF4-FFF2-40B4-BE49-F238E27FC236}">
                      <a16:creationId xmlns:a16="http://schemas.microsoft.com/office/drawing/2014/main" id="{A86F057C-C303-4E97-9FC5-784D6C988AB7}"/>
                    </a:ext>
                  </a:extLst>
                </p:cNvPr>
                <p:cNvSpPr/>
                <p:nvPr/>
              </p:nvSpPr>
              <p:spPr>
                <a:xfrm>
                  <a:off x="10911838" y="910199"/>
                  <a:ext cx="731520" cy="5686989"/>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372" name="Freeform: Shape 371">
                <a:extLst>
                  <a:ext uri="{FF2B5EF4-FFF2-40B4-BE49-F238E27FC236}">
                    <a16:creationId xmlns:a16="http://schemas.microsoft.com/office/drawing/2014/main" id="{BE1F475C-39D6-41D2-8394-979F1F674C74}"/>
                  </a:ext>
                </a:extLst>
              </p:cNvPr>
              <p:cNvSpPr/>
              <p:nvPr/>
            </p:nvSpPr>
            <p:spPr>
              <a:xfrm>
                <a:off x="-6977" y="0"/>
                <a:ext cx="16262974" cy="9144001"/>
              </a:xfrm>
              <a:custGeom>
                <a:avLst/>
                <a:gdLst>
                  <a:gd name="connsiteX0" fmla="*/ 873749 w 16262974"/>
                  <a:gd name="connsiteY0" fmla="*/ 8282620 h 9144001"/>
                  <a:gd name="connsiteX1" fmla="*/ 873749 w 16262974"/>
                  <a:gd name="connsiteY1" fmla="*/ 8629453 h 9144001"/>
                  <a:gd name="connsiteX2" fmla="*/ 15403174 w 16262974"/>
                  <a:gd name="connsiteY2" fmla="*/ 8629453 h 9144001"/>
                  <a:gd name="connsiteX3" fmla="*/ 15403174 w 16262974"/>
                  <a:gd name="connsiteY3" fmla="*/ 8282620 h 9144001"/>
                  <a:gd name="connsiteX4" fmla="*/ 873749 w 16262974"/>
                  <a:gd name="connsiteY4" fmla="*/ 7977467 h 9144001"/>
                  <a:gd name="connsiteX5" fmla="*/ 873749 w 16262974"/>
                  <a:gd name="connsiteY5" fmla="*/ 8175468 h 9144001"/>
                  <a:gd name="connsiteX6" fmla="*/ 15403174 w 16262974"/>
                  <a:gd name="connsiteY6" fmla="*/ 8175468 h 9144001"/>
                  <a:gd name="connsiteX7" fmla="*/ 15403174 w 16262974"/>
                  <a:gd name="connsiteY7" fmla="*/ 7977467 h 9144001"/>
                  <a:gd name="connsiteX8" fmla="*/ 873749 w 16262974"/>
                  <a:gd name="connsiteY8" fmla="*/ 2029442 h 9144001"/>
                  <a:gd name="connsiteX9" fmla="*/ 873749 w 16262974"/>
                  <a:gd name="connsiteY9" fmla="*/ 7812272 h 9144001"/>
                  <a:gd name="connsiteX10" fmla="*/ 15403174 w 16262974"/>
                  <a:gd name="connsiteY10" fmla="*/ 7812272 h 9144001"/>
                  <a:gd name="connsiteX11" fmla="*/ 15403174 w 16262974"/>
                  <a:gd name="connsiteY11" fmla="*/ 2029442 h 9144001"/>
                  <a:gd name="connsiteX12" fmla="*/ 873749 w 16262974"/>
                  <a:gd name="connsiteY12" fmla="*/ 873529 h 9144001"/>
                  <a:gd name="connsiteX13" fmla="*/ 873749 w 16262974"/>
                  <a:gd name="connsiteY13" fmla="*/ 1303127 h 9144001"/>
                  <a:gd name="connsiteX14" fmla="*/ 15403174 w 16262974"/>
                  <a:gd name="connsiteY14" fmla="*/ 1303127 h 9144001"/>
                  <a:gd name="connsiteX15" fmla="*/ 15403174 w 16262974"/>
                  <a:gd name="connsiteY15" fmla="*/ 873529 h 9144001"/>
                  <a:gd name="connsiteX16" fmla="*/ 0 w 16262974"/>
                  <a:gd name="connsiteY16" fmla="*/ 0 h 9144001"/>
                  <a:gd name="connsiteX17" fmla="*/ 4154 w 16262974"/>
                  <a:gd name="connsiteY17" fmla="*/ 0 h 9144001"/>
                  <a:gd name="connsiteX18" fmla="*/ 873749 w 16262974"/>
                  <a:gd name="connsiteY18" fmla="*/ 0 h 9144001"/>
                  <a:gd name="connsiteX19" fmla="*/ 16262974 w 16262974"/>
                  <a:gd name="connsiteY19" fmla="*/ 0 h 9144001"/>
                  <a:gd name="connsiteX20" fmla="*/ 16262974 w 16262974"/>
                  <a:gd name="connsiteY20" fmla="*/ 873529 h 9144001"/>
                  <a:gd name="connsiteX21" fmla="*/ 16262887 w 16262974"/>
                  <a:gd name="connsiteY21" fmla="*/ 873529 h 9144001"/>
                  <a:gd name="connsiteX22" fmla="*/ 16262887 w 16262974"/>
                  <a:gd name="connsiteY22" fmla="*/ 1303127 h 9144001"/>
                  <a:gd name="connsiteX23" fmla="*/ 16262887 w 16262974"/>
                  <a:gd name="connsiteY23" fmla="*/ 2029442 h 9144001"/>
                  <a:gd name="connsiteX24" fmla="*/ 16262887 w 16262974"/>
                  <a:gd name="connsiteY24" fmla="*/ 9142976 h 9144001"/>
                  <a:gd name="connsiteX25" fmla="*/ 16260855 w 16262974"/>
                  <a:gd name="connsiteY25" fmla="*/ 9142976 h 9144001"/>
                  <a:gd name="connsiteX26" fmla="*/ 16260855 w 16262974"/>
                  <a:gd name="connsiteY26" fmla="*/ 9144001 h 9144001"/>
                  <a:gd name="connsiteX27" fmla="*/ 2036 w 16262974"/>
                  <a:gd name="connsiteY27" fmla="*/ 9144001 h 9144001"/>
                  <a:gd name="connsiteX28" fmla="*/ 2036 w 16262974"/>
                  <a:gd name="connsiteY28" fmla="*/ 9142976 h 9144001"/>
                  <a:gd name="connsiteX29" fmla="*/ 0 w 16262974"/>
                  <a:gd name="connsiteY29" fmla="*/ 9142976 h 9144001"/>
                  <a:gd name="connsiteX30" fmla="*/ 0 w 16262974"/>
                  <a:gd name="connsiteY30" fmla="*/ 2029442 h 9144001"/>
                  <a:gd name="connsiteX31" fmla="*/ 0 w 16262974"/>
                  <a:gd name="connsiteY31" fmla="*/ 1303127 h 9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262974" h="9144001">
                    <a:moveTo>
                      <a:pt x="873749" y="8282620"/>
                    </a:moveTo>
                    <a:lnTo>
                      <a:pt x="873749" y="8629453"/>
                    </a:lnTo>
                    <a:lnTo>
                      <a:pt x="15403174" y="8629453"/>
                    </a:lnTo>
                    <a:lnTo>
                      <a:pt x="15403174" y="8282620"/>
                    </a:lnTo>
                    <a:close/>
                    <a:moveTo>
                      <a:pt x="873749" y="7977467"/>
                    </a:moveTo>
                    <a:lnTo>
                      <a:pt x="873749" y="8175468"/>
                    </a:lnTo>
                    <a:lnTo>
                      <a:pt x="15403174" y="8175468"/>
                    </a:lnTo>
                    <a:lnTo>
                      <a:pt x="15403174" y="7977467"/>
                    </a:lnTo>
                    <a:close/>
                    <a:moveTo>
                      <a:pt x="873749" y="2029442"/>
                    </a:moveTo>
                    <a:lnTo>
                      <a:pt x="873749" y="7812272"/>
                    </a:lnTo>
                    <a:lnTo>
                      <a:pt x="15403174" y="7812272"/>
                    </a:lnTo>
                    <a:lnTo>
                      <a:pt x="15403174" y="2029442"/>
                    </a:lnTo>
                    <a:close/>
                    <a:moveTo>
                      <a:pt x="873749" y="873529"/>
                    </a:moveTo>
                    <a:lnTo>
                      <a:pt x="873749" y="1303127"/>
                    </a:lnTo>
                    <a:lnTo>
                      <a:pt x="15403174" y="1303127"/>
                    </a:lnTo>
                    <a:lnTo>
                      <a:pt x="15403174" y="873529"/>
                    </a:lnTo>
                    <a:close/>
                    <a:moveTo>
                      <a:pt x="0" y="0"/>
                    </a:moveTo>
                    <a:lnTo>
                      <a:pt x="4154" y="0"/>
                    </a:lnTo>
                    <a:lnTo>
                      <a:pt x="873749" y="0"/>
                    </a:lnTo>
                    <a:lnTo>
                      <a:pt x="16262974" y="0"/>
                    </a:lnTo>
                    <a:lnTo>
                      <a:pt x="16262974" y="873529"/>
                    </a:lnTo>
                    <a:lnTo>
                      <a:pt x="16262887" y="873529"/>
                    </a:lnTo>
                    <a:lnTo>
                      <a:pt x="16262887" y="1303127"/>
                    </a:lnTo>
                    <a:lnTo>
                      <a:pt x="16262887" y="2029442"/>
                    </a:lnTo>
                    <a:lnTo>
                      <a:pt x="16262887" y="9142976"/>
                    </a:lnTo>
                    <a:lnTo>
                      <a:pt x="16260855" y="9142976"/>
                    </a:lnTo>
                    <a:lnTo>
                      <a:pt x="16260855" y="9144001"/>
                    </a:lnTo>
                    <a:lnTo>
                      <a:pt x="2036" y="9144001"/>
                    </a:lnTo>
                    <a:lnTo>
                      <a:pt x="2036" y="9142976"/>
                    </a:lnTo>
                    <a:lnTo>
                      <a:pt x="0" y="9142976"/>
                    </a:lnTo>
                    <a:lnTo>
                      <a:pt x="0" y="2029442"/>
                    </a:lnTo>
                    <a:lnTo>
                      <a:pt x="0" y="1303127"/>
                    </a:lnTo>
                    <a:close/>
                  </a:path>
                </a:pathLst>
              </a:cu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13"/>
              </a:p>
            </p:txBody>
          </p:sp>
          <p:cxnSp>
            <p:nvCxnSpPr>
              <p:cNvPr id="373" name="Straight Connector 372">
                <a:extLst>
                  <a:ext uri="{FF2B5EF4-FFF2-40B4-BE49-F238E27FC236}">
                    <a16:creationId xmlns:a16="http://schemas.microsoft.com/office/drawing/2014/main" id="{FEA1E562-C5D0-4A51-BBA7-18FBA5EDD06D}"/>
                  </a:ext>
                </a:extLst>
              </p:cNvPr>
              <p:cNvCxnSpPr/>
              <p:nvPr/>
            </p:nvCxnSpPr>
            <p:spPr>
              <a:xfrm flipH="1">
                <a:off x="852739" y="240386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0B2B38F-890F-4163-8187-A7B733720E5A}"/>
                  </a:ext>
                </a:extLst>
              </p:cNvPr>
              <p:cNvCxnSpPr/>
              <p:nvPr/>
            </p:nvCxnSpPr>
            <p:spPr>
              <a:xfrm flipH="1">
                <a:off x="852739" y="276959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07E41F-1906-4367-9DF7-80695246E3BD}"/>
                  </a:ext>
                </a:extLst>
              </p:cNvPr>
              <p:cNvCxnSpPr/>
              <p:nvPr/>
            </p:nvCxnSpPr>
            <p:spPr>
              <a:xfrm flipH="1">
                <a:off x="852739" y="313531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15329FE-F984-487C-9DD1-4437558AFBCE}"/>
                  </a:ext>
                </a:extLst>
              </p:cNvPr>
              <p:cNvCxnSpPr/>
              <p:nvPr/>
            </p:nvCxnSpPr>
            <p:spPr>
              <a:xfrm flipH="1">
                <a:off x="852739" y="350103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874D95F7-0ED5-43F1-977F-CD2965366D3B}"/>
                  </a:ext>
                </a:extLst>
              </p:cNvPr>
              <p:cNvCxnSpPr/>
              <p:nvPr/>
            </p:nvCxnSpPr>
            <p:spPr>
              <a:xfrm flipH="1">
                <a:off x="852739" y="3866759"/>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8B36F74A-71D9-43A9-83A1-96251A2B66E6}"/>
                  </a:ext>
                </a:extLst>
              </p:cNvPr>
              <p:cNvCxnSpPr/>
              <p:nvPr/>
            </p:nvCxnSpPr>
            <p:spPr>
              <a:xfrm flipH="1">
                <a:off x="852739" y="4232482"/>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54EE8CE-1555-4332-B731-22E6817F7CAF}"/>
                  </a:ext>
                </a:extLst>
              </p:cNvPr>
              <p:cNvCxnSpPr/>
              <p:nvPr/>
            </p:nvCxnSpPr>
            <p:spPr>
              <a:xfrm flipH="1">
                <a:off x="852739" y="4598205"/>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53563E-CC65-4935-BF1A-F66423DA1E5B}"/>
                  </a:ext>
                </a:extLst>
              </p:cNvPr>
              <p:cNvCxnSpPr/>
              <p:nvPr/>
            </p:nvCxnSpPr>
            <p:spPr>
              <a:xfrm flipH="1">
                <a:off x="852739" y="4963928"/>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DD97AD5-8B38-4F46-98BA-DAD1426DE01D}"/>
                  </a:ext>
                </a:extLst>
              </p:cNvPr>
              <p:cNvCxnSpPr/>
              <p:nvPr/>
            </p:nvCxnSpPr>
            <p:spPr>
              <a:xfrm flipH="1">
                <a:off x="852739" y="5329651"/>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05366224-C365-4589-A5AA-BE9FC038C066}"/>
                  </a:ext>
                </a:extLst>
              </p:cNvPr>
              <p:cNvCxnSpPr/>
              <p:nvPr/>
            </p:nvCxnSpPr>
            <p:spPr>
              <a:xfrm flipH="1">
                <a:off x="852739" y="5695374"/>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468F73AF-FA4C-47BF-8F12-9BF3E8F7ED73}"/>
                  </a:ext>
                </a:extLst>
              </p:cNvPr>
              <p:cNvCxnSpPr/>
              <p:nvPr/>
            </p:nvCxnSpPr>
            <p:spPr>
              <a:xfrm flipH="1">
                <a:off x="852739" y="6061097"/>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E3EAFD19-9642-4D10-BF1D-1B015E2ABF79}"/>
                  </a:ext>
                </a:extLst>
              </p:cNvPr>
              <p:cNvCxnSpPr/>
              <p:nvPr/>
            </p:nvCxnSpPr>
            <p:spPr>
              <a:xfrm flipH="1">
                <a:off x="852739" y="6426820"/>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3BA232E8-9057-47FB-B30C-5072A11273E5}"/>
                  </a:ext>
                </a:extLst>
              </p:cNvPr>
              <p:cNvCxnSpPr/>
              <p:nvPr/>
            </p:nvCxnSpPr>
            <p:spPr>
              <a:xfrm flipH="1">
                <a:off x="852739" y="6792543"/>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EA84214-E43C-4F53-9557-CA9471D4763B}"/>
                  </a:ext>
                </a:extLst>
              </p:cNvPr>
              <p:cNvCxnSpPr/>
              <p:nvPr/>
            </p:nvCxnSpPr>
            <p:spPr>
              <a:xfrm flipH="1">
                <a:off x="852739" y="7158266"/>
                <a:ext cx="14538470" cy="0"/>
              </a:xfrm>
              <a:prstGeom prst="line">
                <a:avLst/>
              </a:prstGeom>
              <a:ln w="6350">
                <a:solidFill>
                  <a:srgbClr val="C00000">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522C9B5D-1F37-402A-B9DB-CF41787CB6EB}"/>
                  </a:ext>
                </a:extLst>
              </p:cNvPr>
              <p:cNvCxnSpPr/>
              <p:nvPr/>
            </p:nvCxnSpPr>
            <p:spPr>
              <a:xfrm flipH="1">
                <a:off x="852739" y="7520914"/>
                <a:ext cx="1453847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7DFFB087-955D-450D-AC13-0D338C9361C9}"/>
                  </a:ext>
                </a:extLst>
              </p:cNvPr>
              <p:cNvSpPr/>
              <p:nvPr/>
            </p:nvSpPr>
            <p:spPr>
              <a:xfrm>
                <a:off x="7503138" y="2046847"/>
                <a:ext cx="1256803" cy="5768233"/>
              </a:xfrm>
              <a:prstGeom prst="rect">
                <a:avLst/>
              </a:prstGeom>
              <a:solidFill>
                <a:schemeClr val="bg1">
                  <a:alpha val="21000"/>
                </a:schemeClr>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spTree>
    <p:extLst>
      <p:ext uri="{BB962C8B-B14F-4D97-AF65-F5344CB8AC3E}">
        <p14:creationId xmlns:p14="http://schemas.microsoft.com/office/powerpoint/2010/main" val="2243481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C0000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EC14D5-E8AB-4C0B-8933-1DF12FE9D3E1}"/>
              </a:ext>
            </a:extLst>
          </p:cNvPr>
          <p:cNvSpPr txBox="1"/>
          <p:nvPr userDrawn="1"/>
        </p:nvSpPr>
        <p:spPr>
          <a:xfrm>
            <a:off x="773350" y="1409216"/>
            <a:ext cx="8893512" cy="4062651"/>
          </a:xfrm>
          <a:prstGeom prst="rect">
            <a:avLst/>
          </a:prstGeom>
          <a:noFill/>
        </p:spPr>
        <p:txBody>
          <a:bodyPr wrap="square" rtlCol="0">
            <a:spAutoFit/>
          </a:bodyPr>
          <a:lstStyle/>
          <a:p>
            <a:pPr algn="l"/>
            <a:r>
              <a:rPr lang="en-US" sz="3000" b="0">
                <a:solidFill>
                  <a:schemeClr val="tx1"/>
                </a:solidFill>
              </a:rPr>
              <a:t>END OF TEMPLATE</a:t>
            </a:r>
          </a:p>
          <a:p>
            <a:pPr algn="l"/>
            <a:endParaRPr lang="en-US" sz="3000" b="0">
              <a:solidFill>
                <a:schemeClr val="tx1"/>
              </a:solidFill>
            </a:endParaRPr>
          </a:p>
          <a:p>
            <a:pPr algn="l"/>
            <a:r>
              <a:rPr lang="en-US" sz="6600" b="1">
                <a:solidFill>
                  <a:schemeClr val="tx1"/>
                </a:solidFill>
              </a:rPr>
              <a:t>Do not use any master slide that exists after this one</a:t>
            </a:r>
          </a:p>
        </p:txBody>
      </p:sp>
    </p:spTree>
    <p:extLst>
      <p:ext uri="{BB962C8B-B14F-4D97-AF65-F5344CB8AC3E}">
        <p14:creationId xmlns:p14="http://schemas.microsoft.com/office/powerpoint/2010/main" val="3273403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Org Chart with Headline">
    <p:spTree>
      <p:nvGrpSpPr>
        <p:cNvPr id="1" name=""/>
        <p:cNvGrpSpPr/>
        <p:nvPr/>
      </p:nvGrpSpPr>
      <p:grpSpPr>
        <a:xfrm>
          <a:off x="0" y="0"/>
          <a:ext cx="0" cy="0"/>
          <a:chOff x="0" y="0"/>
          <a:chExt cx="0" cy="0"/>
        </a:xfrm>
      </p:grpSpPr>
      <p:sp>
        <p:nvSpPr>
          <p:cNvPr id="6" name="Title 10"/>
          <p:cNvSpPr>
            <a:spLocks noGrp="1"/>
          </p:cNvSpPr>
          <p:nvPr>
            <p:ph type="title" hasCustomPrompt="1"/>
          </p:nvPr>
        </p:nvSpPr>
        <p:spPr>
          <a:xfrm>
            <a:off x="493776" y="446147"/>
            <a:ext cx="11205972" cy="1053044"/>
          </a:xfrm>
          <a:prstGeom prst="rect">
            <a:avLst/>
          </a:prstGeom>
        </p:spPr>
        <p:txBody>
          <a:bodyPr vert="horz" anchor="t">
            <a:noAutofit/>
          </a:bodyPr>
          <a:lstStyle>
            <a:lvl1pPr algn="l">
              <a:defRPr sz="3600" b="1">
                <a:solidFill>
                  <a:schemeClr val="tx1"/>
                </a:solidFill>
                <a:latin typeface="+mj-lt"/>
              </a:defRPr>
            </a:lvl1pPr>
          </a:lstStyle>
          <a:p>
            <a:r>
              <a:rPr lang="en-US"/>
              <a:t>Click to add concise headlin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70698" y="6230322"/>
            <a:ext cx="627463" cy="252058"/>
          </a:xfrm>
          <a:prstGeom prst="rect">
            <a:avLst/>
          </a:prstGeom>
        </p:spPr>
      </p:pic>
      <p:sp>
        <p:nvSpPr>
          <p:cNvPr id="10" name="SmartArt Placeholder 9">
            <a:extLst>
              <a:ext uri="{FF2B5EF4-FFF2-40B4-BE49-F238E27FC236}">
                <a16:creationId xmlns:a16="http://schemas.microsoft.com/office/drawing/2014/main" id="{A29D8A31-E9F4-C143-A782-5B192F394C8E}"/>
              </a:ext>
            </a:extLst>
          </p:cNvPr>
          <p:cNvSpPr>
            <a:spLocks noGrp="1"/>
          </p:cNvSpPr>
          <p:nvPr>
            <p:ph type="dgm" sz="quarter" idx="10" hasCustomPrompt="1"/>
          </p:nvPr>
        </p:nvSpPr>
        <p:spPr>
          <a:xfrm>
            <a:off x="493776" y="1714500"/>
            <a:ext cx="11205972" cy="4203954"/>
          </a:xfrm>
          <a:prstGeom prst="rect">
            <a:avLst/>
          </a:prstGeom>
        </p:spPr>
        <p:txBody>
          <a:bodyPr/>
          <a:lstStyle>
            <a:lvl1pPr marL="0" indent="0">
              <a:buNone/>
              <a:defRPr sz="1350"/>
            </a:lvl1pPr>
          </a:lstStyle>
          <a:p>
            <a:r>
              <a:rPr lang="en-US"/>
              <a:t>Click to insert smart graphic</a:t>
            </a:r>
          </a:p>
        </p:txBody>
      </p:sp>
    </p:spTree>
    <p:extLst>
      <p:ext uri="{BB962C8B-B14F-4D97-AF65-F5344CB8AC3E}">
        <p14:creationId xmlns:p14="http://schemas.microsoft.com/office/powerpoint/2010/main" val="2750629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606C5D28-9584-47C7-A3F7-6D88B6719B58}"/>
              </a:ext>
            </a:extLst>
          </p:cNvPr>
          <p:cNvSpPr/>
          <p:nvPr/>
        </p:nvSpPr>
        <p:spPr bwMode="white">
          <a:xfrm>
            <a:off x="1" y="738851"/>
            <a:ext cx="5063426" cy="4985538"/>
          </a:xfrm>
          <a:prstGeom prst="rect">
            <a:avLst/>
          </a:prstGeom>
          <a:gradFill flip="none" rotWithShape="1">
            <a:gsLst>
              <a:gs pos="49600">
                <a:srgbClr val="0099DD">
                  <a:lumMod val="75000"/>
                  <a:alpha val="95000"/>
                </a:srgbClr>
              </a:gs>
              <a:gs pos="0">
                <a:srgbClr val="005386"/>
              </a:gs>
              <a:gs pos="100000">
                <a:srgbClr val="0099DD">
                  <a:alpha val="75000"/>
                </a:srgbClr>
              </a:gs>
            </a:gsLst>
            <a:lin ang="270000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marR="0" lvl="0" indent="0" algn="ctr" defTabSz="685783"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FFFFFF"/>
              </a:solidFill>
              <a:effectLst/>
              <a:uLnTx/>
              <a:uFillTx/>
              <a:latin typeface="Century Gothic" panose="020F0302020204030204"/>
            </a:endParaRPr>
          </a:p>
        </p:txBody>
      </p:sp>
      <p:pic>
        <p:nvPicPr>
          <p:cNvPr id="77" name="Graphic 76">
            <a:extLst>
              <a:ext uri="{FF2B5EF4-FFF2-40B4-BE49-F238E27FC236}">
                <a16:creationId xmlns:a16="http://schemas.microsoft.com/office/drawing/2014/main" id="{51505317-2F30-4C70-8040-FD04BFC21E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37708" y="1133612"/>
            <a:ext cx="982969" cy="397803"/>
          </a:xfrm>
          <a:prstGeom prst="rect">
            <a:avLst/>
          </a:prstGeom>
        </p:spPr>
      </p:pic>
      <p:sp>
        <p:nvSpPr>
          <p:cNvPr id="6" name="Title 5">
            <a:extLst>
              <a:ext uri="{FF2B5EF4-FFF2-40B4-BE49-F238E27FC236}">
                <a16:creationId xmlns:a16="http://schemas.microsoft.com/office/drawing/2014/main" id="{24AE0150-47F6-4CAD-883B-C499ECD12948}"/>
              </a:ext>
            </a:extLst>
          </p:cNvPr>
          <p:cNvSpPr>
            <a:spLocks noGrp="1"/>
          </p:cNvSpPr>
          <p:nvPr>
            <p:ph type="title" hasCustomPrompt="1"/>
          </p:nvPr>
        </p:nvSpPr>
        <p:spPr bwMode="black">
          <a:xfrm>
            <a:off x="617221" y="1799181"/>
            <a:ext cx="4045796" cy="2294186"/>
          </a:xfrm>
        </p:spPr>
        <p:txBody>
          <a:bodyPr>
            <a:normAutofit/>
          </a:bodyPr>
          <a:lstStyle>
            <a:lvl1pPr>
              <a:defRPr sz="4500">
                <a:solidFill>
                  <a:schemeClr val="tx1"/>
                </a:solidFill>
              </a:defRPr>
            </a:lvl1pPr>
          </a:lstStyle>
          <a:p>
            <a:r>
              <a:rPr lang="en-US" dirty="0"/>
              <a:t>Click to edit title</a:t>
            </a:r>
          </a:p>
        </p:txBody>
      </p:sp>
      <p:sp>
        <p:nvSpPr>
          <p:cNvPr id="198" name="Subtitle 2">
            <a:extLst>
              <a:ext uri="{FF2B5EF4-FFF2-40B4-BE49-F238E27FC236}">
                <a16:creationId xmlns:a16="http://schemas.microsoft.com/office/drawing/2014/main" id="{6ABB1A0B-2F4F-457F-AE71-58E58E664496}"/>
              </a:ext>
            </a:extLst>
          </p:cNvPr>
          <p:cNvSpPr>
            <a:spLocks noGrp="1"/>
          </p:cNvSpPr>
          <p:nvPr>
            <p:ph type="subTitle" idx="1" hasCustomPrompt="1"/>
          </p:nvPr>
        </p:nvSpPr>
        <p:spPr bwMode="black">
          <a:xfrm>
            <a:off x="617221" y="4636295"/>
            <a:ext cx="4056257" cy="744265"/>
          </a:xfrm>
          <a:prstGeom prst="rect">
            <a:avLst/>
          </a:prstGeom>
        </p:spPr>
        <p:txBody>
          <a:bodyPr>
            <a:normAutofit/>
          </a:bodyPr>
          <a:lstStyle>
            <a:lvl1pPr marL="0" indent="0" algn="l">
              <a:buNone/>
              <a:defRPr sz="150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insert name of author and/or date</a:t>
            </a:r>
          </a:p>
        </p:txBody>
      </p:sp>
      <p:pic>
        <p:nvPicPr>
          <p:cNvPr id="9" name="Graphic 8">
            <a:extLst>
              <a:ext uri="{FF2B5EF4-FFF2-40B4-BE49-F238E27FC236}">
                <a16:creationId xmlns:a16="http://schemas.microsoft.com/office/drawing/2014/main" id="{50D1ACF8-2DE3-4B88-B446-2E8E4C6A151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628684" y="1133612"/>
            <a:ext cx="982969" cy="397803"/>
          </a:xfrm>
          <a:prstGeom prst="rect">
            <a:avLst/>
          </a:prstGeom>
        </p:spPr>
      </p:pic>
      <p:sp>
        <p:nvSpPr>
          <p:cNvPr id="7" name="Footer Placeholder 3">
            <a:extLst>
              <a:ext uri="{FF2B5EF4-FFF2-40B4-BE49-F238E27FC236}">
                <a16:creationId xmlns:a16="http://schemas.microsoft.com/office/drawing/2014/main" id="{45A495F0-4403-451C-849F-65F907660A58}"/>
              </a:ext>
            </a:extLst>
          </p:cNvPr>
          <p:cNvSpPr>
            <a:spLocks noGrp="1"/>
          </p:cNvSpPr>
          <p:nvPr>
            <p:ph type="ftr" sz="quarter" idx="11"/>
          </p:nvPr>
        </p:nvSpPr>
        <p:spPr>
          <a:xfrm>
            <a:off x="617220" y="6356747"/>
            <a:ext cx="4114800" cy="342900"/>
          </a:xfrm>
          <a:prstGeom prst="rect">
            <a:avLst/>
          </a:prstGeom>
        </p:spPr>
        <p:txBody>
          <a:bodyPr anchor="ctr"/>
          <a:lstStyle>
            <a:lvl1pPr>
              <a:defRPr sz="900"/>
            </a:lvl1pPr>
          </a:lstStyle>
          <a:p>
            <a:r>
              <a:rPr lang="en-US" b="1" dirty="0"/>
              <a:t>© </a:t>
            </a:r>
            <a:fld id="{64BD6F2E-1C45-4867-9685-5DB1A5BB75C2}" type="datetimeyyyy">
              <a:rPr lang="en-US" b="1" smtClean="0"/>
              <a:pPr/>
              <a:t>2024</a:t>
            </a:fld>
            <a:r>
              <a:rPr lang="en-US" b="1" dirty="0"/>
              <a:t> Flex – Confidential</a:t>
            </a:r>
          </a:p>
        </p:txBody>
      </p:sp>
    </p:spTree>
    <p:extLst>
      <p:ext uri="{BB962C8B-B14F-4D97-AF65-F5344CB8AC3E}">
        <p14:creationId xmlns:p14="http://schemas.microsoft.com/office/powerpoint/2010/main" val="1084626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_Burs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userDrawn="1"/>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84969509-E458-442E-8AC9-5A2FE8146CA1}"/>
              </a:ext>
            </a:extLst>
          </p:cNvPr>
          <p:cNvPicPr>
            <a:picLocks noChangeAspect="1"/>
          </p:cNvPicPr>
          <p:nvPr userDrawn="1"/>
        </p:nvPicPr>
        <p:blipFill>
          <a:blip r:embed="rId2"/>
          <a:stretch>
            <a:fillRect/>
          </a:stretch>
        </p:blipFill>
        <p:spPr>
          <a:xfrm flipH="1">
            <a:off x="8227220" y="0"/>
            <a:ext cx="3964781" cy="6858000"/>
          </a:xfrm>
          <a:prstGeom prst="rect">
            <a:avLst/>
          </a:prstGeom>
        </p:spPr>
      </p:pic>
      <p:pic>
        <p:nvPicPr>
          <p:cNvPr id="12" name="Picture 11" descr="Icon&#10;&#10;Description automatically generated with low confidence">
            <a:extLst>
              <a:ext uri="{FF2B5EF4-FFF2-40B4-BE49-F238E27FC236}">
                <a16:creationId xmlns:a16="http://schemas.microsoft.com/office/drawing/2014/main" id="{C74EED94-9ED7-354B-98EC-0C267E524D5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585" t="12373" r="5847" b="10967"/>
          <a:stretch/>
        </p:blipFill>
        <p:spPr>
          <a:xfrm>
            <a:off x="10887421" y="6199744"/>
            <a:ext cx="694981" cy="313981"/>
          </a:xfrm>
          <a:prstGeom prst="rect">
            <a:avLst/>
          </a:prstGeom>
        </p:spPr>
      </p:pic>
      <p:sp>
        <p:nvSpPr>
          <p:cNvPr id="3" name="Content Placeholder 2">
            <a:extLst>
              <a:ext uri="{FF2B5EF4-FFF2-40B4-BE49-F238E27FC236}">
                <a16:creationId xmlns:a16="http://schemas.microsoft.com/office/drawing/2014/main" id="{75C7AB17-C08D-45E5-A60F-FB1FE75B20F5}"/>
              </a:ext>
            </a:extLst>
          </p:cNvPr>
          <p:cNvSpPr>
            <a:spLocks noGrp="1"/>
          </p:cNvSpPr>
          <p:nvPr>
            <p:ph sz="quarter" idx="10" hasCustomPrompt="1"/>
          </p:nvPr>
        </p:nvSpPr>
        <p:spPr>
          <a:xfrm>
            <a:off x="617220" y="1543050"/>
            <a:ext cx="10972800" cy="4457700"/>
          </a:xfrm>
          <a:prstGeom prst="rect">
            <a:avLst/>
          </a:prstGeom>
        </p:spPr>
        <p:txBody>
          <a:bodyPr/>
          <a:lstStyle>
            <a:lvl1pPr>
              <a:defRPr sz="2100" b="0"/>
            </a:lvl1pPr>
          </a:lstStyle>
          <a:p>
            <a:pPr lvl="0"/>
            <a:r>
              <a:rPr lang="en-US" dirty="0"/>
              <a:t>1 | Agenda item one</a:t>
            </a:r>
          </a:p>
          <a:p>
            <a:pPr lvl="0"/>
            <a:r>
              <a:rPr lang="en-US" dirty="0"/>
              <a:t>2 | Agenda item two</a:t>
            </a:r>
          </a:p>
          <a:p>
            <a:pPr lvl="0"/>
            <a:r>
              <a:rPr lang="en-US" dirty="0"/>
              <a:t>3 | Agenda item three</a:t>
            </a:r>
          </a:p>
          <a:p>
            <a:pPr lvl="0"/>
            <a:r>
              <a:rPr lang="en-US" dirty="0"/>
              <a:t>4 | Agenda item four</a:t>
            </a:r>
          </a:p>
          <a:p>
            <a:pPr lvl="0"/>
            <a:r>
              <a:rPr lang="en-US" dirty="0"/>
              <a:t>5 | Agenda item five</a:t>
            </a:r>
          </a:p>
        </p:txBody>
      </p:sp>
      <p:sp>
        <p:nvSpPr>
          <p:cNvPr id="5" name="Title 2">
            <a:extLst>
              <a:ext uri="{FF2B5EF4-FFF2-40B4-BE49-F238E27FC236}">
                <a16:creationId xmlns:a16="http://schemas.microsoft.com/office/drawing/2014/main" id="{D71BA488-F257-46E4-89C3-D14622ECD5CF}"/>
              </a:ext>
            </a:extLst>
          </p:cNvPr>
          <p:cNvSpPr>
            <a:spLocks noGrp="1"/>
          </p:cNvSpPr>
          <p:nvPr>
            <p:ph type="title" hasCustomPrompt="1"/>
          </p:nvPr>
        </p:nvSpPr>
        <p:spPr>
          <a:xfrm>
            <a:off x="617220" y="219456"/>
            <a:ext cx="10972800" cy="905256"/>
          </a:xfrm>
        </p:spPr>
        <p:txBody>
          <a:bodyPr anchor="b"/>
          <a:lstStyle>
            <a:lvl1pPr>
              <a:defRPr/>
            </a:lvl1pPr>
          </a:lstStyle>
          <a:p>
            <a:r>
              <a:rPr lang="en-US" dirty="0"/>
              <a:t>Click to edit your title</a:t>
            </a:r>
          </a:p>
        </p:txBody>
      </p:sp>
      <p:sp>
        <p:nvSpPr>
          <p:cNvPr id="4" name="Footer Placeholder 3">
            <a:extLst>
              <a:ext uri="{FF2B5EF4-FFF2-40B4-BE49-F238E27FC236}">
                <a16:creationId xmlns:a16="http://schemas.microsoft.com/office/drawing/2014/main" id="{BC18EC7B-C541-824B-AC48-786836809AE4}"/>
              </a:ext>
            </a:extLst>
          </p:cNvPr>
          <p:cNvSpPr>
            <a:spLocks noGrp="1"/>
          </p:cNvSpPr>
          <p:nvPr>
            <p:ph type="ftr" sz="quarter" idx="11"/>
          </p:nvPr>
        </p:nvSpPr>
        <p:spPr>
          <a:xfrm>
            <a:off x="1127760" y="6356747"/>
            <a:ext cx="4114800" cy="342900"/>
          </a:xfrm>
          <a:prstGeom prst="rect">
            <a:avLst/>
          </a:prstGeom>
        </p:spPr>
        <p:txBody>
          <a:bodyPr anchor="ctr"/>
          <a:lstStyle>
            <a:lvl1pPr>
              <a:defRPr sz="900"/>
            </a:lvl1pPr>
          </a:lstStyle>
          <a:p>
            <a:r>
              <a:rPr lang="en-US" b="1" dirty="0"/>
              <a:t>© </a:t>
            </a:r>
            <a:fld id="{328BEB6C-0C1F-4073-8D16-59A47A8936F4}" type="datetimeyyyy">
              <a:rPr lang="en-US" b="1" smtClean="0"/>
              <a:pPr/>
              <a:t>2024</a:t>
            </a:fld>
            <a:r>
              <a:rPr lang="en-US" b="1" dirty="0"/>
              <a:t> Flex – Confidential</a:t>
            </a:r>
          </a:p>
        </p:txBody>
      </p:sp>
      <p:sp>
        <p:nvSpPr>
          <p:cNvPr id="6" name="Slide Number Placeholder 5">
            <a:extLst>
              <a:ext uri="{FF2B5EF4-FFF2-40B4-BE49-F238E27FC236}">
                <a16:creationId xmlns:a16="http://schemas.microsoft.com/office/drawing/2014/main" id="{0F8D8E0D-B85B-474D-A6AC-D5717256AD5C}"/>
              </a:ext>
            </a:extLst>
          </p:cNvPr>
          <p:cNvSpPr>
            <a:spLocks noGrp="1"/>
          </p:cNvSpPr>
          <p:nvPr>
            <p:ph type="sldNum" sz="quarter" idx="12"/>
          </p:nvPr>
        </p:nvSpPr>
        <p:spPr>
          <a:xfrm>
            <a:off x="617220" y="6356747"/>
            <a:ext cx="508374" cy="342900"/>
          </a:xfrm>
          <a:prstGeom prst="rect">
            <a:avLst/>
          </a:prstGeom>
        </p:spPr>
        <p:txBody>
          <a:bodyPr anchor="ctr"/>
          <a:lstStyle>
            <a:lvl1pPr>
              <a:defRPr sz="900"/>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1284846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_Circ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56285-C576-9644-9658-CDC004412F87}"/>
              </a:ext>
            </a:extLst>
          </p:cNvPr>
          <p:cNvSpPr/>
          <p:nvPr/>
        </p:nvSpPr>
        <p:spPr bwMode="hidden">
          <a:xfrm>
            <a:off x="0" y="0"/>
            <a:ext cx="12192000" cy="6858000"/>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a:p>
        </p:txBody>
      </p:sp>
      <p:pic>
        <p:nvPicPr>
          <p:cNvPr id="8" name="Picture 7">
            <a:extLst>
              <a:ext uri="{FF2B5EF4-FFF2-40B4-BE49-F238E27FC236}">
                <a16:creationId xmlns:a16="http://schemas.microsoft.com/office/drawing/2014/main" id="{DB25010C-079F-490A-8CA5-039834DECFF8}"/>
              </a:ext>
            </a:extLst>
          </p:cNvPr>
          <p:cNvPicPr>
            <a:picLocks noChangeAspect="1"/>
          </p:cNvPicPr>
          <p:nvPr userDrawn="1"/>
        </p:nvPicPr>
        <p:blipFill>
          <a:blip r:embed="rId2"/>
          <a:stretch>
            <a:fillRect/>
          </a:stretch>
        </p:blipFill>
        <p:spPr>
          <a:xfrm flipH="1">
            <a:off x="7998620" y="0"/>
            <a:ext cx="4193381" cy="6858000"/>
          </a:xfrm>
          <a:prstGeom prst="rect">
            <a:avLst/>
          </a:prstGeom>
        </p:spPr>
      </p:pic>
      <p:sp>
        <p:nvSpPr>
          <p:cNvPr id="6" name="Title 2">
            <a:extLst>
              <a:ext uri="{FF2B5EF4-FFF2-40B4-BE49-F238E27FC236}">
                <a16:creationId xmlns:a16="http://schemas.microsoft.com/office/drawing/2014/main" id="{34BB8DDF-464E-4EC7-AC9B-35DE76556752}"/>
              </a:ext>
            </a:extLst>
          </p:cNvPr>
          <p:cNvSpPr>
            <a:spLocks noGrp="1"/>
          </p:cNvSpPr>
          <p:nvPr>
            <p:ph type="title" hasCustomPrompt="1"/>
          </p:nvPr>
        </p:nvSpPr>
        <p:spPr>
          <a:xfrm>
            <a:off x="617220" y="219456"/>
            <a:ext cx="10972800" cy="905256"/>
          </a:xfrm>
        </p:spPr>
        <p:txBody>
          <a:bodyPr anchor="b"/>
          <a:lstStyle>
            <a:lvl1pPr>
              <a:defRPr/>
            </a:lvl1pPr>
          </a:lstStyle>
          <a:p>
            <a:r>
              <a:rPr lang="en-US" dirty="0"/>
              <a:t>Click to edit your title</a:t>
            </a:r>
          </a:p>
        </p:txBody>
      </p:sp>
      <p:sp>
        <p:nvSpPr>
          <p:cNvPr id="9" name="Content Placeholder 2">
            <a:extLst>
              <a:ext uri="{FF2B5EF4-FFF2-40B4-BE49-F238E27FC236}">
                <a16:creationId xmlns:a16="http://schemas.microsoft.com/office/drawing/2014/main" id="{B0D8537C-065E-44A2-B27E-EF4513F73DF2}"/>
              </a:ext>
            </a:extLst>
          </p:cNvPr>
          <p:cNvSpPr>
            <a:spLocks noGrp="1"/>
          </p:cNvSpPr>
          <p:nvPr>
            <p:ph sz="quarter" idx="10" hasCustomPrompt="1"/>
          </p:nvPr>
        </p:nvSpPr>
        <p:spPr>
          <a:xfrm>
            <a:off x="617220" y="1543050"/>
            <a:ext cx="10972800" cy="4457700"/>
          </a:xfrm>
          <a:prstGeom prst="rect">
            <a:avLst/>
          </a:prstGeom>
        </p:spPr>
        <p:txBody>
          <a:bodyPr/>
          <a:lstStyle>
            <a:lvl1pPr>
              <a:defRPr sz="2100" b="0"/>
            </a:lvl1pPr>
          </a:lstStyle>
          <a:p>
            <a:pPr lvl="0"/>
            <a:r>
              <a:rPr lang="en-US" dirty="0"/>
              <a:t>1 | Agenda item one</a:t>
            </a:r>
          </a:p>
          <a:p>
            <a:pPr lvl="0"/>
            <a:r>
              <a:rPr lang="en-US" dirty="0"/>
              <a:t>2 | Agenda item two</a:t>
            </a:r>
          </a:p>
          <a:p>
            <a:pPr lvl="0"/>
            <a:r>
              <a:rPr lang="en-US" dirty="0"/>
              <a:t>3 | Agenda item three</a:t>
            </a:r>
          </a:p>
          <a:p>
            <a:pPr lvl="0"/>
            <a:r>
              <a:rPr lang="en-US" dirty="0"/>
              <a:t>4 | Agenda item four</a:t>
            </a:r>
          </a:p>
          <a:p>
            <a:pPr lvl="0"/>
            <a:r>
              <a:rPr lang="en-US" dirty="0"/>
              <a:t>5 | Agenda item five</a:t>
            </a:r>
          </a:p>
        </p:txBody>
      </p:sp>
      <p:pic>
        <p:nvPicPr>
          <p:cNvPr id="10" name="Picture 9" descr="Icon&#10;&#10;Description automatically generated with low confidence">
            <a:extLst>
              <a:ext uri="{FF2B5EF4-FFF2-40B4-BE49-F238E27FC236}">
                <a16:creationId xmlns:a16="http://schemas.microsoft.com/office/drawing/2014/main" id="{17D53BF6-78B2-40ED-B5B9-1621A6568B9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8585" t="12373" r="5847" b="10967"/>
          <a:stretch/>
        </p:blipFill>
        <p:spPr>
          <a:xfrm>
            <a:off x="10887421" y="6199744"/>
            <a:ext cx="694981" cy="313981"/>
          </a:xfrm>
          <a:prstGeom prst="rect">
            <a:avLst/>
          </a:prstGeom>
        </p:spPr>
      </p:pic>
      <p:sp>
        <p:nvSpPr>
          <p:cNvPr id="11" name="Footer Placeholder 3">
            <a:extLst>
              <a:ext uri="{FF2B5EF4-FFF2-40B4-BE49-F238E27FC236}">
                <a16:creationId xmlns:a16="http://schemas.microsoft.com/office/drawing/2014/main" id="{674726CE-5CDE-4EF8-BF53-7B05575B83DB}"/>
              </a:ext>
            </a:extLst>
          </p:cNvPr>
          <p:cNvSpPr>
            <a:spLocks noGrp="1"/>
          </p:cNvSpPr>
          <p:nvPr>
            <p:ph type="ftr" sz="quarter" idx="11"/>
          </p:nvPr>
        </p:nvSpPr>
        <p:spPr>
          <a:xfrm>
            <a:off x="1127760" y="6356747"/>
            <a:ext cx="4114800" cy="342900"/>
          </a:xfrm>
          <a:prstGeom prst="rect">
            <a:avLst/>
          </a:prstGeom>
        </p:spPr>
        <p:txBody>
          <a:bodyPr anchor="ctr"/>
          <a:lstStyle>
            <a:lvl1pPr>
              <a:defRPr sz="900"/>
            </a:lvl1pPr>
          </a:lstStyle>
          <a:p>
            <a:r>
              <a:rPr lang="en-US" b="1" dirty="0"/>
              <a:t>© </a:t>
            </a:r>
            <a:fld id="{328BEB6C-0C1F-4073-8D16-59A47A8936F4}" type="datetimeyyyy">
              <a:rPr lang="en-US" b="1" smtClean="0"/>
              <a:pPr/>
              <a:t>2024</a:t>
            </a:fld>
            <a:r>
              <a:rPr lang="en-US" b="1" dirty="0"/>
              <a:t> Flex – Confidential</a:t>
            </a:r>
          </a:p>
        </p:txBody>
      </p:sp>
      <p:sp>
        <p:nvSpPr>
          <p:cNvPr id="12" name="Slide Number Placeholder 5">
            <a:extLst>
              <a:ext uri="{FF2B5EF4-FFF2-40B4-BE49-F238E27FC236}">
                <a16:creationId xmlns:a16="http://schemas.microsoft.com/office/drawing/2014/main" id="{C14657A3-9516-4255-8CC0-34CD4C2EA47B}"/>
              </a:ext>
            </a:extLst>
          </p:cNvPr>
          <p:cNvSpPr>
            <a:spLocks noGrp="1"/>
          </p:cNvSpPr>
          <p:nvPr>
            <p:ph type="sldNum" sz="quarter" idx="12"/>
          </p:nvPr>
        </p:nvSpPr>
        <p:spPr>
          <a:xfrm>
            <a:off x="617220" y="6356747"/>
            <a:ext cx="508374" cy="342900"/>
          </a:xfrm>
          <a:prstGeom prst="rect">
            <a:avLst/>
          </a:prstGeom>
        </p:spPr>
        <p:txBody>
          <a:bodyPr anchor="ctr"/>
          <a:lstStyle>
            <a:lvl1pPr>
              <a:defRPr sz="900"/>
            </a:lvl1pPr>
          </a:lstStyle>
          <a:p>
            <a:fld id="{6BC4ADAC-A71C-4041-A22C-CF397AFF8326}" type="slidenum">
              <a:rPr lang="en-US" smtClean="0"/>
              <a:pPr/>
              <a:t>‹#›</a:t>
            </a:fld>
            <a:endParaRPr lang="en-US" dirty="0"/>
          </a:p>
        </p:txBody>
      </p:sp>
    </p:spTree>
    <p:extLst>
      <p:ext uri="{BB962C8B-B14F-4D97-AF65-F5344CB8AC3E}">
        <p14:creationId xmlns:p14="http://schemas.microsoft.com/office/powerpoint/2010/main" val="2451691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5" Type="http://schemas.openxmlformats.org/officeDocument/2006/relationships/slideLayout" Target="../slideLayouts/slideLayout166.xml"/><Relationship Id="rId4" Type="http://schemas.openxmlformats.org/officeDocument/2006/relationships/slideLayout" Target="../slideLayouts/slideLayout16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image" Target="../media/image4.png"/><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11.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11.sv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image" Target="../media/image5.sv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73.jpeg"/><Relationship Id="rId2" Type="http://schemas.openxmlformats.org/officeDocument/2006/relationships/slideLayout" Target="../slideLayouts/slideLayout195.xml"/><Relationship Id="rId16" Type="http://schemas.openxmlformats.org/officeDocument/2006/relationships/theme" Target="../theme/theme12.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theme" Target="../theme/theme13.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s>
</file>

<file path=ppt/slideMasters/_rels/slideMaster1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36.xml"/><Relationship Id="rId7" Type="http://schemas.openxmlformats.org/officeDocument/2006/relationships/tags" Target="../tags/tag8.xml"/><Relationship Id="rId12" Type="http://schemas.openxmlformats.org/officeDocument/2006/relationships/image" Target="../media/image36.svg"/><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tags" Target="../tags/tag7.xml"/><Relationship Id="rId11" Type="http://schemas.openxmlformats.org/officeDocument/2006/relationships/image" Target="../media/image31.svg"/><Relationship Id="rId5" Type="http://schemas.openxmlformats.org/officeDocument/2006/relationships/vmlDrawing" Target="../drawings/vmlDrawing4.vml"/><Relationship Id="rId10" Type="http://schemas.openxmlformats.org/officeDocument/2006/relationships/image" Target="../media/image4.png"/><Relationship Id="rId4" Type="http://schemas.openxmlformats.org/officeDocument/2006/relationships/theme" Target="../theme/theme14.xml"/><Relationship Id="rId9" Type="http://schemas.openxmlformats.org/officeDocument/2006/relationships/image" Target="../media/image35.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4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theme" Target="../theme/theme15.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0" Type="http://schemas.openxmlformats.org/officeDocument/2006/relationships/slideLayout" Target="../slideLayouts/slideLayout246.xml"/><Relationship Id="rId4" Type="http://schemas.openxmlformats.org/officeDocument/2006/relationships/slideLayout" Target="../slideLayouts/slideLayout240.xml"/><Relationship Id="rId9" Type="http://schemas.openxmlformats.org/officeDocument/2006/relationships/slideLayout" Target="../slideLayouts/slideLayout24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slideLayout" Target="../slideLayouts/slideLayout273.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34" Type="http://schemas.openxmlformats.org/officeDocument/2006/relationships/theme" Target="../theme/theme16.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29" Type="http://schemas.openxmlformats.org/officeDocument/2006/relationships/slideLayout" Target="../slideLayouts/slideLayout276.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32" Type="http://schemas.openxmlformats.org/officeDocument/2006/relationships/slideLayout" Target="../slideLayouts/slideLayout279.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31" Type="http://schemas.openxmlformats.org/officeDocument/2006/relationships/slideLayout" Target="../slideLayouts/slideLayout27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30" Type="http://schemas.openxmlformats.org/officeDocument/2006/relationships/slideLayout" Target="../slideLayouts/slideLayout277.xml"/><Relationship Id="rId8" Type="http://schemas.openxmlformats.org/officeDocument/2006/relationships/slideLayout" Target="../slideLayouts/slideLayout25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theme" Target="../theme/theme17.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8.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5" Type="http://schemas.openxmlformats.org/officeDocument/2006/relationships/slideLayout" Target="../slideLayouts/slideLayout305.xml"/><Relationship Id="rId4" Type="http://schemas.openxmlformats.org/officeDocument/2006/relationships/slideLayout" Target="../slideLayouts/slideLayout304.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theme" Target="../theme/theme19.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10" Type="http://schemas.openxmlformats.org/officeDocument/2006/relationships/slideLayout" Target="../slideLayouts/slideLayout318.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21" Type="http://schemas.openxmlformats.org/officeDocument/2006/relationships/slideLayout" Target="../slideLayouts/slideLayout32.xml"/><Relationship Id="rId34"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image" Target="../media/image11.sv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image" Target="../media/image5.svg"/><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image" Target="../media/image4.png"/><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image" Target="../media/image127.png"/><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theme" Target="../theme/theme20.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8" Type="http://schemas.openxmlformats.org/officeDocument/2006/relationships/slideLayout" Target="../slideLayouts/slideLayout333.xml"/><Relationship Id="rId3" Type="http://schemas.openxmlformats.org/officeDocument/2006/relationships/slideLayout" Target="../slideLayouts/slideLayout32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26" Type="http://schemas.openxmlformats.org/officeDocument/2006/relationships/slideLayout" Target="../slideLayouts/slideLayout386.xml"/><Relationship Id="rId3" Type="http://schemas.openxmlformats.org/officeDocument/2006/relationships/slideLayout" Target="../slideLayouts/slideLayout363.xml"/><Relationship Id="rId21" Type="http://schemas.openxmlformats.org/officeDocument/2006/relationships/slideLayout" Target="../slideLayouts/slideLayout381.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5" Type="http://schemas.openxmlformats.org/officeDocument/2006/relationships/slideLayout" Target="../slideLayouts/slideLayout385.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0" Type="http://schemas.openxmlformats.org/officeDocument/2006/relationships/slideLayout" Target="../slideLayouts/slideLayout380.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24" Type="http://schemas.openxmlformats.org/officeDocument/2006/relationships/slideLayout" Target="../slideLayouts/slideLayout384.xml"/><Relationship Id="rId5" Type="http://schemas.openxmlformats.org/officeDocument/2006/relationships/slideLayout" Target="../slideLayouts/slideLayout365.xml"/><Relationship Id="rId15" Type="http://schemas.openxmlformats.org/officeDocument/2006/relationships/slideLayout" Target="../slideLayouts/slideLayout375.xml"/><Relationship Id="rId23" Type="http://schemas.openxmlformats.org/officeDocument/2006/relationships/slideLayout" Target="../slideLayouts/slideLayout383.xml"/><Relationship Id="rId28" Type="http://schemas.openxmlformats.org/officeDocument/2006/relationships/theme" Target="../theme/theme21.xml"/><Relationship Id="rId10" Type="http://schemas.openxmlformats.org/officeDocument/2006/relationships/slideLayout" Target="../slideLayouts/slideLayout370.xml"/><Relationship Id="rId19" Type="http://schemas.openxmlformats.org/officeDocument/2006/relationships/slideLayout" Target="../slideLayouts/slideLayout379.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 Id="rId22" Type="http://schemas.openxmlformats.org/officeDocument/2006/relationships/slideLayout" Target="../slideLayouts/slideLayout382.xml"/><Relationship Id="rId27" Type="http://schemas.openxmlformats.org/officeDocument/2006/relationships/slideLayout" Target="../slideLayouts/slideLayout38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26" Type="http://schemas.openxmlformats.org/officeDocument/2006/relationships/slideLayout" Target="../slideLayouts/slideLayout413.xml"/><Relationship Id="rId3" Type="http://schemas.openxmlformats.org/officeDocument/2006/relationships/slideLayout" Target="../slideLayouts/slideLayout390.xml"/><Relationship Id="rId21" Type="http://schemas.openxmlformats.org/officeDocument/2006/relationships/slideLayout" Target="../slideLayouts/slideLayout408.xml"/><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5" Type="http://schemas.openxmlformats.org/officeDocument/2006/relationships/slideLayout" Target="../slideLayouts/slideLayout412.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29" Type="http://schemas.openxmlformats.org/officeDocument/2006/relationships/theme" Target="../theme/theme22.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24" Type="http://schemas.openxmlformats.org/officeDocument/2006/relationships/slideLayout" Target="../slideLayouts/slideLayout411.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slideLayout" Target="../slideLayouts/slideLayout410.xml"/><Relationship Id="rId28" Type="http://schemas.openxmlformats.org/officeDocument/2006/relationships/slideLayout" Target="../slideLayouts/slideLayout415.xml"/><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slideLayout" Target="../slideLayouts/slideLayout409.xml"/><Relationship Id="rId27" Type="http://schemas.openxmlformats.org/officeDocument/2006/relationships/slideLayout" Target="../slideLayouts/slideLayout4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3.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5.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theme" Target="../theme/theme6.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image" Target="../media/image36.sv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image" Target="../media/image31.svg"/><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image" Target="../media/image4.pn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theme" Target="../theme/theme7.xml"/><Relationship Id="rId8" Type="http://schemas.openxmlformats.org/officeDocument/2006/relationships/slideLayout" Target="../slideLayouts/slideLayout104.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8.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heme" Target="../theme/theme9.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96543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7014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ctr" defTabSz="609021" rtl="0" eaLnBrk="1" latinLnBrk="0" hangingPunct="1">
        <a:spcBef>
          <a:spcPct val="0"/>
        </a:spcBef>
        <a:buNone/>
        <a:defRPr sz="5861" kern="1200">
          <a:solidFill>
            <a:schemeClr val="tx1"/>
          </a:solidFill>
          <a:latin typeface="+mj-lt"/>
          <a:ea typeface="+mj-ea"/>
          <a:cs typeface="+mj-cs"/>
        </a:defRPr>
      </a:lvl1pPr>
    </p:titleStyle>
    <p:bodyStyle>
      <a:lvl1pPr marL="456766" indent="-456766" algn="l" defTabSz="609021" rtl="0" eaLnBrk="1" latinLnBrk="0" hangingPunct="1">
        <a:spcBef>
          <a:spcPct val="20000"/>
        </a:spcBef>
        <a:buFont typeface="Arial"/>
        <a:buChar char="•"/>
        <a:defRPr sz="4263" kern="1200">
          <a:solidFill>
            <a:schemeClr val="tx1"/>
          </a:solidFill>
          <a:latin typeface="+mn-lt"/>
          <a:ea typeface="+mn-ea"/>
          <a:cs typeface="+mn-cs"/>
        </a:defRPr>
      </a:lvl1pPr>
      <a:lvl2pPr marL="989660" indent="-380639" algn="l" defTabSz="609021" rtl="0" eaLnBrk="1" latinLnBrk="0" hangingPunct="1">
        <a:spcBef>
          <a:spcPct val="20000"/>
        </a:spcBef>
        <a:buFont typeface="Arial"/>
        <a:buChar char="–"/>
        <a:defRPr sz="3730" kern="1200">
          <a:solidFill>
            <a:schemeClr val="tx1"/>
          </a:solidFill>
          <a:latin typeface="+mn-lt"/>
          <a:ea typeface="+mn-ea"/>
          <a:cs typeface="+mn-cs"/>
        </a:defRPr>
      </a:lvl2pPr>
      <a:lvl3pPr marL="1522552" indent="-304511" algn="l" defTabSz="609021" rtl="0" eaLnBrk="1" latinLnBrk="0" hangingPunct="1">
        <a:spcBef>
          <a:spcPct val="20000"/>
        </a:spcBef>
        <a:buFont typeface="Arial"/>
        <a:buChar char="•"/>
        <a:defRPr sz="3197" kern="1200">
          <a:solidFill>
            <a:schemeClr val="tx1"/>
          </a:solidFill>
          <a:latin typeface="+mn-lt"/>
          <a:ea typeface="+mn-ea"/>
          <a:cs typeface="+mn-cs"/>
        </a:defRPr>
      </a:lvl3pPr>
      <a:lvl4pPr marL="2131573" indent="-304511" algn="l" defTabSz="609021" rtl="0" eaLnBrk="1" latinLnBrk="0" hangingPunct="1">
        <a:spcBef>
          <a:spcPct val="20000"/>
        </a:spcBef>
        <a:buFont typeface="Arial"/>
        <a:buChar char="–"/>
        <a:defRPr sz="2664" kern="1200">
          <a:solidFill>
            <a:schemeClr val="tx1"/>
          </a:solidFill>
          <a:latin typeface="+mn-lt"/>
          <a:ea typeface="+mn-ea"/>
          <a:cs typeface="+mn-cs"/>
        </a:defRPr>
      </a:lvl4pPr>
      <a:lvl5pPr marL="2740595" indent="-304511" algn="l" defTabSz="609021" rtl="0" eaLnBrk="1" latinLnBrk="0" hangingPunct="1">
        <a:spcBef>
          <a:spcPct val="20000"/>
        </a:spcBef>
        <a:buFont typeface="Arial"/>
        <a:buChar char="»"/>
        <a:defRPr sz="2664" kern="1200">
          <a:solidFill>
            <a:schemeClr val="tx1"/>
          </a:solidFill>
          <a:latin typeface="+mn-lt"/>
          <a:ea typeface="+mn-ea"/>
          <a:cs typeface="+mn-cs"/>
        </a:defRPr>
      </a:lvl5pPr>
      <a:lvl6pPr marL="3349616" indent="-304511" algn="l" defTabSz="609021" rtl="0" eaLnBrk="1" latinLnBrk="0" hangingPunct="1">
        <a:spcBef>
          <a:spcPct val="20000"/>
        </a:spcBef>
        <a:buFont typeface="Arial"/>
        <a:buChar char="•"/>
        <a:defRPr sz="2664" kern="1200">
          <a:solidFill>
            <a:schemeClr val="tx1"/>
          </a:solidFill>
          <a:latin typeface="+mn-lt"/>
          <a:ea typeface="+mn-ea"/>
          <a:cs typeface="+mn-cs"/>
        </a:defRPr>
      </a:lvl6pPr>
      <a:lvl7pPr marL="3958636" indent="-304511" algn="l" defTabSz="609021" rtl="0" eaLnBrk="1" latinLnBrk="0" hangingPunct="1">
        <a:spcBef>
          <a:spcPct val="20000"/>
        </a:spcBef>
        <a:buFont typeface="Arial"/>
        <a:buChar char="•"/>
        <a:defRPr sz="2664" kern="1200">
          <a:solidFill>
            <a:schemeClr val="tx1"/>
          </a:solidFill>
          <a:latin typeface="+mn-lt"/>
          <a:ea typeface="+mn-ea"/>
          <a:cs typeface="+mn-cs"/>
        </a:defRPr>
      </a:lvl7pPr>
      <a:lvl8pPr marL="4567657" indent="-304511" algn="l" defTabSz="609021" rtl="0" eaLnBrk="1" latinLnBrk="0" hangingPunct="1">
        <a:spcBef>
          <a:spcPct val="20000"/>
        </a:spcBef>
        <a:buFont typeface="Arial"/>
        <a:buChar char="•"/>
        <a:defRPr sz="2664" kern="1200">
          <a:solidFill>
            <a:schemeClr val="tx1"/>
          </a:solidFill>
          <a:latin typeface="+mn-lt"/>
          <a:ea typeface="+mn-ea"/>
          <a:cs typeface="+mn-cs"/>
        </a:defRPr>
      </a:lvl8pPr>
      <a:lvl9pPr marL="5176678" indent="-304511" algn="l" defTabSz="609021" rtl="0" eaLnBrk="1" latinLnBrk="0" hangingPunct="1">
        <a:spcBef>
          <a:spcPct val="20000"/>
        </a:spcBef>
        <a:buFont typeface="Arial"/>
        <a:buChar char="•"/>
        <a:defRPr sz="2664" kern="1200">
          <a:solidFill>
            <a:schemeClr val="tx1"/>
          </a:solidFill>
          <a:latin typeface="+mn-lt"/>
          <a:ea typeface="+mn-ea"/>
          <a:cs typeface="+mn-cs"/>
        </a:defRPr>
      </a:lvl9pPr>
    </p:bodyStyle>
    <p:otherStyle>
      <a:defPPr>
        <a:defRPr lang="en-US"/>
      </a:defPPr>
      <a:lvl1pPr marL="0" algn="l" defTabSz="609021" rtl="0" eaLnBrk="1" latinLnBrk="0" hangingPunct="1">
        <a:defRPr sz="2398" kern="1200">
          <a:solidFill>
            <a:schemeClr val="tx1"/>
          </a:solidFill>
          <a:latin typeface="+mn-lt"/>
          <a:ea typeface="+mn-ea"/>
          <a:cs typeface="+mn-cs"/>
        </a:defRPr>
      </a:lvl1pPr>
      <a:lvl2pPr marL="609021" algn="l" defTabSz="609021" rtl="0" eaLnBrk="1" latinLnBrk="0" hangingPunct="1">
        <a:defRPr sz="2398" kern="1200">
          <a:solidFill>
            <a:schemeClr val="tx1"/>
          </a:solidFill>
          <a:latin typeface="+mn-lt"/>
          <a:ea typeface="+mn-ea"/>
          <a:cs typeface="+mn-cs"/>
        </a:defRPr>
      </a:lvl2pPr>
      <a:lvl3pPr marL="1218041" algn="l" defTabSz="609021" rtl="0" eaLnBrk="1" latinLnBrk="0" hangingPunct="1">
        <a:defRPr sz="2398" kern="1200">
          <a:solidFill>
            <a:schemeClr val="tx1"/>
          </a:solidFill>
          <a:latin typeface="+mn-lt"/>
          <a:ea typeface="+mn-ea"/>
          <a:cs typeface="+mn-cs"/>
        </a:defRPr>
      </a:lvl3pPr>
      <a:lvl4pPr marL="1827062" algn="l" defTabSz="609021" rtl="0" eaLnBrk="1" latinLnBrk="0" hangingPunct="1">
        <a:defRPr sz="2398" kern="1200">
          <a:solidFill>
            <a:schemeClr val="tx1"/>
          </a:solidFill>
          <a:latin typeface="+mn-lt"/>
          <a:ea typeface="+mn-ea"/>
          <a:cs typeface="+mn-cs"/>
        </a:defRPr>
      </a:lvl4pPr>
      <a:lvl5pPr marL="2436083" algn="l" defTabSz="609021" rtl="0" eaLnBrk="1" latinLnBrk="0" hangingPunct="1">
        <a:defRPr sz="2398" kern="1200">
          <a:solidFill>
            <a:schemeClr val="tx1"/>
          </a:solidFill>
          <a:latin typeface="+mn-lt"/>
          <a:ea typeface="+mn-ea"/>
          <a:cs typeface="+mn-cs"/>
        </a:defRPr>
      </a:lvl5pPr>
      <a:lvl6pPr marL="3045105" algn="l" defTabSz="609021" rtl="0" eaLnBrk="1" latinLnBrk="0" hangingPunct="1">
        <a:defRPr sz="2398" kern="1200">
          <a:solidFill>
            <a:schemeClr val="tx1"/>
          </a:solidFill>
          <a:latin typeface="+mn-lt"/>
          <a:ea typeface="+mn-ea"/>
          <a:cs typeface="+mn-cs"/>
        </a:defRPr>
      </a:lvl6pPr>
      <a:lvl7pPr marL="3654126" algn="l" defTabSz="609021" rtl="0" eaLnBrk="1" latinLnBrk="0" hangingPunct="1">
        <a:defRPr sz="2398" kern="1200">
          <a:solidFill>
            <a:schemeClr val="tx1"/>
          </a:solidFill>
          <a:latin typeface="+mn-lt"/>
          <a:ea typeface="+mn-ea"/>
          <a:cs typeface="+mn-cs"/>
        </a:defRPr>
      </a:lvl7pPr>
      <a:lvl8pPr marL="4263146" algn="l" defTabSz="609021" rtl="0" eaLnBrk="1" latinLnBrk="0" hangingPunct="1">
        <a:defRPr sz="2398" kern="1200">
          <a:solidFill>
            <a:schemeClr val="tx1"/>
          </a:solidFill>
          <a:latin typeface="+mn-lt"/>
          <a:ea typeface="+mn-ea"/>
          <a:cs typeface="+mn-cs"/>
        </a:defRPr>
      </a:lvl8pPr>
      <a:lvl9pPr marL="4872167" algn="l" defTabSz="609021" rtl="0" eaLnBrk="1" latinLnBrk="0" hangingPunct="1">
        <a:defRPr sz="239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pic>
        <p:nvPicPr>
          <p:cNvPr id="74" name="Graphic 73">
            <a:extLst>
              <a:ext uri="{FF2B5EF4-FFF2-40B4-BE49-F238E27FC236}">
                <a16:creationId xmlns:a16="http://schemas.microsoft.com/office/drawing/2014/main" id="{ADC6EE75-77DD-4C39-8BC5-B2124068D13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bwMode="black">
          <a:xfrm>
            <a:off x="10902365" y="6210019"/>
            <a:ext cx="644785" cy="260942"/>
          </a:xfrm>
          <a:prstGeom prst="rect">
            <a:avLst/>
          </a:prstGeom>
        </p:spPr>
      </p:pic>
      <p:pic>
        <p:nvPicPr>
          <p:cNvPr id="7" name="Graphic 6">
            <a:extLst>
              <a:ext uri="{FF2B5EF4-FFF2-40B4-BE49-F238E27FC236}">
                <a16:creationId xmlns:a16="http://schemas.microsoft.com/office/drawing/2014/main" id="{7959C000-FC69-4D3A-84F5-5E94ADA46B58}"/>
              </a:ext>
            </a:extLst>
          </p:cNvPr>
          <p:cNvPicPr>
            <a:picLocks noChangeAspect="1"/>
          </p:cNvPicPr>
          <p:nvPr/>
        </p:nvPicPr>
        <p:blipFill>
          <a:blip r:embed="rId26">
            <a:extLst>
              <a:ext uri="{96DAC541-7B7A-43D3-8B79-37D633B846F1}">
                <asvg:svgBlip xmlns:asvg="http://schemas.microsoft.com/office/drawing/2016/SVG/main" r:embed="rId28"/>
              </a:ext>
            </a:extLst>
          </a:blip>
          <a:stretch>
            <a:fillRect/>
          </a:stretch>
        </p:blipFill>
        <p:spPr bwMode="black">
          <a:xfrm>
            <a:off x="10902365" y="6210019"/>
            <a:ext cx="644785" cy="260942"/>
          </a:xfrm>
          <a:prstGeom prst="rect">
            <a:avLst/>
          </a:prstGeom>
        </p:spPr>
      </p:pic>
      <p:pic>
        <p:nvPicPr>
          <p:cNvPr id="8" name="Graphic 7">
            <a:extLst>
              <a:ext uri="{FF2B5EF4-FFF2-40B4-BE49-F238E27FC236}">
                <a16:creationId xmlns:a16="http://schemas.microsoft.com/office/drawing/2014/main" id="{1459B293-5077-4A52-A0EB-627E02088F3D}"/>
              </a:ext>
            </a:extLst>
          </p:cNvPr>
          <p:cNvPicPr>
            <a:picLocks noChangeAspect="1"/>
          </p:cNvPicPr>
          <p:nvPr userDrawn="1"/>
        </p:nvPicPr>
        <p:blipFill>
          <a:blip r:embed="rId26">
            <a:extLst>
              <a:ext uri="{96DAC541-7B7A-43D3-8B79-37D633B846F1}">
                <asvg:svgBlip xmlns:asvg="http://schemas.microsoft.com/office/drawing/2016/SVG/main" r:embed="rId28"/>
              </a:ext>
            </a:extLst>
          </a:blip>
          <a:stretch>
            <a:fillRect/>
          </a:stretch>
        </p:blipFill>
        <p:spPr bwMode="black">
          <a:xfrm>
            <a:off x="10902365" y="6210019"/>
            <a:ext cx="644785" cy="260942"/>
          </a:xfrm>
          <a:prstGeom prst="rect">
            <a:avLst/>
          </a:prstGeom>
        </p:spPr>
      </p:pic>
    </p:spTree>
    <p:extLst>
      <p:ext uri="{BB962C8B-B14F-4D97-AF65-F5344CB8AC3E}">
        <p14:creationId xmlns:p14="http://schemas.microsoft.com/office/powerpoint/2010/main" val="293717824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a:xfrm>
            <a:off x="124063" y="6356351"/>
            <a:ext cx="2844800" cy="366183"/>
          </a:xfrm>
          <a:prstGeom prst="rect">
            <a:avLst/>
          </a:prstGeom>
        </p:spPr>
        <p:txBody>
          <a:bodyPr vert="horz" lIns="162547" tIns="81273" rIns="162547" bIns="81273" rtlCol="0" anchor="ctr"/>
          <a:lstStyle>
            <a:lvl1pPr algn="l">
              <a:defRPr sz="1275">
                <a:solidFill>
                  <a:schemeClr val="bg1"/>
                </a:solidFill>
              </a:defRPr>
            </a:lvl1pPr>
          </a:lstStyle>
          <a:p>
            <a:fld id="{C48D9196-7146-4672-A4BA-DB29036C6B41}" type="slidenum">
              <a:rPr lang="en-US" smtClean="0"/>
              <a:t>‹#›</a:t>
            </a:fld>
            <a:endParaRPr lang="en-US"/>
          </a:p>
        </p:txBody>
      </p:sp>
      <p:sp>
        <p:nvSpPr>
          <p:cNvPr id="16" name="Title Placeholder 15"/>
          <p:cNvSpPr>
            <a:spLocks noGrp="1"/>
          </p:cNvSpPr>
          <p:nvPr>
            <p:ph type="title"/>
          </p:nvPr>
        </p:nvSpPr>
        <p:spPr>
          <a:xfrm>
            <a:off x="1193896" y="2935114"/>
            <a:ext cx="9804213" cy="865483"/>
          </a:xfrm>
          <a:prstGeom prst="rect">
            <a:avLst/>
          </a:prstGeom>
        </p:spPr>
        <p:txBody>
          <a:bodyPr vert="horz" lIns="162547" tIns="81273" rIns="162547" bIns="81273" rtlCol="0" anchor="ctr">
            <a:normAutofit/>
          </a:bodyPr>
          <a:lstStyle/>
          <a:p>
            <a:r>
              <a:rPr lang="en-US" dirty="0"/>
              <a:t>Subject Divider</a:t>
            </a:r>
          </a:p>
        </p:txBody>
      </p:sp>
      <p:sp>
        <p:nvSpPr>
          <p:cNvPr id="18" name="Date Placeholder 17"/>
          <p:cNvSpPr>
            <a:spLocks noGrp="1"/>
          </p:cNvSpPr>
          <p:nvPr>
            <p:ph type="dt" sz="half" idx="2"/>
          </p:nvPr>
        </p:nvSpPr>
        <p:spPr>
          <a:xfrm>
            <a:off x="8704435" y="6346241"/>
            <a:ext cx="2844800" cy="366183"/>
          </a:xfrm>
          <a:prstGeom prst="rect">
            <a:avLst/>
          </a:prstGeom>
        </p:spPr>
        <p:txBody>
          <a:bodyPr vert="horz" lIns="162547" tIns="81273" rIns="162547" bIns="81273" rtlCol="0" anchor="ctr"/>
          <a:lstStyle>
            <a:lvl1pPr algn="r">
              <a:defRPr sz="1575">
                <a:solidFill>
                  <a:schemeClr val="bg1"/>
                </a:solidFill>
              </a:defRPr>
            </a:lvl1pPr>
          </a:lstStyle>
          <a:p>
            <a:fld id="{6F608DB8-9692-5242-ABBC-2F0A48AC2060}" type="datetime1">
              <a:rPr lang="en-US" smtClean="0"/>
              <a:t>9/30/2024</a:t>
            </a:fld>
            <a:endParaRPr lang="en-US" dirty="0"/>
          </a:p>
        </p:txBody>
      </p:sp>
    </p:spTree>
    <p:extLst>
      <p:ext uri="{BB962C8B-B14F-4D97-AF65-F5344CB8AC3E}">
        <p14:creationId xmlns:p14="http://schemas.microsoft.com/office/powerpoint/2010/main" val="3718166397"/>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4079" r:id="rId1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lvl1pPr algn="l" defTabSz="609473" rtl="0" eaLnBrk="1" latinLnBrk="0" hangingPunct="1">
        <a:spcBef>
          <a:spcPct val="0"/>
        </a:spcBef>
        <a:buNone/>
        <a:defRPr sz="3450" b="1" kern="1200">
          <a:solidFill>
            <a:schemeClr val="bg1"/>
          </a:solidFill>
          <a:latin typeface="+mj-lt"/>
          <a:ea typeface="+mj-ea"/>
          <a:cs typeface="+mj-cs"/>
        </a:defRPr>
      </a:lvl1pPr>
    </p:titleStyle>
    <p:bodyStyle>
      <a:lvl1pPr marL="457105" indent="-457105" algn="l" defTabSz="609473" rtl="0" eaLnBrk="1" latinLnBrk="0" hangingPunct="1">
        <a:spcBef>
          <a:spcPct val="20000"/>
        </a:spcBef>
        <a:buFont typeface="Arial"/>
        <a:buChar char="•"/>
        <a:defRPr sz="4274" kern="1200">
          <a:solidFill>
            <a:schemeClr val="tx1"/>
          </a:solidFill>
          <a:latin typeface="+mn-lt"/>
          <a:ea typeface="+mn-ea"/>
          <a:cs typeface="+mn-cs"/>
        </a:defRPr>
      </a:lvl1pPr>
      <a:lvl2pPr marL="990395" indent="-380921" algn="l" defTabSz="609473" rtl="0" eaLnBrk="1" latinLnBrk="0" hangingPunct="1">
        <a:spcBef>
          <a:spcPct val="20000"/>
        </a:spcBef>
        <a:buFont typeface="Arial"/>
        <a:buChar char="–"/>
        <a:defRPr sz="3675" kern="1200">
          <a:solidFill>
            <a:schemeClr val="tx1"/>
          </a:solidFill>
          <a:latin typeface="+mn-lt"/>
          <a:ea typeface="+mn-ea"/>
          <a:cs typeface="+mn-cs"/>
        </a:defRPr>
      </a:lvl2pPr>
      <a:lvl3pPr marL="1523682" indent="-304736" algn="l" defTabSz="609473" rtl="0" eaLnBrk="1" latinLnBrk="0" hangingPunct="1">
        <a:spcBef>
          <a:spcPct val="20000"/>
        </a:spcBef>
        <a:buFont typeface="Arial"/>
        <a:buChar char="•"/>
        <a:defRPr sz="3225" kern="1200">
          <a:solidFill>
            <a:schemeClr val="tx1"/>
          </a:solidFill>
          <a:latin typeface="+mn-lt"/>
          <a:ea typeface="+mn-ea"/>
          <a:cs typeface="+mn-cs"/>
        </a:defRPr>
      </a:lvl3pPr>
      <a:lvl4pPr marL="2133154" indent="-304736" algn="l" defTabSz="609473" rtl="0" eaLnBrk="1" latinLnBrk="0" hangingPunct="1">
        <a:spcBef>
          <a:spcPct val="20000"/>
        </a:spcBef>
        <a:buFont typeface="Arial"/>
        <a:buChar char="–"/>
        <a:defRPr sz="2775" kern="1200">
          <a:solidFill>
            <a:schemeClr val="tx1"/>
          </a:solidFill>
          <a:latin typeface="+mn-lt"/>
          <a:ea typeface="+mn-ea"/>
          <a:cs typeface="+mn-cs"/>
        </a:defRPr>
      </a:lvl4pPr>
      <a:lvl5pPr marL="2742626" indent="-304736" algn="l" defTabSz="609473" rtl="0" eaLnBrk="1" latinLnBrk="0" hangingPunct="1">
        <a:spcBef>
          <a:spcPct val="20000"/>
        </a:spcBef>
        <a:buFont typeface="Arial"/>
        <a:buChar char="»"/>
        <a:defRPr sz="2775" kern="1200">
          <a:solidFill>
            <a:schemeClr val="tx1"/>
          </a:solidFill>
          <a:latin typeface="+mn-lt"/>
          <a:ea typeface="+mn-ea"/>
          <a:cs typeface="+mn-cs"/>
        </a:defRPr>
      </a:lvl5pPr>
      <a:lvl6pPr marL="3352098" indent="-304736" algn="l" defTabSz="609473" rtl="0" eaLnBrk="1" latinLnBrk="0" hangingPunct="1">
        <a:spcBef>
          <a:spcPct val="20000"/>
        </a:spcBef>
        <a:buFont typeface="Arial"/>
        <a:buChar char="•"/>
        <a:defRPr sz="2775" kern="1200">
          <a:solidFill>
            <a:schemeClr val="tx1"/>
          </a:solidFill>
          <a:latin typeface="+mn-lt"/>
          <a:ea typeface="+mn-ea"/>
          <a:cs typeface="+mn-cs"/>
        </a:defRPr>
      </a:lvl6pPr>
      <a:lvl7pPr marL="3961571" indent="-304736" algn="l" defTabSz="609473" rtl="0" eaLnBrk="1" latinLnBrk="0" hangingPunct="1">
        <a:spcBef>
          <a:spcPct val="20000"/>
        </a:spcBef>
        <a:buFont typeface="Arial"/>
        <a:buChar char="•"/>
        <a:defRPr sz="2775" kern="1200">
          <a:solidFill>
            <a:schemeClr val="tx1"/>
          </a:solidFill>
          <a:latin typeface="+mn-lt"/>
          <a:ea typeface="+mn-ea"/>
          <a:cs typeface="+mn-cs"/>
        </a:defRPr>
      </a:lvl7pPr>
      <a:lvl8pPr marL="4571043" indent="-304736" algn="l" defTabSz="609473" rtl="0" eaLnBrk="1" latinLnBrk="0" hangingPunct="1">
        <a:spcBef>
          <a:spcPct val="20000"/>
        </a:spcBef>
        <a:buFont typeface="Arial"/>
        <a:buChar char="•"/>
        <a:defRPr sz="2775" kern="1200">
          <a:solidFill>
            <a:schemeClr val="tx1"/>
          </a:solidFill>
          <a:latin typeface="+mn-lt"/>
          <a:ea typeface="+mn-ea"/>
          <a:cs typeface="+mn-cs"/>
        </a:defRPr>
      </a:lvl8pPr>
      <a:lvl9pPr marL="5180516" indent="-304736" algn="l" defTabSz="609473" rtl="0" eaLnBrk="1" latinLnBrk="0" hangingPunct="1">
        <a:spcBef>
          <a:spcPct val="20000"/>
        </a:spcBef>
        <a:buFont typeface="Arial"/>
        <a:buChar char="•"/>
        <a:defRPr sz="2775" kern="1200">
          <a:solidFill>
            <a:schemeClr val="tx1"/>
          </a:solidFill>
          <a:latin typeface="+mn-lt"/>
          <a:ea typeface="+mn-ea"/>
          <a:cs typeface="+mn-cs"/>
        </a:defRPr>
      </a:lvl9pPr>
    </p:bodyStyle>
    <p:otherStyle>
      <a:defPPr>
        <a:defRPr lang="en-US"/>
      </a:defPPr>
      <a:lvl1pPr marL="0" algn="l" defTabSz="609473" rtl="0" eaLnBrk="1" latinLnBrk="0" hangingPunct="1">
        <a:defRPr sz="2400" kern="1200">
          <a:solidFill>
            <a:schemeClr val="tx1"/>
          </a:solidFill>
          <a:latin typeface="+mn-lt"/>
          <a:ea typeface="+mn-ea"/>
          <a:cs typeface="+mn-cs"/>
        </a:defRPr>
      </a:lvl1pPr>
      <a:lvl2pPr marL="609473" algn="l" defTabSz="609473" rtl="0" eaLnBrk="1" latinLnBrk="0" hangingPunct="1">
        <a:defRPr sz="2400" kern="1200">
          <a:solidFill>
            <a:schemeClr val="tx1"/>
          </a:solidFill>
          <a:latin typeface="+mn-lt"/>
          <a:ea typeface="+mn-ea"/>
          <a:cs typeface="+mn-cs"/>
        </a:defRPr>
      </a:lvl2pPr>
      <a:lvl3pPr marL="1218944" algn="l" defTabSz="609473" rtl="0" eaLnBrk="1" latinLnBrk="0" hangingPunct="1">
        <a:defRPr sz="2400" kern="1200">
          <a:solidFill>
            <a:schemeClr val="tx1"/>
          </a:solidFill>
          <a:latin typeface="+mn-lt"/>
          <a:ea typeface="+mn-ea"/>
          <a:cs typeface="+mn-cs"/>
        </a:defRPr>
      </a:lvl3pPr>
      <a:lvl4pPr marL="1828418" algn="l" defTabSz="609473" rtl="0" eaLnBrk="1" latinLnBrk="0" hangingPunct="1">
        <a:defRPr sz="2400" kern="1200">
          <a:solidFill>
            <a:schemeClr val="tx1"/>
          </a:solidFill>
          <a:latin typeface="+mn-lt"/>
          <a:ea typeface="+mn-ea"/>
          <a:cs typeface="+mn-cs"/>
        </a:defRPr>
      </a:lvl4pPr>
      <a:lvl5pPr marL="2437891" algn="l" defTabSz="609473" rtl="0" eaLnBrk="1" latinLnBrk="0" hangingPunct="1">
        <a:defRPr sz="2400" kern="1200">
          <a:solidFill>
            <a:schemeClr val="tx1"/>
          </a:solidFill>
          <a:latin typeface="+mn-lt"/>
          <a:ea typeface="+mn-ea"/>
          <a:cs typeface="+mn-cs"/>
        </a:defRPr>
      </a:lvl5pPr>
      <a:lvl6pPr marL="3047363" algn="l" defTabSz="609473" rtl="0" eaLnBrk="1" latinLnBrk="0" hangingPunct="1">
        <a:defRPr sz="2400" kern="1200">
          <a:solidFill>
            <a:schemeClr val="tx1"/>
          </a:solidFill>
          <a:latin typeface="+mn-lt"/>
          <a:ea typeface="+mn-ea"/>
          <a:cs typeface="+mn-cs"/>
        </a:defRPr>
      </a:lvl6pPr>
      <a:lvl7pPr marL="3656836" algn="l" defTabSz="609473" rtl="0" eaLnBrk="1" latinLnBrk="0" hangingPunct="1">
        <a:defRPr sz="2400" kern="1200">
          <a:solidFill>
            <a:schemeClr val="tx1"/>
          </a:solidFill>
          <a:latin typeface="+mn-lt"/>
          <a:ea typeface="+mn-ea"/>
          <a:cs typeface="+mn-cs"/>
        </a:defRPr>
      </a:lvl7pPr>
      <a:lvl8pPr marL="4266308" algn="l" defTabSz="609473" rtl="0" eaLnBrk="1" latinLnBrk="0" hangingPunct="1">
        <a:defRPr sz="2400" kern="1200">
          <a:solidFill>
            <a:schemeClr val="tx1"/>
          </a:solidFill>
          <a:latin typeface="+mn-lt"/>
          <a:ea typeface="+mn-ea"/>
          <a:cs typeface="+mn-cs"/>
        </a:defRPr>
      </a:lvl8pPr>
      <a:lvl9pPr marL="4875780" algn="l" defTabSz="609473"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1196611"/>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C2F3DF-75ED-44B9-A8DB-F78C6BE93DE4}"/>
              </a:ext>
            </a:extLst>
          </p:cNvPr>
          <p:cNvGraphicFramePr>
            <a:graphicFrameLocks noChangeAspect="1"/>
          </p:cNvGraphicFramePr>
          <p:nvPr userDrawn="1">
            <p:custDataLst>
              <p:tags r:id="rId6"/>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spid="_x0000_s4100" name="think-cell Slide" r:id="rId8" imgW="592" imgH="595" progId="TCLayout.ActiveDocument.1">
                  <p:embed/>
                </p:oleObj>
              </mc:Choice>
              <mc:Fallback>
                <p:oleObj name="think-cell Slide" r:id="rId8" imgW="592" imgH="595" progId="TCLayout.ActiveDocument.1">
                  <p:embed/>
                  <p:pic>
                    <p:nvPicPr>
                      <p:cNvPr id="4" name="Object 3" hidden="1">
                        <a:extLst>
                          <a:ext uri="{FF2B5EF4-FFF2-40B4-BE49-F238E27FC236}">
                            <a16:creationId xmlns:a16="http://schemas.microsoft.com/office/drawing/2014/main" id="{39C2F3DF-75ED-44B9-A8DB-F78C6BE93DE4}"/>
                          </a:ext>
                        </a:extLst>
                      </p:cNvPr>
                      <p:cNvPicPr/>
                      <p:nvPr/>
                    </p:nvPicPr>
                    <p:blipFill>
                      <a:blip r:embed="rId9"/>
                      <a:stretch>
                        <a:fillRect/>
                      </a:stretch>
                    </p:blipFill>
                    <p:spPr>
                      <a:xfrm>
                        <a:off x="1191" y="119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1E8382-AA92-42FA-9E73-CC757E18AB27}"/>
              </a:ext>
            </a:extLst>
          </p:cNvPr>
          <p:cNvSpPr/>
          <p:nvPr userDrawn="1">
            <p:custDataLst>
              <p:tags r:id="rId7"/>
            </p:custDataLst>
          </p:nvPr>
        </p:nvSpPr>
        <p:spPr>
          <a:xfrm>
            <a:off x="0" y="1"/>
            <a:ext cx="119063" cy="119063"/>
          </a:xfrm>
          <a:prstGeom prst="rect">
            <a:avLst/>
          </a:prstGeom>
          <a:gradFill>
            <a:gsLst>
              <a:gs pos="50000">
                <a:schemeClr val="accent2">
                  <a:lumMod val="80000"/>
                </a:schemeClr>
              </a:gs>
              <a:gs pos="100000">
                <a:schemeClr val="accent2"/>
              </a:gs>
              <a:gs pos="0">
                <a:schemeClr val="accent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41" b="1" i="0" baseline="0">
              <a:solidFill>
                <a:schemeClr val="lt1"/>
              </a:solidFill>
              <a:latin typeface="Century Gothic" panose="020B0502020202020204" pitchFamily="34" charset="0"/>
              <a:ea typeface="+mj-ea"/>
              <a:cs typeface="+mj-cs"/>
              <a:sym typeface="Century Gothic" panose="020B0502020202020204" pitchFamily="34" charset="0"/>
            </a:endParaRPr>
          </a:p>
        </p:txBody>
      </p:sp>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2" y="6330870"/>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898" smtClean="0">
                <a:solidFill>
                  <a:schemeClr val="tx1"/>
                </a:solidFill>
              </a:rPr>
              <a:pPr/>
              <a:t>‹#›</a:t>
            </a:fld>
            <a:endParaRPr lang="en-US" sz="898">
              <a:solidFill>
                <a:schemeClr val="tx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5" y="171455"/>
            <a:ext cx="10907596"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4" y="1573833"/>
            <a:ext cx="10903853"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pic>
        <p:nvPicPr>
          <p:cNvPr id="74" name="Graphic 73">
            <a:extLst>
              <a:ext uri="{FF2B5EF4-FFF2-40B4-BE49-F238E27FC236}">
                <a16:creationId xmlns:a16="http://schemas.microsoft.com/office/drawing/2014/main" id="{ADC6EE75-77DD-4C39-8BC5-B2124068D13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bwMode="black">
          <a:xfrm>
            <a:off x="10902364" y="6210019"/>
            <a:ext cx="644786" cy="260942"/>
          </a:xfrm>
          <a:prstGeom prst="rect">
            <a:avLst/>
          </a:prstGeom>
        </p:spPr>
      </p:pic>
      <p:pic>
        <p:nvPicPr>
          <p:cNvPr id="7" name="Graphic 6">
            <a:extLst>
              <a:ext uri="{FF2B5EF4-FFF2-40B4-BE49-F238E27FC236}">
                <a16:creationId xmlns:a16="http://schemas.microsoft.com/office/drawing/2014/main" id="{7959C000-FC69-4D3A-84F5-5E94ADA46B5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bwMode="black">
          <a:xfrm>
            <a:off x="10902364" y="6210019"/>
            <a:ext cx="644786" cy="260942"/>
          </a:xfrm>
          <a:prstGeom prst="rect">
            <a:avLst/>
          </a:prstGeom>
        </p:spPr>
      </p:pic>
      <p:pic>
        <p:nvPicPr>
          <p:cNvPr id="8" name="Graphic 7">
            <a:extLst>
              <a:ext uri="{FF2B5EF4-FFF2-40B4-BE49-F238E27FC236}">
                <a16:creationId xmlns:a16="http://schemas.microsoft.com/office/drawing/2014/main" id="{1459B293-5077-4A52-A0EB-627E02088F3D}"/>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bwMode="black">
          <a:xfrm>
            <a:off x="10902364" y="6210019"/>
            <a:ext cx="644786" cy="260942"/>
          </a:xfrm>
          <a:prstGeom prst="rect">
            <a:avLst/>
          </a:prstGeom>
        </p:spPr>
      </p:pic>
    </p:spTree>
    <p:extLst>
      <p:ext uri="{BB962C8B-B14F-4D97-AF65-F5344CB8AC3E}">
        <p14:creationId xmlns:p14="http://schemas.microsoft.com/office/powerpoint/2010/main" val="4116681842"/>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7928" rtl="0" eaLnBrk="1" latinLnBrk="0" hangingPunct="1">
        <a:lnSpc>
          <a:spcPct val="89000"/>
        </a:lnSpc>
        <a:spcBef>
          <a:spcPct val="0"/>
        </a:spcBef>
        <a:buNone/>
        <a:defRPr sz="3441" b="1" kern="1200">
          <a:solidFill>
            <a:schemeClr val="tx1"/>
          </a:solidFill>
          <a:latin typeface="+mj-lt"/>
          <a:ea typeface="+mj-ea"/>
          <a:cs typeface="+mj-cs"/>
        </a:defRPr>
      </a:lvl1pPr>
    </p:titleStyle>
    <p:bodyStyle>
      <a:lvl1pPr marL="0" indent="0" algn="l" defTabSz="607928" rtl="0" eaLnBrk="1" latinLnBrk="0" hangingPunct="1">
        <a:spcBef>
          <a:spcPts val="449"/>
        </a:spcBef>
        <a:spcAft>
          <a:spcPts val="449"/>
        </a:spcAft>
        <a:buFont typeface="Arial" panose="020B0604020202020204" pitchFamily="34" charset="0"/>
        <a:buChar char="​"/>
        <a:defRPr sz="1795" kern="1200">
          <a:solidFill>
            <a:schemeClr val="tx1"/>
          </a:solidFill>
          <a:latin typeface="+mn-lt"/>
          <a:ea typeface="+mn-ea"/>
          <a:cs typeface="+mn-cs"/>
        </a:defRPr>
      </a:lvl1pPr>
      <a:lvl2pPr marL="181700" indent="-157948" algn="l" defTabSz="607928" rtl="0" eaLnBrk="1" latinLnBrk="0" hangingPunct="1">
        <a:spcBef>
          <a:spcPts val="0"/>
        </a:spcBef>
        <a:spcAft>
          <a:spcPts val="449"/>
        </a:spcAft>
        <a:buFont typeface="Arial" panose="020B0604020202020204" pitchFamily="34" charset="0"/>
        <a:buChar char="•"/>
        <a:tabLst/>
        <a:defRPr sz="1496" kern="1200">
          <a:solidFill>
            <a:schemeClr val="tx1"/>
          </a:solidFill>
          <a:latin typeface="+mn-lt"/>
          <a:ea typeface="+mn-ea"/>
          <a:cs typeface="+mn-cs"/>
        </a:defRPr>
      </a:lvl2pPr>
      <a:lvl3pPr marL="395464" indent="-206639" algn="l" defTabSz="607928" rtl="0" eaLnBrk="1" latinLnBrk="0" hangingPunct="1">
        <a:spcBef>
          <a:spcPts val="0"/>
        </a:spcBef>
        <a:spcAft>
          <a:spcPts val="449"/>
        </a:spcAft>
        <a:buFont typeface="Arial" panose="020B0604020202020204" pitchFamily="34" charset="0"/>
        <a:buChar char="–"/>
        <a:defRPr sz="1496" kern="1200">
          <a:solidFill>
            <a:schemeClr val="tx1"/>
          </a:solidFill>
          <a:latin typeface="+mn-lt"/>
          <a:ea typeface="+mn-ea"/>
          <a:cs typeface="+mn-cs"/>
        </a:defRPr>
      </a:lvl3pPr>
      <a:lvl4pPr marL="0" indent="0" algn="l" defTabSz="607928" rtl="0" eaLnBrk="1" latinLnBrk="0" hangingPunct="1">
        <a:spcBef>
          <a:spcPts val="1347"/>
        </a:spcBef>
        <a:spcAft>
          <a:spcPts val="449"/>
        </a:spcAft>
        <a:buFont typeface="Arial" panose="020B0604020202020204" pitchFamily="34" charset="0"/>
        <a:buChar char="​"/>
        <a:defRPr sz="2394" b="1" kern="1200">
          <a:solidFill>
            <a:schemeClr val="tx1"/>
          </a:solidFill>
          <a:latin typeface="+mn-lt"/>
          <a:ea typeface="+mn-ea"/>
          <a:cs typeface="+mn-cs"/>
        </a:defRPr>
      </a:lvl4pPr>
      <a:lvl5pPr marL="0" indent="0" algn="l" defTabSz="607928" rtl="0" eaLnBrk="1" latinLnBrk="0" hangingPunct="1">
        <a:spcBef>
          <a:spcPts val="1347"/>
        </a:spcBef>
        <a:spcAft>
          <a:spcPts val="449"/>
        </a:spcAft>
        <a:buFont typeface="Arial" panose="020B0604020202020204" pitchFamily="34" charset="0"/>
        <a:buChar char="​"/>
        <a:defRPr sz="2394" b="1" kern="1200">
          <a:solidFill>
            <a:schemeClr val="tx1"/>
          </a:solidFill>
          <a:latin typeface="+mn-lt"/>
          <a:ea typeface="+mn-ea"/>
          <a:cs typeface="+mn-cs"/>
        </a:defRPr>
      </a:lvl5pPr>
      <a:lvl6pPr marL="0" indent="0" algn="l" defTabSz="607928" rtl="0" eaLnBrk="1" latinLnBrk="0" hangingPunct="1">
        <a:spcBef>
          <a:spcPts val="1347"/>
        </a:spcBef>
        <a:spcAft>
          <a:spcPts val="449"/>
        </a:spcAft>
        <a:buFont typeface="Arial" panose="020B0604020202020204" pitchFamily="34" charset="0"/>
        <a:buChar char="​"/>
        <a:defRPr sz="2394" b="1" kern="1200">
          <a:solidFill>
            <a:schemeClr val="tx1"/>
          </a:solidFill>
          <a:latin typeface="+mn-lt"/>
          <a:ea typeface="+mn-ea"/>
          <a:cs typeface="+mn-cs"/>
        </a:defRPr>
      </a:lvl6pPr>
      <a:lvl7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7pPr>
      <a:lvl8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8pPr>
      <a:lvl9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9pPr>
    </p:bodyStyle>
    <p:otherStyle>
      <a:defPPr>
        <a:defRPr lang="en-US"/>
      </a:defPPr>
      <a:lvl1pPr marL="0" algn="l" defTabSz="607928" rtl="0" eaLnBrk="1" latinLnBrk="0" hangingPunct="1">
        <a:defRPr sz="2394" kern="1200">
          <a:solidFill>
            <a:schemeClr val="tx1"/>
          </a:solidFill>
          <a:latin typeface="+mn-lt"/>
          <a:ea typeface="+mn-ea"/>
          <a:cs typeface="+mn-cs"/>
        </a:defRPr>
      </a:lvl1pPr>
      <a:lvl2pPr marL="607928" algn="l" defTabSz="607928" rtl="0" eaLnBrk="1" latinLnBrk="0" hangingPunct="1">
        <a:defRPr sz="2394" kern="1200">
          <a:solidFill>
            <a:schemeClr val="tx1"/>
          </a:solidFill>
          <a:latin typeface="+mn-lt"/>
          <a:ea typeface="+mn-ea"/>
          <a:cs typeface="+mn-cs"/>
        </a:defRPr>
      </a:lvl2pPr>
      <a:lvl3pPr marL="1215857" algn="l" defTabSz="607928" rtl="0" eaLnBrk="1" latinLnBrk="0" hangingPunct="1">
        <a:defRPr sz="2394" kern="1200">
          <a:solidFill>
            <a:schemeClr val="tx1"/>
          </a:solidFill>
          <a:latin typeface="+mn-lt"/>
          <a:ea typeface="+mn-ea"/>
          <a:cs typeface="+mn-cs"/>
        </a:defRPr>
      </a:lvl3pPr>
      <a:lvl4pPr marL="1823785" algn="l" defTabSz="607928" rtl="0" eaLnBrk="1" latinLnBrk="0" hangingPunct="1">
        <a:defRPr sz="2394" kern="1200">
          <a:solidFill>
            <a:schemeClr val="tx1"/>
          </a:solidFill>
          <a:latin typeface="+mn-lt"/>
          <a:ea typeface="+mn-ea"/>
          <a:cs typeface="+mn-cs"/>
        </a:defRPr>
      </a:lvl4pPr>
      <a:lvl5pPr marL="2431715" algn="l" defTabSz="607928" rtl="0" eaLnBrk="1" latinLnBrk="0" hangingPunct="1">
        <a:defRPr sz="2394" kern="1200">
          <a:solidFill>
            <a:schemeClr val="tx1"/>
          </a:solidFill>
          <a:latin typeface="+mn-lt"/>
          <a:ea typeface="+mn-ea"/>
          <a:cs typeface="+mn-cs"/>
        </a:defRPr>
      </a:lvl5pPr>
      <a:lvl6pPr marL="3039643" algn="l" defTabSz="607928" rtl="0" eaLnBrk="1" latinLnBrk="0" hangingPunct="1">
        <a:defRPr sz="2394" kern="1200">
          <a:solidFill>
            <a:schemeClr val="tx1"/>
          </a:solidFill>
          <a:latin typeface="+mn-lt"/>
          <a:ea typeface="+mn-ea"/>
          <a:cs typeface="+mn-cs"/>
        </a:defRPr>
      </a:lvl6pPr>
      <a:lvl7pPr marL="3647571" algn="l" defTabSz="607928" rtl="0" eaLnBrk="1" latinLnBrk="0" hangingPunct="1">
        <a:defRPr sz="2394" kern="1200">
          <a:solidFill>
            <a:schemeClr val="tx1"/>
          </a:solidFill>
          <a:latin typeface="+mn-lt"/>
          <a:ea typeface="+mn-ea"/>
          <a:cs typeface="+mn-cs"/>
        </a:defRPr>
      </a:lvl7pPr>
      <a:lvl8pPr marL="4255499" algn="l" defTabSz="607928" rtl="0" eaLnBrk="1" latinLnBrk="0" hangingPunct="1">
        <a:defRPr sz="2394" kern="1200">
          <a:solidFill>
            <a:schemeClr val="tx1"/>
          </a:solidFill>
          <a:latin typeface="+mn-lt"/>
          <a:ea typeface="+mn-ea"/>
          <a:cs typeface="+mn-cs"/>
        </a:defRPr>
      </a:lvl8pPr>
      <a:lvl9pPr marL="4863428" algn="l" defTabSz="607928" rtl="0" eaLnBrk="1" latinLnBrk="0" hangingPunct="1">
        <a:defRPr sz="239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480252"/>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2" y="6330870"/>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3"/>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018257"/>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09473"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73"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2" indent="-158350" algn="l" defTabSz="609473"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69" indent="-207164" algn="l" defTabSz="609473"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73"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73"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73" rtl="0" eaLnBrk="1" latinLnBrk="0" hangingPunct="1">
        <a:defRPr sz="2400" kern="1200">
          <a:solidFill>
            <a:schemeClr val="tx1"/>
          </a:solidFill>
          <a:latin typeface="+mn-lt"/>
          <a:ea typeface="+mn-ea"/>
          <a:cs typeface="+mn-cs"/>
        </a:defRPr>
      </a:lvl1pPr>
      <a:lvl2pPr marL="609473" algn="l" defTabSz="609473" rtl="0" eaLnBrk="1" latinLnBrk="0" hangingPunct="1">
        <a:defRPr sz="2400" kern="1200">
          <a:solidFill>
            <a:schemeClr val="tx1"/>
          </a:solidFill>
          <a:latin typeface="+mn-lt"/>
          <a:ea typeface="+mn-ea"/>
          <a:cs typeface="+mn-cs"/>
        </a:defRPr>
      </a:lvl2pPr>
      <a:lvl3pPr marL="1218944" algn="l" defTabSz="609473" rtl="0" eaLnBrk="1" latinLnBrk="0" hangingPunct="1">
        <a:defRPr sz="2400" kern="1200">
          <a:solidFill>
            <a:schemeClr val="tx1"/>
          </a:solidFill>
          <a:latin typeface="+mn-lt"/>
          <a:ea typeface="+mn-ea"/>
          <a:cs typeface="+mn-cs"/>
        </a:defRPr>
      </a:lvl3pPr>
      <a:lvl4pPr marL="1828418" algn="l" defTabSz="609473" rtl="0" eaLnBrk="1" latinLnBrk="0" hangingPunct="1">
        <a:defRPr sz="2400" kern="1200">
          <a:solidFill>
            <a:schemeClr val="tx1"/>
          </a:solidFill>
          <a:latin typeface="+mn-lt"/>
          <a:ea typeface="+mn-ea"/>
          <a:cs typeface="+mn-cs"/>
        </a:defRPr>
      </a:lvl4pPr>
      <a:lvl5pPr marL="2437891" algn="l" defTabSz="609473" rtl="0" eaLnBrk="1" latinLnBrk="0" hangingPunct="1">
        <a:defRPr sz="2400" kern="1200">
          <a:solidFill>
            <a:schemeClr val="tx1"/>
          </a:solidFill>
          <a:latin typeface="+mn-lt"/>
          <a:ea typeface="+mn-ea"/>
          <a:cs typeface="+mn-cs"/>
        </a:defRPr>
      </a:lvl5pPr>
      <a:lvl6pPr marL="3047363" algn="l" defTabSz="609473" rtl="0" eaLnBrk="1" latinLnBrk="0" hangingPunct="1">
        <a:defRPr sz="2400" kern="1200">
          <a:solidFill>
            <a:schemeClr val="tx1"/>
          </a:solidFill>
          <a:latin typeface="+mn-lt"/>
          <a:ea typeface="+mn-ea"/>
          <a:cs typeface="+mn-cs"/>
        </a:defRPr>
      </a:lvl6pPr>
      <a:lvl7pPr marL="3656836" algn="l" defTabSz="609473" rtl="0" eaLnBrk="1" latinLnBrk="0" hangingPunct="1">
        <a:defRPr sz="2400" kern="1200">
          <a:solidFill>
            <a:schemeClr val="tx1"/>
          </a:solidFill>
          <a:latin typeface="+mn-lt"/>
          <a:ea typeface="+mn-ea"/>
          <a:cs typeface="+mn-cs"/>
        </a:defRPr>
      </a:lvl7pPr>
      <a:lvl8pPr marL="4266308" algn="l" defTabSz="609473" rtl="0" eaLnBrk="1" latinLnBrk="0" hangingPunct="1">
        <a:defRPr sz="2400" kern="1200">
          <a:solidFill>
            <a:schemeClr val="tx1"/>
          </a:solidFill>
          <a:latin typeface="+mn-lt"/>
          <a:ea typeface="+mn-ea"/>
          <a:cs typeface="+mn-cs"/>
        </a:defRPr>
      </a:lvl8pPr>
      <a:lvl9pPr marL="4875780" algn="l" defTabSz="60947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2" y="6330870"/>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3"/>
            <a:ext cx="10903852" cy="42779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65469070"/>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4000" r:id="rId20"/>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27"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27"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48" indent="-158338" algn="l" defTabSz="609427"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39" indent="-207148" algn="l" defTabSz="609427"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27"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27"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27"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27"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27"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27"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27" rtl="0" eaLnBrk="1" latinLnBrk="0" hangingPunct="1">
        <a:defRPr sz="2400" kern="1200">
          <a:solidFill>
            <a:schemeClr val="tx1"/>
          </a:solidFill>
          <a:latin typeface="+mn-lt"/>
          <a:ea typeface="+mn-ea"/>
          <a:cs typeface="+mn-cs"/>
        </a:defRPr>
      </a:lvl1pPr>
      <a:lvl2pPr marL="609427" algn="l" defTabSz="609427" rtl="0" eaLnBrk="1" latinLnBrk="0" hangingPunct="1">
        <a:defRPr sz="2400" kern="1200">
          <a:solidFill>
            <a:schemeClr val="tx1"/>
          </a:solidFill>
          <a:latin typeface="+mn-lt"/>
          <a:ea typeface="+mn-ea"/>
          <a:cs typeface="+mn-cs"/>
        </a:defRPr>
      </a:lvl2pPr>
      <a:lvl3pPr marL="1218853" algn="l" defTabSz="609427" rtl="0" eaLnBrk="1" latinLnBrk="0" hangingPunct="1">
        <a:defRPr sz="2400" kern="1200">
          <a:solidFill>
            <a:schemeClr val="tx1"/>
          </a:solidFill>
          <a:latin typeface="+mn-lt"/>
          <a:ea typeface="+mn-ea"/>
          <a:cs typeface="+mn-cs"/>
        </a:defRPr>
      </a:lvl3pPr>
      <a:lvl4pPr marL="1828280" algn="l" defTabSz="609427" rtl="0" eaLnBrk="1" latinLnBrk="0" hangingPunct="1">
        <a:defRPr sz="2400" kern="1200">
          <a:solidFill>
            <a:schemeClr val="tx1"/>
          </a:solidFill>
          <a:latin typeface="+mn-lt"/>
          <a:ea typeface="+mn-ea"/>
          <a:cs typeface="+mn-cs"/>
        </a:defRPr>
      </a:lvl4pPr>
      <a:lvl5pPr marL="2437708" algn="l" defTabSz="609427" rtl="0" eaLnBrk="1" latinLnBrk="0" hangingPunct="1">
        <a:defRPr sz="2400" kern="1200">
          <a:solidFill>
            <a:schemeClr val="tx1"/>
          </a:solidFill>
          <a:latin typeface="+mn-lt"/>
          <a:ea typeface="+mn-ea"/>
          <a:cs typeface="+mn-cs"/>
        </a:defRPr>
      </a:lvl5pPr>
      <a:lvl6pPr marL="3047135" algn="l" defTabSz="609427" rtl="0" eaLnBrk="1" latinLnBrk="0" hangingPunct="1">
        <a:defRPr sz="2400" kern="1200">
          <a:solidFill>
            <a:schemeClr val="tx1"/>
          </a:solidFill>
          <a:latin typeface="+mn-lt"/>
          <a:ea typeface="+mn-ea"/>
          <a:cs typeface="+mn-cs"/>
        </a:defRPr>
      </a:lvl6pPr>
      <a:lvl7pPr marL="3656561" algn="l" defTabSz="609427" rtl="0" eaLnBrk="1" latinLnBrk="0" hangingPunct="1">
        <a:defRPr sz="2400" kern="1200">
          <a:solidFill>
            <a:schemeClr val="tx1"/>
          </a:solidFill>
          <a:latin typeface="+mn-lt"/>
          <a:ea typeface="+mn-ea"/>
          <a:cs typeface="+mn-cs"/>
        </a:defRPr>
      </a:lvl7pPr>
      <a:lvl8pPr marL="4265987" algn="l" defTabSz="609427" rtl="0" eaLnBrk="1" latinLnBrk="0" hangingPunct="1">
        <a:defRPr sz="2400" kern="1200">
          <a:solidFill>
            <a:schemeClr val="tx1"/>
          </a:solidFill>
          <a:latin typeface="+mn-lt"/>
          <a:ea typeface="+mn-ea"/>
          <a:cs typeface="+mn-cs"/>
        </a:defRPr>
      </a:lvl8pPr>
      <a:lvl9pPr marL="4875414" algn="l" defTabSz="60942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2" y="6330873"/>
            <a:ext cx="335271"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8"/>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6"/>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6347390"/>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p:txStyles>
    <p:titleStyle>
      <a:lvl1pPr algn="l" defTabSz="609280" rtl="0" eaLnBrk="1" latinLnBrk="0" hangingPunct="1">
        <a:lnSpc>
          <a:spcPct val="89000"/>
        </a:lnSpc>
        <a:spcBef>
          <a:spcPct val="0"/>
        </a:spcBef>
        <a:buNone/>
        <a:defRPr sz="3449" b="1" kern="1200">
          <a:solidFill>
            <a:schemeClr val="tx1"/>
          </a:solidFill>
          <a:latin typeface="+mj-lt"/>
          <a:ea typeface="+mj-ea"/>
          <a:cs typeface="+mj-cs"/>
        </a:defRPr>
      </a:lvl1pPr>
    </p:titleStyle>
    <p:bodyStyle>
      <a:lvl1pPr marL="0" indent="0" algn="l" defTabSz="609280"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04" indent="-158299" algn="l" defTabSz="609280"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343" indent="-207099" algn="l" defTabSz="609280"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280" rtl="0" eaLnBrk="1" latinLnBrk="0" hangingPunct="1">
        <a:spcBef>
          <a:spcPts val="1350"/>
        </a:spcBef>
        <a:spcAft>
          <a:spcPts val="450"/>
        </a:spcAft>
        <a:buFont typeface="Arial" panose="020B0604020202020204" pitchFamily="34" charset="0"/>
        <a:buChar char="​"/>
        <a:defRPr sz="2399" b="1" kern="1200">
          <a:solidFill>
            <a:schemeClr val="tx1"/>
          </a:solidFill>
          <a:latin typeface="+mn-lt"/>
          <a:ea typeface="+mn-ea"/>
          <a:cs typeface="+mn-cs"/>
        </a:defRPr>
      </a:lvl4pPr>
      <a:lvl5pPr marL="0" indent="0" algn="l" defTabSz="609280" rtl="0" eaLnBrk="1" latinLnBrk="0" hangingPunct="1">
        <a:spcBef>
          <a:spcPts val="1350"/>
        </a:spcBef>
        <a:spcAft>
          <a:spcPts val="450"/>
        </a:spcAft>
        <a:buFont typeface="Arial" panose="020B0604020202020204" pitchFamily="34" charset="0"/>
        <a:buChar char="​"/>
        <a:defRPr sz="2399" b="1" kern="1200">
          <a:solidFill>
            <a:schemeClr val="tx1"/>
          </a:solidFill>
          <a:latin typeface="+mn-lt"/>
          <a:ea typeface="+mn-ea"/>
          <a:cs typeface="+mn-cs"/>
        </a:defRPr>
      </a:lvl5pPr>
      <a:lvl6pPr marL="0" indent="0" algn="l" defTabSz="609280" rtl="0" eaLnBrk="1" latinLnBrk="0" hangingPunct="1">
        <a:spcBef>
          <a:spcPts val="1350"/>
        </a:spcBef>
        <a:spcAft>
          <a:spcPts val="450"/>
        </a:spcAft>
        <a:buFont typeface="Arial" panose="020B0604020202020204" pitchFamily="34" charset="0"/>
        <a:buNone/>
        <a:defRPr sz="2399" b="1" kern="1200">
          <a:solidFill>
            <a:schemeClr val="tx1"/>
          </a:solidFill>
          <a:latin typeface="+mn-lt"/>
          <a:ea typeface="+mn-ea"/>
          <a:cs typeface="+mn-cs"/>
        </a:defRPr>
      </a:lvl6pPr>
      <a:lvl7pPr marL="0" indent="0" algn="l" defTabSz="609280" rtl="0" eaLnBrk="1" latinLnBrk="0" hangingPunct="1">
        <a:spcBef>
          <a:spcPts val="1350"/>
        </a:spcBef>
        <a:spcAft>
          <a:spcPts val="450"/>
        </a:spcAft>
        <a:buFont typeface="Arial" panose="020B0604020202020204" pitchFamily="34" charset="0"/>
        <a:buNone/>
        <a:defRPr sz="2399" b="1" kern="1200">
          <a:solidFill>
            <a:schemeClr val="tx1"/>
          </a:solidFill>
          <a:latin typeface="+mn-lt"/>
          <a:ea typeface="+mn-ea"/>
          <a:cs typeface="+mn-cs"/>
        </a:defRPr>
      </a:lvl7pPr>
      <a:lvl8pPr marL="0" indent="0" algn="l" defTabSz="609280" rtl="0" eaLnBrk="1" latinLnBrk="0" hangingPunct="1">
        <a:spcBef>
          <a:spcPts val="1350"/>
        </a:spcBef>
        <a:spcAft>
          <a:spcPts val="450"/>
        </a:spcAft>
        <a:buFont typeface="Arial" panose="020B0604020202020204" pitchFamily="34" charset="0"/>
        <a:buNone/>
        <a:defRPr sz="2399" b="1" kern="1200">
          <a:solidFill>
            <a:schemeClr val="tx1"/>
          </a:solidFill>
          <a:latin typeface="+mn-lt"/>
          <a:ea typeface="+mn-ea"/>
          <a:cs typeface="+mn-cs"/>
        </a:defRPr>
      </a:lvl8pPr>
      <a:lvl9pPr marL="0" indent="0" algn="l" defTabSz="609280" rtl="0" eaLnBrk="1" latinLnBrk="0" hangingPunct="1">
        <a:spcBef>
          <a:spcPts val="1350"/>
        </a:spcBef>
        <a:spcAft>
          <a:spcPts val="450"/>
        </a:spcAft>
        <a:buFont typeface="Arial" panose="020B0604020202020204" pitchFamily="34" charset="0"/>
        <a:buNone/>
        <a:defRPr sz="2399" b="1" kern="1200">
          <a:solidFill>
            <a:schemeClr val="tx1"/>
          </a:solidFill>
          <a:latin typeface="+mn-lt"/>
          <a:ea typeface="+mn-ea"/>
          <a:cs typeface="+mn-cs"/>
        </a:defRPr>
      </a:lvl9pPr>
    </p:bodyStyle>
    <p:otherStyle>
      <a:defPPr>
        <a:defRPr lang="en-US"/>
      </a:defPPr>
      <a:lvl1pPr marL="0" algn="l" defTabSz="609280" rtl="0" eaLnBrk="1" latinLnBrk="0" hangingPunct="1">
        <a:defRPr sz="2399" kern="1200">
          <a:solidFill>
            <a:schemeClr val="tx1"/>
          </a:solidFill>
          <a:latin typeface="+mn-lt"/>
          <a:ea typeface="+mn-ea"/>
          <a:cs typeface="+mn-cs"/>
        </a:defRPr>
      </a:lvl1pPr>
      <a:lvl2pPr marL="609280" algn="l" defTabSz="609280" rtl="0" eaLnBrk="1" latinLnBrk="0" hangingPunct="1">
        <a:defRPr sz="2399" kern="1200">
          <a:solidFill>
            <a:schemeClr val="tx1"/>
          </a:solidFill>
          <a:latin typeface="+mn-lt"/>
          <a:ea typeface="+mn-ea"/>
          <a:cs typeface="+mn-cs"/>
        </a:defRPr>
      </a:lvl2pPr>
      <a:lvl3pPr marL="1218560" algn="l" defTabSz="609280" rtl="0" eaLnBrk="1" latinLnBrk="0" hangingPunct="1">
        <a:defRPr sz="2399" kern="1200">
          <a:solidFill>
            <a:schemeClr val="tx1"/>
          </a:solidFill>
          <a:latin typeface="+mn-lt"/>
          <a:ea typeface="+mn-ea"/>
          <a:cs typeface="+mn-cs"/>
        </a:defRPr>
      </a:lvl3pPr>
      <a:lvl4pPr marL="1827839" algn="l" defTabSz="609280" rtl="0" eaLnBrk="1" latinLnBrk="0" hangingPunct="1">
        <a:defRPr sz="2399" kern="1200">
          <a:solidFill>
            <a:schemeClr val="tx1"/>
          </a:solidFill>
          <a:latin typeface="+mn-lt"/>
          <a:ea typeface="+mn-ea"/>
          <a:cs typeface="+mn-cs"/>
        </a:defRPr>
      </a:lvl4pPr>
      <a:lvl5pPr marL="2437118" algn="l" defTabSz="609280" rtl="0" eaLnBrk="1" latinLnBrk="0" hangingPunct="1">
        <a:defRPr sz="2399" kern="1200">
          <a:solidFill>
            <a:schemeClr val="tx1"/>
          </a:solidFill>
          <a:latin typeface="+mn-lt"/>
          <a:ea typeface="+mn-ea"/>
          <a:cs typeface="+mn-cs"/>
        </a:defRPr>
      </a:lvl5pPr>
      <a:lvl6pPr marL="3046398" algn="l" defTabSz="609280" rtl="0" eaLnBrk="1" latinLnBrk="0" hangingPunct="1">
        <a:defRPr sz="2399" kern="1200">
          <a:solidFill>
            <a:schemeClr val="tx1"/>
          </a:solidFill>
          <a:latin typeface="+mn-lt"/>
          <a:ea typeface="+mn-ea"/>
          <a:cs typeface="+mn-cs"/>
        </a:defRPr>
      </a:lvl6pPr>
      <a:lvl7pPr marL="3655676" algn="l" defTabSz="609280" rtl="0" eaLnBrk="1" latinLnBrk="0" hangingPunct="1">
        <a:defRPr sz="2399" kern="1200">
          <a:solidFill>
            <a:schemeClr val="tx1"/>
          </a:solidFill>
          <a:latin typeface="+mn-lt"/>
          <a:ea typeface="+mn-ea"/>
          <a:cs typeface="+mn-cs"/>
        </a:defRPr>
      </a:lvl7pPr>
      <a:lvl8pPr marL="4264956" algn="l" defTabSz="609280" rtl="0" eaLnBrk="1" latinLnBrk="0" hangingPunct="1">
        <a:defRPr sz="2399" kern="1200">
          <a:solidFill>
            <a:schemeClr val="tx1"/>
          </a:solidFill>
          <a:latin typeface="+mn-lt"/>
          <a:ea typeface="+mn-ea"/>
          <a:cs typeface="+mn-cs"/>
        </a:defRPr>
      </a:lvl8pPr>
      <a:lvl9pPr marL="4874237" algn="l" defTabSz="609280"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90C1826D-8B51-46C1-8734-8480B8624A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dirty="0"/>
              <a:t>SLIDE MESTRE DE IMAGENS</a:t>
            </a:r>
          </a:p>
        </p:txBody>
      </p:sp>
      <p:sp>
        <p:nvSpPr>
          <p:cNvPr id="7" name="Espaço Reservado para Texto 7">
            <a:extLst>
              <a:ext uri="{FF2B5EF4-FFF2-40B4-BE49-F238E27FC236}">
                <a16:creationId xmlns:a16="http://schemas.microsoft.com/office/drawing/2014/main" id="{6ABC81D9-D335-4CBA-AD8B-6B3716642E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dirty="0"/>
              <a:t>Clique para editar os estilos de texto Mestre</a:t>
            </a:r>
          </a:p>
        </p:txBody>
      </p:sp>
    </p:spTree>
    <p:extLst>
      <p:ext uri="{BB962C8B-B14F-4D97-AF65-F5344CB8AC3E}">
        <p14:creationId xmlns:p14="http://schemas.microsoft.com/office/powerpoint/2010/main" val="2586877880"/>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5" r:id="rId15"/>
    <p:sldLayoutId id="2147484036" r:id="rId16"/>
    <p:sldLayoutId id="2147484041" r:id="rId1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rgbClr val="313847"/>
          </a:solidFill>
          <a:latin typeface="Montserrat Medium" panose="00000600000000000000"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13847"/>
          </a:solidFill>
          <a:latin typeface="Montserrat Light"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pic>
        <p:nvPicPr>
          <p:cNvPr id="74" name="Graphic 73">
            <a:extLst>
              <a:ext uri="{FF2B5EF4-FFF2-40B4-BE49-F238E27FC236}">
                <a16:creationId xmlns:a16="http://schemas.microsoft.com/office/drawing/2014/main" id="{ADC6EE75-77DD-4C39-8BC5-B2124068D133}"/>
              </a:ext>
            </a:extLst>
          </p:cNvPr>
          <p:cNvPicPr>
            <a:picLocks noChangeAspect="1"/>
          </p:cNvPicPr>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bwMode="black">
          <a:xfrm>
            <a:off x="10902365" y="6210019"/>
            <a:ext cx="644785" cy="260942"/>
          </a:xfrm>
          <a:prstGeom prst="rect">
            <a:avLst/>
          </a:prstGeom>
        </p:spPr>
      </p:pic>
      <p:pic>
        <p:nvPicPr>
          <p:cNvPr id="7" name="Graphic 6">
            <a:extLst>
              <a:ext uri="{FF2B5EF4-FFF2-40B4-BE49-F238E27FC236}">
                <a16:creationId xmlns:a16="http://schemas.microsoft.com/office/drawing/2014/main" id="{7959C000-FC69-4D3A-84F5-5E94ADA46B58}"/>
              </a:ext>
            </a:extLst>
          </p:cNvPr>
          <p:cNvPicPr>
            <a:picLocks noChangeAspect="1"/>
          </p:cNvPicPr>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bwMode="black">
          <a:xfrm>
            <a:off x="10902365" y="6210019"/>
            <a:ext cx="644785" cy="260942"/>
          </a:xfrm>
          <a:prstGeom prst="rect">
            <a:avLst/>
          </a:prstGeom>
        </p:spPr>
      </p:pic>
      <p:pic>
        <p:nvPicPr>
          <p:cNvPr id="8" name="Graphic 7">
            <a:extLst>
              <a:ext uri="{FF2B5EF4-FFF2-40B4-BE49-F238E27FC236}">
                <a16:creationId xmlns:a16="http://schemas.microsoft.com/office/drawing/2014/main" id="{1459B293-5077-4A52-A0EB-627E02088F3D}"/>
              </a:ext>
            </a:extLst>
          </p:cNvPr>
          <p:cNvPicPr>
            <a:picLocks noChangeAspect="1"/>
          </p:cNvPicPr>
          <p:nvPr userDrawn="1"/>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bwMode="black">
          <a:xfrm>
            <a:off x="10902365" y="6210019"/>
            <a:ext cx="644785" cy="260942"/>
          </a:xfrm>
          <a:prstGeom prst="rect">
            <a:avLst/>
          </a:prstGeom>
        </p:spPr>
      </p:pic>
    </p:spTree>
    <p:extLst>
      <p:ext uri="{BB962C8B-B14F-4D97-AF65-F5344CB8AC3E}">
        <p14:creationId xmlns:p14="http://schemas.microsoft.com/office/powerpoint/2010/main" val="409697335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blipFill dpi="0" rotWithShape="1">
          <a:blip r:embed="rId37">
            <a:lum/>
          </a:blip>
          <a:srcRect/>
          <a:stretch>
            <a:fillRect/>
          </a:stretch>
        </a:blipFill>
        <a:effectLst/>
      </p:bgPr>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C0B9900C-7F17-49A3-9082-7DF58537C854}"/>
              </a:ext>
            </a:extLst>
          </p:cNvPr>
          <p:cNvSpPr txBox="1">
            <a:spLocks/>
          </p:cNvSpPr>
          <p:nvPr/>
        </p:nvSpPr>
        <p:spPr>
          <a:xfrm rot="16200000">
            <a:off x="-1092425" y="4954793"/>
            <a:ext cx="2776889" cy="236537"/>
          </a:xfrm>
          <a:prstGeom prst="rect">
            <a:avLst/>
          </a:prstGeom>
        </p:spPr>
        <p:txBody>
          <a:bodyPr/>
          <a:lstStyle>
            <a:defPPr>
              <a:defRPr lang="en-US"/>
            </a:defPPr>
            <a:lvl1pPr>
              <a:defRPr sz="1200">
                <a:solidFill>
                  <a:schemeClr val="tx1">
                    <a:lumMod val="50000"/>
                    <a:lumOff val="50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pt-BR">
                <a:solidFill>
                  <a:schemeClr val="bg1">
                    <a:lumMod val="65000"/>
                  </a:schemeClr>
                </a:solidFill>
              </a:rPr>
              <a:t>www.fit-tecnologia.org.br</a:t>
            </a:r>
            <a:endParaRPr lang="pt-BR" dirty="0">
              <a:solidFill>
                <a:schemeClr val="bg1">
                  <a:lumMod val="65000"/>
                </a:schemeClr>
              </a:solidFill>
            </a:endParaRPr>
          </a:p>
        </p:txBody>
      </p:sp>
    </p:spTree>
    <p:extLst>
      <p:ext uri="{BB962C8B-B14F-4D97-AF65-F5344CB8AC3E}">
        <p14:creationId xmlns:p14="http://schemas.microsoft.com/office/powerpoint/2010/main" val="2447016083"/>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054" r:id="rId12"/>
    <p:sldLayoutId id="2147484055" r:id="rId13"/>
    <p:sldLayoutId id="2147484056" r:id="rId14"/>
    <p:sldLayoutId id="2147484057" r:id="rId15"/>
    <p:sldLayoutId id="2147484058" r:id="rId16"/>
    <p:sldLayoutId id="2147484059" r:id="rId17"/>
    <p:sldLayoutId id="2147484060" r:id="rId18"/>
    <p:sldLayoutId id="2147484061" r:id="rId19"/>
    <p:sldLayoutId id="2147484062" r:id="rId20"/>
    <p:sldLayoutId id="2147484063" r:id="rId21"/>
    <p:sldLayoutId id="2147484064" r:id="rId22"/>
    <p:sldLayoutId id="2147484065" r:id="rId23"/>
    <p:sldLayoutId id="2147484066" r:id="rId24"/>
    <p:sldLayoutId id="2147484067" r:id="rId25"/>
    <p:sldLayoutId id="2147484068" r:id="rId26"/>
    <p:sldLayoutId id="2147484069" r:id="rId27"/>
    <p:sldLayoutId id="2147484070" r:id="rId28"/>
    <p:sldLayoutId id="2147484071" r:id="rId29"/>
    <p:sldLayoutId id="2147484072" r:id="rId30"/>
    <p:sldLayoutId id="2147484073" r:id="rId31"/>
    <p:sldLayoutId id="2147484074" r:id="rId32"/>
    <p:sldLayoutId id="2147484139" r:id="rId33"/>
    <p:sldLayoutId id="2147484140" r:id="rId34"/>
    <p:sldLayoutId id="2147484141" r:id="rId3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90C1826D-8B51-46C1-8734-8480B8624A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dirty="0"/>
              <a:t>SLIDE MESTRE DE IMAGENS</a:t>
            </a:r>
          </a:p>
        </p:txBody>
      </p:sp>
      <p:sp>
        <p:nvSpPr>
          <p:cNvPr id="7" name="Espaço Reservado para Texto 7">
            <a:extLst>
              <a:ext uri="{FF2B5EF4-FFF2-40B4-BE49-F238E27FC236}">
                <a16:creationId xmlns:a16="http://schemas.microsoft.com/office/drawing/2014/main" id="{6ABC81D9-D335-4CBA-AD8B-6B3716642E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dirty="0"/>
              <a:t>Clique para editar os estilos de texto Mestre</a:t>
            </a:r>
          </a:p>
        </p:txBody>
      </p:sp>
    </p:spTree>
    <p:extLst>
      <p:ext uri="{BB962C8B-B14F-4D97-AF65-F5344CB8AC3E}">
        <p14:creationId xmlns:p14="http://schemas.microsoft.com/office/powerpoint/2010/main" val="1571349984"/>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rgbClr val="313847"/>
          </a:solidFill>
          <a:latin typeface="Montserrat Medium" panose="00000600000000000000"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13847"/>
          </a:solidFill>
          <a:latin typeface="Montserrat Light"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90C1826D-8B51-46C1-8734-8480B8624A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dirty="0"/>
              <a:t>SLIDE MESTRE DE IMAGENS</a:t>
            </a:r>
          </a:p>
        </p:txBody>
      </p:sp>
      <p:sp>
        <p:nvSpPr>
          <p:cNvPr id="7" name="Espaço Reservado para Texto 7">
            <a:extLst>
              <a:ext uri="{FF2B5EF4-FFF2-40B4-BE49-F238E27FC236}">
                <a16:creationId xmlns:a16="http://schemas.microsoft.com/office/drawing/2014/main" id="{6ABC81D9-D335-4CBA-AD8B-6B3716642E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dirty="0"/>
              <a:t>Clique para editar os estilos de texto Mestre</a:t>
            </a:r>
          </a:p>
        </p:txBody>
      </p:sp>
    </p:spTree>
    <p:extLst>
      <p:ext uri="{BB962C8B-B14F-4D97-AF65-F5344CB8AC3E}">
        <p14:creationId xmlns:p14="http://schemas.microsoft.com/office/powerpoint/2010/main" val="1890364784"/>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4137" r:id="rId27"/>
    <p:sldLayoutId id="2147484138" r:id="rId2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rgbClr val="313847"/>
          </a:solidFill>
          <a:latin typeface="Montserrat Medium" panose="00000600000000000000"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313847"/>
          </a:solidFill>
          <a:latin typeface="Montserrat Light"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044865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2" y="6330870"/>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898" smtClean="0">
                <a:solidFill>
                  <a:schemeClr val="bg1"/>
                </a:solidFill>
              </a:rPr>
              <a:pPr/>
              <a:t>‹#›</a:t>
            </a:fld>
            <a:endParaRPr lang="en-US" sz="898">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5" y="171455"/>
            <a:ext cx="10907596"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4" y="1573833"/>
            <a:ext cx="10903853"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325440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07928" rtl="0" eaLnBrk="1" latinLnBrk="0" hangingPunct="1">
        <a:lnSpc>
          <a:spcPct val="89000"/>
        </a:lnSpc>
        <a:spcBef>
          <a:spcPct val="0"/>
        </a:spcBef>
        <a:buNone/>
        <a:defRPr sz="3441" b="1" kern="1200">
          <a:solidFill>
            <a:schemeClr val="tx1"/>
          </a:solidFill>
          <a:latin typeface="+mj-lt"/>
          <a:ea typeface="+mj-ea"/>
          <a:cs typeface="+mj-cs"/>
        </a:defRPr>
      </a:lvl1pPr>
    </p:titleStyle>
    <p:bodyStyle>
      <a:lvl1pPr marL="0" indent="0" algn="l" defTabSz="607928" rtl="0" eaLnBrk="1" latinLnBrk="0" hangingPunct="1">
        <a:spcBef>
          <a:spcPts val="449"/>
        </a:spcBef>
        <a:spcAft>
          <a:spcPts val="449"/>
        </a:spcAft>
        <a:buFont typeface="Arial" panose="020B0604020202020204" pitchFamily="34" charset="0"/>
        <a:buChar char="​"/>
        <a:defRPr sz="1795" kern="1200">
          <a:solidFill>
            <a:schemeClr val="tx1"/>
          </a:solidFill>
          <a:latin typeface="+mn-lt"/>
          <a:ea typeface="+mn-ea"/>
          <a:cs typeface="+mn-cs"/>
        </a:defRPr>
      </a:lvl1pPr>
      <a:lvl2pPr marL="181700" indent="-157948" algn="l" defTabSz="607928" rtl="0" eaLnBrk="1" latinLnBrk="0" hangingPunct="1">
        <a:spcBef>
          <a:spcPts val="0"/>
        </a:spcBef>
        <a:spcAft>
          <a:spcPts val="449"/>
        </a:spcAft>
        <a:buFont typeface="Arial" panose="020B0604020202020204" pitchFamily="34" charset="0"/>
        <a:buChar char="•"/>
        <a:tabLst/>
        <a:defRPr sz="1496" kern="1200">
          <a:solidFill>
            <a:schemeClr val="tx1"/>
          </a:solidFill>
          <a:latin typeface="+mn-lt"/>
          <a:ea typeface="+mn-ea"/>
          <a:cs typeface="+mn-cs"/>
        </a:defRPr>
      </a:lvl2pPr>
      <a:lvl3pPr marL="395464" indent="-206639" algn="l" defTabSz="607928" rtl="0" eaLnBrk="1" latinLnBrk="0" hangingPunct="1">
        <a:spcBef>
          <a:spcPts val="0"/>
        </a:spcBef>
        <a:spcAft>
          <a:spcPts val="449"/>
        </a:spcAft>
        <a:buFont typeface="Arial" panose="020B0604020202020204" pitchFamily="34" charset="0"/>
        <a:buChar char="–"/>
        <a:defRPr sz="1496" kern="1200">
          <a:solidFill>
            <a:schemeClr val="tx1"/>
          </a:solidFill>
          <a:latin typeface="+mn-lt"/>
          <a:ea typeface="+mn-ea"/>
          <a:cs typeface="+mn-cs"/>
        </a:defRPr>
      </a:lvl3pPr>
      <a:lvl4pPr marL="0" indent="0" algn="l" defTabSz="607928" rtl="0" eaLnBrk="1" latinLnBrk="0" hangingPunct="1">
        <a:spcBef>
          <a:spcPts val="1347"/>
        </a:spcBef>
        <a:spcAft>
          <a:spcPts val="449"/>
        </a:spcAft>
        <a:buFont typeface="Arial" panose="020B0604020202020204" pitchFamily="34" charset="0"/>
        <a:buChar char="​"/>
        <a:defRPr sz="2394" b="1" kern="1200">
          <a:solidFill>
            <a:schemeClr val="tx1"/>
          </a:solidFill>
          <a:latin typeface="+mn-lt"/>
          <a:ea typeface="+mn-ea"/>
          <a:cs typeface="+mn-cs"/>
        </a:defRPr>
      </a:lvl4pPr>
      <a:lvl5pPr marL="0" indent="0" algn="l" defTabSz="607928" rtl="0" eaLnBrk="1" latinLnBrk="0" hangingPunct="1">
        <a:spcBef>
          <a:spcPts val="1347"/>
        </a:spcBef>
        <a:spcAft>
          <a:spcPts val="449"/>
        </a:spcAft>
        <a:buFont typeface="Arial" panose="020B0604020202020204" pitchFamily="34" charset="0"/>
        <a:buChar char="​"/>
        <a:defRPr sz="2394" b="1" kern="1200">
          <a:solidFill>
            <a:schemeClr val="tx1"/>
          </a:solidFill>
          <a:latin typeface="+mn-lt"/>
          <a:ea typeface="+mn-ea"/>
          <a:cs typeface="+mn-cs"/>
        </a:defRPr>
      </a:lvl5pPr>
      <a:lvl6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6pPr>
      <a:lvl7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7pPr>
      <a:lvl8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8pPr>
      <a:lvl9pPr marL="0" indent="0" algn="l" defTabSz="607928" rtl="0" eaLnBrk="1" latinLnBrk="0" hangingPunct="1">
        <a:spcBef>
          <a:spcPts val="1347"/>
        </a:spcBef>
        <a:spcAft>
          <a:spcPts val="449"/>
        </a:spcAft>
        <a:buFont typeface="Arial" panose="020B0604020202020204" pitchFamily="34" charset="0"/>
        <a:buNone/>
        <a:defRPr sz="2394" b="1" kern="1200">
          <a:solidFill>
            <a:schemeClr val="tx1"/>
          </a:solidFill>
          <a:latin typeface="+mn-lt"/>
          <a:ea typeface="+mn-ea"/>
          <a:cs typeface="+mn-cs"/>
        </a:defRPr>
      </a:lvl9pPr>
    </p:bodyStyle>
    <p:otherStyle>
      <a:defPPr>
        <a:defRPr lang="en-US"/>
      </a:defPPr>
      <a:lvl1pPr marL="0" algn="l" defTabSz="607928" rtl="0" eaLnBrk="1" latinLnBrk="0" hangingPunct="1">
        <a:defRPr sz="2394" kern="1200">
          <a:solidFill>
            <a:schemeClr val="tx1"/>
          </a:solidFill>
          <a:latin typeface="+mn-lt"/>
          <a:ea typeface="+mn-ea"/>
          <a:cs typeface="+mn-cs"/>
        </a:defRPr>
      </a:lvl1pPr>
      <a:lvl2pPr marL="607928" algn="l" defTabSz="607928" rtl="0" eaLnBrk="1" latinLnBrk="0" hangingPunct="1">
        <a:defRPr sz="2394" kern="1200">
          <a:solidFill>
            <a:schemeClr val="tx1"/>
          </a:solidFill>
          <a:latin typeface="+mn-lt"/>
          <a:ea typeface="+mn-ea"/>
          <a:cs typeface="+mn-cs"/>
        </a:defRPr>
      </a:lvl2pPr>
      <a:lvl3pPr marL="1215857" algn="l" defTabSz="607928" rtl="0" eaLnBrk="1" latinLnBrk="0" hangingPunct="1">
        <a:defRPr sz="2394" kern="1200">
          <a:solidFill>
            <a:schemeClr val="tx1"/>
          </a:solidFill>
          <a:latin typeface="+mn-lt"/>
          <a:ea typeface="+mn-ea"/>
          <a:cs typeface="+mn-cs"/>
        </a:defRPr>
      </a:lvl3pPr>
      <a:lvl4pPr marL="1823785" algn="l" defTabSz="607928" rtl="0" eaLnBrk="1" latinLnBrk="0" hangingPunct="1">
        <a:defRPr sz="2394" kern="1200">
          <a:solidFill>
            <a:schemeClr val="tx1"/>
          </a:solidFill>
          <a:latin typeface="+mn-lt"/>
          <a:ea typeface="+mn-ea"/>
          <a:cs typeface="+mn-cs"/>
        </a:defRPr>
      </a:lvl4pPr>
      <a:lvl5pPr marL="2431715" algn="l" defTabSz="607928" rtl="0" eaLnBrk="1" latinLnBrk="0" hangingPunct="1">
        <a:defRPr sz="2394" kern="1200">
          <a:solidFill>
            <a:schemeClr val="tx1"/>
          </a:solidFill>
          <a:latin typeface="+mn-lt"/>
          <a:ea typeface="+mn-ea"/>
          <a:cs typeface="+mn-cs"/>
        </a:defRPr>
      </a:lvl5pPr>
      <a:lvl6pPr marL="3039643" algn="l" defTabSz="607928" rtl="0" eaLnBrk="1" latinLnBrk="0" hangingPunct="1">
        <a:defRPr sz="2394" kern="1200">
          <a:solidFill>
            <a:schemeClr val="tx1"/>
          </a:solidFill>
          <a:latin typeface="+mn-lt"/>
          <a:ea typeface="+mn-ea"/>
          <a:cs typeface="+mn-cs"/>
        </a:defRPr>
      </a:lvl6pPr>
      <a:lvl7pPr marL="3647571" algn="l" defTabSz="607928" rtl="0" eaLnBrk="1" latinLnBrk="0" hangingPunct="1">
        <a:defRPr sz="2394" kern="1200">
          <a:solidFill>
            <a:schemeClr val="tx1"/>
          </a:solidFill>
          <a:latin typeface="+mn-lt"/>
          <a:ea typeface="+mn-ea"/>
          <a:cs typeface="+mn-cs"/>
        </a:defRPr>
      </a:lvl7pPr>
      <a:lvl8pPr marL="4255499" algn="l" defTabSz="607928" rtl="0" eaLnBrk="1" latinLnBrk="0" hangingPunct="1">
        <a:defRPr sz="2394" kern="1200">
          <a:solidFill>
            <a:schemeClr val="tx1"/>
          </a:solidFill>
          <a:latin typeface="+mn-lt"/>
          <a:ea typeface="+mn-ea"/>
          <a:cs typeface="+mn-cs"/>
        </a:defRPr>
      </a:lvl8pPr>
      <a:lvl9pPr marL="4863428" algn="l" defTabSz="607928" rtl="0" eaLnBrk="1" latinLnBrk="0" hangingPunct="1">
        <a:defRPr sz="239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05196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ctr" defTabSz="609021" rtl="0" eaLnBrk="1" latinLnBrk="0" hangingPunct="1">
        <a:spcBef>
          <a:spcPct val="0"/>
        </a:spcBef>
        <a:buNone/>
        <a:defRPr sz="5861" kern="1200">
          <a:solidFill>
            <a:schemeClr val="tx1"/>
          </a:solidFill>
          <a:latin typeface="+mj-lt"/>
          <a:ea typeface="+mj-ea"/>
          <a:cs typeface="+mj-cs"/>
        </a:defRPr>
      </a:lvl1pPr>
    </p:titleStyle>
    <p:bodyStyle>
      <a:lvl1pPr marL="456766" indent="-456766" algn="l" defTabSz="609021" rtl="0" eaLnBrk="1" latinLnBrk="0" hangingPunct="1">
        <a:spcBef>
          <a:spcPct val="20000"/>
        </a:spcBef>
        <a:buFont typeface="Arial"/>
        <a:buChar char="•"/>
        <a:defRPr sz="4263" kern="1200">
          <a:solidFill>
            <a:schemeClr val="tx1"/>
          </a:solidFill>
          <a:latin typeface="+mn-lt"/>
          <a:ea typeface="+mn-ea"/>
          <a:cs typeface="+mn-cs"/>
        </a:defRPr>
      </a:lvl1pPr>
      <a:lvl2pPr marL="989660" indent="-380639" algn="l" defTabSz="609021" rtl="0" eaLnBrk="1" latinLnBrk="0" hangingPunct="1">
        <a:spcBef>
          <a:spcPct val="20000"/>
        </a:spcBef>
        <a:buFont typeface="Arial"/>
        <a:buChar char="–"/>
        <a:defRPr sz="3730" kern="1200">
          <a:solidFill>
            <a:schemeClr val="tx1"/>
          </a:solidFill>
          <a:latin typeface="+mn-lt"/>
          <a:ea typeface="+mn-ea"/>
          <a:cs typeface="+mn-cs"/>
        </a:defRPr>
      </a:lvl2pPr>
      <a:lvl3pPr marL="1522552" indent="-304511" algn="l" defTabSz="609021" rtl="0" eaLnBrk="1" latinLnBrk="0" hangingPunct="1">
        <a:spcBef>
          <a:spcPct val="20000"/>
        </a:spcBef>
        <a:buFont typeface="Arial"/>
        <a:buChar char="•"/>
        <a:defRPr sz="3197" kern="1200">
          <a:solidFill>
            <a:schemeClr val="tx1"/>
          </a:solidFill>
          <a:latin typeface="+mn-lt"/>
          <a:ea typeface="+mn-ea"/>
          <a:cs typeface="+mn-cs"/>
        </a:defRPr>
      </a:lvl3pPr>
      <a:lvl4pPr marL="2131573" indent="-304511" algn="l" defTabSz="609021" rtl="0" eaLnBrk="1" latinLnBrk="0" hangingPunct="1">
        <a:spcBef>
          <a:spcPct val="20000"/>
        </a:spcBef>
        <a:buFont typeface="Arial"/>
        <a:buChar char="–"/>
        <a:defRPr sz="2664" kern="1200">
          <a:solidFill>
            <a:schemeClr val="tx1"/>
          </a:solidFill>
          <a:latin typeface="+mn-lt"/>
          <a:ea typeface="+mn-ea"/>
          <a:cs typeface="+mn-cs"/>
        </a:defRPr>
      </a:lvl4pPr>
      <a:lvl5pPr marL="2740595" indent="-304511" algn="l" defTabSz="609021" rtl="0" eaLnBrk="1" latinLnBrk="0" hangingPunct="1">
        <a:spcBef>
          <a:spcPct val="20000"/>
        </a:spcBef>
        <a:buFont typeface="Arial"/>
        <a:buChar char="»"/>
        <a:defRPr sz="2664" kern="1200">
          <a:solidFill>
            <a:schemeClr val="tx1"/>
          </a:solidFill>
          <a:latin typeface="+mn-lt"/>
          <a:ea typeface="+mn-ea"/>
          <a:cs typeface="+mn-cs"/>
        </a:defRPr>
      </a:lvl5pPr>
      <a:lvl6pPr marL="3349616" indent="-304511" algn="l" defTabSz="609021" rtl="0" eaLnBrk="1" latinLnBrk="0" hangingPunct="1">
        <a:spcBef>
          <a:spcPct val="20000"/>
        </a:spcBef>
        <a:buFont typeface="Arial"/>
        <a:buChar char="•"/>
        <a:defRPr sz="2664" kern="1200">
          <a:solidFill>
            <a:schemeClr val="tx1"/>
          </a:solidFill>
          <a:latin typeface="+mn-lt"/>
          <a:ea typeface="+mn-ea"/>
          <a:cs typeface="+mn-cs"/>
        </a:defRPr>
      </a:lvl6pPr>
      <a:lvl7pPr marL="3958636" indent="-304511" algn="l" defTabSz="609021" rtl="0" eaLnBrk="1" latinLnBrk="0" hangingPunct="1">
        <a:spcBef>
          <a:spcPct val="20000"/>
        </a:spcBef>
        <a:buFont typeface="Arial"/>
        <a:buChar char="•"/>
        <a:defRPr sz="2664" kern="1200">
          <a:solidFill>
            <a:schemeClr val="tx1"/>
          </a:solidFill>
          <a:latin typeface="+mn-lt"/>
          <a:ea typeface="+mn-ea"/>
          <a:cs typeface="+mn-cs"/>
        </a:defRPr>
      </a:lvl7pPr>
      <a:lvl8pPr marL="4567657" indent="-304511" algn="l" defTabSz="609021" rtl="0" eaLnBrk="1" latinLnBrk="0" hangingPunct="1">
        <a:spcBef>
          <a:spcPct val="20000"/>
        </a:spcBef>
        <a:buFont typeface="Arial"/>
        <a:buChar char="•"/>
        <a:defRPr sz="2664" kern="1200">
          <a:solidFill>
            <a:schemeClr val="tx1"/>
          </a:solidFill>
          <a:latin typeface="+mn-lt"/>
          <a:ea typeface="+mn-ea"/>
          <a:cs typeface="+mn-cs"/>
        </a:defRPr>
      </a:lvl8pPr>
      <a:lvl9pPr marL="5176678" indent="-304511" algn="l" defTabSz="609021" rtl="0" eaLnBrk="1" latinLnBrk="0" hangingPunct="1">
        <a:spcBef>
          <a:spcPct val="20000"/>
        </a:spcBef>
        <a:buFont typeface="Arial"/>
        <a:buChar char="•"/>
        <a:defRPr sz="2664" kern="1200">
          <a:solidFill>
            <a:schemeClr val="tx1"/>
          </a:solidFill>
          <a:latin typeface="+mn-lt"/>
          <a:ea typeface="+mn-ea"/>
          <a:cs typeface="+mn-cs"/>
        </a:defRPr>
      </a:lvl9pPr>
    </p:bodyStyle>
    <p:otherStyle>
      <a:defPPr>
        <a:defRPr lang="en-US"/>
      </a:defPPr>
      <a:lvl1pPr marL="0" algn="l" defTabSz="609021" rtl="0" eaLnBrk="1" latinLnBrk="0" hangingPunct="1">
        <a:defRPr sz="2398" kern="1200">
          <a:solidFill>
            <a:schemeClr val="tx1"/>
          </a:solidFill>
          <a:latin typeface="+mn-lt"/>
          <a:ea typeface="+mn-ea"/>
          <a:cs typeface="+mn-cs"/>
        </a:defRPr>
      </a:lvl1pPr>
      <a:lvl2pPr marL="609021" algn="l" defTabSz="609021" rtl="0" eaLnBrk="1" latinLnBrk="0" hangingPunct="1">
        <a:defRPr sz="2398" kern="1200">
          <a:solidFill>
            <a:schemeClr val="tx1"/>
          </a:solidFill>
          <a:latin typeface="+mn-lt"/>
          <a:ea typeface="+mn-ea"/>
          <a:cs typeface="+mn-cs"/>
        </a:defRPr>
      </a:lvl2pPr>
      <a:lvl3pPr marL="1218041" algn="l" defTabSz="609021" rtl="0" eaLnBrk="1" latinLnBrk="0" hangingPunct="1">
        <a:defRPr sz="2398" kern="1200">
          <a:solidFill>
            <a:schemeClr val="tx1"/>
          </a:solidFill>
          <a:latin typeface="+mn-lt"/>
          <a:ea typeface="+mn-ea"/>
          <a:cs typeface="+mn-cs"/>
        </a:defRPr>
      </a:lvl3pPr>
      <a:lvl4pPr marL="1827062" algn="l" defTabSz="609021" rtl="0" eaLnBrk="1" latinLnBrk="0" hangingPunct="1">
        <a:defRPr sz="2398" kern="1200">
          <a:solidFill>
            <a:schemeClr val="tx1"/>
          </a:solidFill>
          <a:latin typeface="+mn-lt"/>
          <a:ea typeface="+mn-ea"/>
          <a:cs typeface="+mn-cs"/>
        </a:defRPr>
      </a:lvl4pPr>
      <a:lvl5pPr marL="2436083" algn="l" defTabSz="609021" rtl="0" eaLnBrk="1" latinLnBrk="0" hangingPunct="1">
        <a:defRPr sz="2398" kern="1200">
          <a:solidFill>
            <a:schemeClr val="tx1"/>
          </a:solidFill>
          <a:latin typeface="+mn-lt"/>
          <a:ea typeface="+mn-ea"/>
          <a:cs typeface="+mn-cs"/>
        </a:defRPr>
      </a:lvl5pPr>
      <a:lvl6pPr marL="3045105" algn="l" defTabSz="609021" rtl="0" eaLnBrk="1" latinLnBrk="0" hangingPunct="1">
        <a:defRPr sz="2398" kern="1200">
          <a:solidFill>
            <a:schemeClr val="tx1"/>
          </a:solidFill>
          <a:latin typeface="+mn-lt"/>
          <a:ea typeface="+mn-ea"/>
          <a:cs typeface="+mn-cs"/>
        </a:defRPr>
      </a:lvl6pPr>
      <a:lvl7pPr marL="3654126" algn="l" defTabSz="609021" rtl="0" eaLnBrk="1" latinLnBrk="0" hangingPunct="1">
        <a:defRPr sz="2398" kern="1200">
          <a:solidFill>
            <a:schemeClr val="tx1"/>
          </a:solidFill>
          <a:latin typeface="+mn-lt"/>
          <a:ea typeface="+mn-ea"/>
          <a:cs typeface="+mn-cs"/>
        </a:defRPr>
      </a:lvl7pPr>
      <a:lvl8pPr marL="4263146" algn="l" defTabSz="609021" rtl="0" eaLnBrk="1" latinLnBrk="0" hangingPunct="1">
        <a:defRPr sz="2398" kern="1200">
          <a:solidFill>
            <a:schemeClr val="tx1"/>
          </a:solidFill>
          <a:latin typeface="+mn-lt"/>
          <a:ea typeface="+mn-ea"/>
          <a:cs typeface="+mn-cs"/>
        </a:defRPr>
      </a:lvl8pPr>
      <a:lvl9pPr marL="4872167" algn="l" defTabSz="609021" rtl="0" eaLnBrk="1" latinLnBrk="0" hangingPunct="1">
        <a:defRPr sz="239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tx1"/>
                </a:solidFill>
              </a:rPr>
              <a:pPr/>
              <a:t>‹#›</a:t>
            </a:fld>
            <a:endParaRPr lang="en-US" sz="900">
              <a:solidFill>
                <a:schemeClr val="tx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pic>
        <p:nvPicPr>
          <p:cNvPr id="74" name="Graphic 73">
            <a:extLst>
              <a:ext uri="{FF2B5EF4-FFF2-40B4-BE49-F238E27FC236}">
                <a16:creationId xmlns:a16="http://schemas.microsoft.com/office/drawing/2014/main" id="{ADC6EE75-77DD-4C39-8BC5-B2124068D13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bwMode="black">
          <a:xfrm>
            <a:off x="10902365" y="6210019"/>
            <a:ext cx="644785" cy="260942"/>
          </a:xfrm>
          <a:prstGeom prst="rect">
            <a:avLst/>
          </a:prstGeom>
        </p:spPr>
      </p:pic>
      <p:pic>
        <p:nvPicPr>
          <p:cNvPr id="7" name="Graphic 6">
            <a:extLst>
              <a:ext uri="{FF2B5EF4-FFF2-40B4-BE49-F238E27FC236}">
                <a16:creationId xmlns:a16="http://schemas.microsoft.com/office/drawing/2014/main" id="{7959C000-FC69-4D3A-84F5-5E94ADA46B58}"/>
              </a:ext>
            </a:extLst>
          </p:cNvPr>
          <p:cNvPicPr>
            <a:picLocks noChangeAspect="1"/>
          </p:cNvPicPr>
          <p:nvPr/>
        </p:nvPicPr>
        <p:blipFill>
          <a:blip r:embed="rId27">
            <a:extLst>
              <a:ext uri="{96DAC541-7B7A-43D3-8B79-37D633B846F1}">
                <asvg:svgBlip xmlns:asvg="http://schemas.microsoft.com/office/drawing/2016/SVG/main" r:embed="rId29"/>
              </a:ext>
            </a:extLst>
          </a:blip>
          <a:stretch>
            <a:fillRect/>
          </a:stretch>
        </p:blipFill>
        <p:spPr bwMode="black">
          <a:xfrm>
            <a:off x="10902365" y="6210019"/>
            <a:ext cx="644785" cy="260942"/>
          </a:xfrm>
          <a:prstGeom prst="rect">
            <a:avLst/>
          </a:prstGeom>
        </p:spPr>
      </p:pic>
      <p:pic>
        <p:nvPicPr>
          <p:cNvPr id="8" name="Graphic 7">
            <a:extLst>
              <a:ext uri="{FF2B5EF4-FFF2-40B4-BE49-F238E27FC236}">
                <a16:creationId xmlns:a16="http://schemas.microsoft.com/office/drawing/2014/main" id="{1459B293-5077-4A52-A0EB-627E02088F3D}"/>
              </a:ext>
            </a:extLst>
          </p:cNvPr>
          <p:cNvPicPr>
            <a:picLocks noChangeAspect="1"/>
          </p:cNvPicPr>
          <p:nvPr userDrawn="1"/>
        </p:nvPicPr>
        <p:blipFill>
          <a:blip r:embed="rId27">
            <a:extLst>
              <a:ext uri="{96DAC541-7B7A-43D3-8B79-37D633B846F1}">
                <asvg:svgBlip xmlns:asvg="http://schemas.microsoft.com/office/drawing/2016/SVG/main" r:embed="rId29"/>
              </a:ext>
            </a:extLst>
          </a:blip>
          <a:stretch>
            <a:fillRect/>
          </a:stretch>
        </p:blipFill>
        <p:spPr bwMode="black">
          <a:xfrm>
            <a:off x="10902365" y="6210019"/>
            <a:ext cx="644785" cy="260942"/>
          </a:xfrm>
          <a:prstGeom prst="rect">
            <a:avLst/>
          </a:prstGeom>
        </p:spPr>
      </p:pic>
    </p:spTree>
    <p:extLst>
      <p:ext uri="{BB962C8B-B14F-4D97-AF65-F5344CB8AC3E}">
        <p14:creationId xmlns:p14="http://schemas.microsoft.com/office/powerpoint/2010/main" val="86091570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17220" y="217961"/>
            <a:ext cx="10972038" cy="902187"/>
          </a:xfrm>
          <a:prstGeom prst="rect">
            <a:avLst/>
          </a:prstGeom>
        </p:spPr>
        <p:txBody>
          <a:bodyPr vert="horz" lIns="0" tIns="0" rIns="0" bIns="0" rtlCol="0" anchor="b">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19386" y="1543050"/>
            <a:ext cx="10972800" cy="44577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26194527"/>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609473"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73" rtl="0" eaLnBrk="1" latinLnBrk="0" hangingPunct="1">
        <a:spcBef>
          <a:spcPts val="900"/>
        </a:spcBef>
        <a:spcAft>
          <a:spcPts val="900"/>
        </a:spcAft>
        <a:buFont typeface="Arial" panose="020B0604020202020204" pitchFamily="34" charset="0"/>
        <a:buChar char="​"/>
        <a:defRPr sz="1800" b="0" kern="1200">
          <a:solidFill>
            <a:schemeClr val="tx1"/>
          </a:solidFill>
          <a:latin typeface="+mn-lt"/>
          <a:ea typeface="+mn-ea"/>
          <a:cs typeface="+mn-cs"/>
        </a:defRPr>
      </a:lvl1pPr>
      <a:lvl2pPr marL="205735" indent="-171446" algn="l" defTabSz="609473"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480048" indent="-171446" algn="l" defTabSz="609473"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754361" indent="-171446" algn="l" defTabSz="609473" rtl="0" eaLnBrk="1" latinLnBrk="0" hangingPunct="1">
        <a:spcBef>
          <a:spcPts val="0"/>
        </a:spcBef>
        <a:spcAft>
          <a:spcPts val="450"/>
        </a:spcAft>
        <a:buFont typeface="Courier New" panose="02070309020205020404" pitchFamily="49" charset="0"/>
        <a:buChar char="o"/>
        <a:defRPr sz="1350" b="0" kern="1200">
          <a:solidFill>
            <a:schemeClr val="tx1"/>
          </a:solidFill>
          <a:latin typeface="+mn-lt"/>
          <a:ea typeface="+mn-ea"/>
          <a:cs typeface="+mn-cs"/>
        </a:defRPr>
      </a:lvl4pPr>
      <a:lvl5pPr marL="0" indent="0" algn="l" defTabSz="609473"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73" rtl="0" eaLnBrk="1" latinLnBrk="0" hangingPunct="1">
        <a:defRPr sz="2400" kern="1200">
          <a:solidFill>
            <a:schemeClr val="tx1"/>
          </a:solidFill>
          <a:latin typeface="+mn-lt"/>
          <a:ea typeface="+mn-ea"/>
          <a:cs typeface="+mn-cs"/>
        </a:defRPr>
      </a:lvl1pPr>
      <a:lvl2pPr marL="609473" algn="l" defTabSz="609473" rtl="0" eaLnBrk="1" latinLnBrk="0" hangingPunct="1">
        <a:defRPr sz="2400" kern="1200">
          <a:solidFill>
            <a:schemeClr val="tx1"/>
          </a:solidFill>
          <a:latin typeface="+mn-lt"/>
          <a:ea typeface="+mn-ea"/>
          <a:cs typeface="+mn-cs"/>
        </a:defRPr>
      </a:lvl2pPr>
      <a:lvl3pPr marL="1218944" algn="l" defTabSz="609473" rtl="0" eaLnBrk="1" latinLnBrk="0" hangingPunct="1">
        <a:defRPr sz="2400" kern="1200">
          <a:solidFill>
            <a:schemeClr val="tx1"/>
          </a:solidFill>
          <a:latin typeface="+mn-lt"/>
          <a:ea typeface="+mn-ea"/>
          <a:cs typeface="+mn-cs"/>
        </a:defRPr>
      </a:lvl3pPr>
      <a:lvl4pPr marL="1828418" algn="l" defTabSz="609473" rtl="0" eaLnBrk="1" latinLnBrk="0" hangingPunct="1">
        <a:defRPr sz="2400" kern="1200">
          <a:solidFill>
            <a:schemeClr val="tx1"/>
          </a:solidFill>
          <a:latin typeface="+mn-lt"/>
          <a:ea typeface="+mn-ea"/>
          <a:cs typeface="+mn-cs"/>
        </a:defRPr>
      </a:lvl4pPr>
      <a:lvl5pPr marL="2437891" algn="l" defTabSz="609473" rtl="0" eaLnBrk="1" latinLnBrk="0" hangingPunct="1">
        <a:defRPr sz="2400" kern="1200">
          <a:solidFill>
            <a:schemeClr val="tx1"/>
          </a:solidFill>
          <a:latin typeface="+mn-lt"/>
          <a:ea typeface="+mn-ea"/>
          <a:cs typeface="+mn-cs"/>
        </a:defRPr>
      </a:lvl5pPr>
      <a:lvl6pPr marL="3047363" algn="l" defTabSz="609473" rtl="0" eaLnBrk="1" latinLnBrk="0" hangingPunct="1">
        <a:defRPr sz="2400" kern="1200">
          <a:solidFill>
            <a:schemeClr val="tx1"/>
          </a:solidFill>
          <a:latin typeface="+mn-lt"/>
          <a:ea typeface="+mn-ea"/>
          <a:cs typeface="+mn-cs"/>
        </a:defRPr>
      </a:lvl6pPr>
      <a:lvl7pPr marL="3656836" algn="l" defTabSz="609473" rtl="0" eaLnBrk="1" latinLnBrk="0" hangingPunct="1">
        <a:defRPr sz="2400" kern="1200">
          <a:solidFill>
            <a:schemeClr val="tx1"/>
          </a:solidFill>
          <a:latin typeface="+mn-lt"/>
          <a:ea typeface="+mn-ea"/>
          <a:cs typeface="+mn-cs"/>
        </a:defRPr>
      </a:lvl7pPr>
      <a:lvl8pPr marL="4266308" algn="l" defTabSz="609473" rtl="0" eaLnBrk="1" latinLnBrk="0" hangingPunct="1">
        <a:defRPr sz="2400" kern="1200">
          <a:solidFill>
            <a:schemeClr val="tx1"/>
          </a:solidFill>
          <a:latin typeface="+mn-lt"/>
          <a:ea typeface="+mn-ea"/>
          <a:cs typeface="+mn-cs"/>
        </a:defRPr>
      </a:lvl8pPr>
      <a:lvl9pPr marL="4875780" algn="l" defTabSz="60947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3" orient="horz" pos="5040">
          <p15:clr>
            <a:srgbClr val="F26B43"/>
          </p15:clr>
        </p15:guide>
        <p15:guide id="5" pos="9728">
          <p15:clr>
            <a:srgbClr val="F26B43"/>
          </p15:clr>
        </p15:guide>
        <p15:guide id="6" pos="512">
          <p15:clr>
            <a:srgbClr val="F26B43"/>
          </p15:clr>
        </p15:guide>
        <p15:guide id="7" orient="horz" pos="127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2" y="6330870"/>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3"/>
            <a:ext cx="10903852" cy="42779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52735490"/>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73"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73"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2" indent="-158350" algn="l" defTabSz="609473"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69" indent="-207164" algn="l" defTabSz="609473"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73"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73"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73"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73" rtl="0" eaLnBrk="1" latinLnBrk="0" hangingPunct="1">
        <a:defRPr sz="2400" kern="1200">
          <a:solidFill>
            <a:schemeClr val="tx1"/>
          </a:solidFill>
          <a:latin typeface="+mn-lt"/>
          <a:ea typeface="+mn-ea"/>
          <a:cs typeface="+mn-cs"/>
        </a:defRPr>
      </a:lvl1pPr>
      <a:lvl2pPr marL="609473" algn="l" defTabSz="609473" rtl="0" eaLnBrk="1" latinLnBrk="0" hangingPunct="1">
        <a:defRPr sz="2400" kern="1200">
          <a:solidFill>
            <a:schemeClr val="tx1"/>
          </a:solidFill>
          <a:latin typeface="+mn-lt"/>
          <a:ea typeface="+mn-ea"/>
          <a:cs typeface="+mn-cs"/>
        </a:defRPr>
      </a:lvl2pPr>
      <a:lvl3pPr marL="1218944" algn="l" defTabSz="609473" rtl="0" eaLnBrk="1" latinLnBrk="0" hangingPunct="1">
        <a:defRPr sz="2400" kern="1200">
          <a:solidFill>
            <a:schemeClr val="tx1"/>
          </a:solidFill>
          <a:latin typeface="+mn-lt"/>
          <a:ea typeface="+mn-ea"/>
          <a:cs typeface="+mn-cs"/>
        </a:defRPr>
      </a:lvl3pPr>
      <a:lvl4pPr marL="1828418" algn="l" defTabSz="609473" rtl="0" eaLnBrk="1" latinLnBrk="0" hangingPunct="1">
        <a:defRPr sz="2400" kern="1200">
          <a:solidFill>
            <a:schemeClr val="tx1"/>
          </a:solidFill>
          <a:latin typeface="+mn-lt"/>
          <a:ea typeface="+mn-ea"/>
          <a:cs typeface="+mn-cs"/>
        </a:defRPr>
      </a:lvl4pPr>
      <a:lvl5pPr marL="2437891" algn="l" defTabSz="609473" rtl="0" eaLnBrk="1" latinLnBrk="0" hangingPunct="1">
        <a:defRPr sz="2400" kern="1200">
          <a:solidFill>
            <a:schemeClr val="tx1"/>
          </a:solidFill>
          <a:latin typeface="+mn-lt"/>
          <a:ea typeface="+mn-ea"/>
          <a:cs typeface="+mn-cs"/>
        </a:defRPr>
      </a:lvl5pPr>
      <a:lvl6pPr marL="3047363" algn="l" defTabSz="609473" rtl="0" eaLnBrk="1" latinLnBrk="0" hangingPunct="1">
        <a:defRPr sz="2400" kern="1200">
          <a:solidFill>
            <a:schemeClr val="tx1"/>
          </a:solidFill>
          <a:latin typeface="+mn-lt"/>
          <a:ea typeface="+mn-ea"/>
          <a:cs typeface="+mn-cs"/>
        </a:defRPr>
      </a:lvl6pPr>
      <a:lvl7pPr marL="3656836" algn="l" defTabSz="609473" rtl="0" eaLnBrk="1" latinLnBrk="0" hangingPunct="1">
        <a:defRPr sz="2400" kern="1200">
          <a:solidFill>
            <a:schemeClr val="tx1"/>
          </a:solidFill>
          <a:latin typeface="+mn-lt"/>
          <a:ea typeface="+mn-ea"/>
          <a:cs typeface="+mn-cs"/>
        </a:defRPr>
      </a:lvl7pPr>
      <a:lvl8pPr marL="4266308" algn="l" defTabSz="609473" rtl="0" eaLnBrk="1" latinLnBrk="0" hangingPunct="1">
        <a:defRPr sz="2400" kern="1200">
          <a:solidFill>
            <a:schemeClr val="tx1"/>
          </a:solidFill>
          <a:latin typeface="+mn-lt"/>
          <a:ea typeface="+mn-ea"/>
          <a:cs typeface="+mn-cs"/>
        </a:defRPr>
      </a:lvl8pPr>
      <a:lvl9pPr marL="4875780" algn="l" defTabSz="60947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C9C24B-1FC6-43E5-B9DA-713EBA6CF15F}"/>
              </a:ext>
            </a:extLst>
          </p:cNvPr>
          <p:cNvSpPr txBox="1">
            <a:spLocks/>
          </p:cNvSpPr>
          <p:nvPr/>
        </p:nvSpPr>
        <p:spPr>
          <a:xfrm>
            <a:off x="644851" y="6330869"/>
            <a:ext cx="335272" cy="206701"/>
          </a:xfrm>
          <a:prstGeom prst="rect">
            <a:avLst/>
          </a:prstGeom>
        </p:spPr>
        <p:txBody>
          <a:bodyPr vert="horz" lIns="0" tIns="0" rIns="0" bIns="0" rtlCol="0" anchor="ctr"/>
          <a:lstStyle>
            <a:defPPr>
              <a:defRPr lang="en-US"/>
            </a:defPPr>
            <a:lvl1pPr marL="0" algn="l" defTabSz="1450896" rtl="0" eaLnBrk="1" latinLnBrk="0" hangingPunct="1">
              <a:defRPr sz="1700" kern="1200">
                <a:solidFill>
                  <a:srgbClr val="009ADD"/>
                </a:solidFill>
                <a:latin typeface="+mn-lt"/>
                <a:ea typeface="+mn-ea"/>
                <a:cs typeface="+mn-cs"/>
              </a:defRPr>
            </a:lvl1pPr>
            <a:lvl2pPr marL="725448" algn="l" defTabSz="1450896" rtl="0" eaLnBrk="1" latinLnBrk="0" hangingPunct="1">
              <a:defRPr sz="2900" kern="1200">
                <a:solidFill>
                  <a:schemeClr val="tx1"/>
                </a:solidFill>
                <a:latin typeface="+mn-lt"/>
                <a:ea typeface="+mn-ea"/>
                <a:cs typeface="+mn-cs"/>
              </a:defRPr>
            </a:lvl2pPr>
            <a:lvl3pPr marL="1450896" algn="l" defTabSz="1450896" rtl="0" eaLnBrk="1" latinLnBrk="0" hangingPunct="1">
              <a:defRPr sz="2900" kern="1200">
                <a:solidFill>
                  <a:schemeClr val="tx1"/>
                </a:solidFill>
                <a:latin typeface="+mn-lt"/>
                <a:ea typeface="+mn-ea"/>
                <a:cs typeface="+mn-cs"/>
              </a:defRPr>
            </a:lvl3pPr>
            <a:lvl4pPr marL="2176343" algn="l" defTabSz="1450896" rtl="0" eaLnBrk="1" latinLnBrk="0" hangingPunct="1">
              <a:defRPr sz="2900" kern="1200">
                <a:solidFill>
                  <a:schemeClr val="tx1"/>
                </a:solidFill>
                <a:latin typeface="+mn-lt"/>
                <a:ea typeface="+mn-ea"/>
                <a:cs typeface="+mn-cs"/>
              </a:defRPr>
            </a:lvl4pPr>
            <a:lvl5pPr marL="2901788" algn="l" defTabSz="1450896" rtl="0" eaLnBrk="1" latinLnBrk="0" hangingPunct="1">
              <a:defRPr sz="2900" kern="1200">
                <a:solidFill>
                  <a:schemeClr val="tx1"/>
                </a:solidFill>
                <a:latin typeface="+mn-lt"/>
                <a:ea typeface="+mn-ea"/>
                <a:cs typeface="+mn-cs"/>
              </a:defRPr>
            </a:lvl5pPr>
            <a:lvl6pPr marL="3627234" algn="l" defTabSz="1450896" rtl="0" eaLnBrk="1" latinLnBrk="0" hangingPunct="1">
              <a:defRPr sz="2900" kern="1200">
                <a:solidFill>
                  <a:schemeClr val="tx1"/>
                </a:solidFill>
                <a:latin typeface="+mn-lt"/>
                <a:ea typeface="+mn-ea"/>
                <a:cs typeface="+mn-cs"/>
              </a:defRPr>
            </a:lvl6pPr>
            <a:lvl7pPr marL="4352684" algn="l" defTabSz="1450896" rtl="0" eaLnBrk="1" latinLnBrk="0" hangingPunct="1">
              <a:defRPr sz="2900" kern="1200">
                <a:solidFill>
                  <a:schemeClr val="tx1"/>
                </a:solidFill>
                <a:latin typeface="+mn-lt"/>
                <a:ea typeface="+mn-ea"/>
                <a:cs typeface="+mn-cs"/>
              </a:defRPr>
            </a:lvl7pPr>
            <a:lvl8pPr marL="5078128" algn="l" defTabSz="1450896" rtl="0" eaLnBrk="1" latinLnBrk="0" hangingPunct="1">
              <a:defRPr sz="2900" kern="1200">
                <a:solidFill>
                  <a:schemeClr val="tx1"/>
                </a:solidFill>
                <a:latin typeface="+mn-lt"/>
                <a:ea typeface="+mn-ea"/>
                <a:cs typeface="+mn-cs"/>
              </a:defRPr>
            </a:lvl8pPr>
            <a:lvl9pPr marL="5803577" algn="l" defTabSz="1450896" rtl="0" eaLnBrk="1" latinLnBrk="0" hangingPunct="1">
              <a:defRPr sz="2900" kern="1200">
                <a:solidFill>
                  <a:schemeClr val="tx1"/>
                </a:solidFill>
                <a:latin typeface="+mn-lt"/>
                <a:ea typeface="+mn-ea"/>
                <a:cs typeface="+mn-cs"/>
              </a:defRPr>
            </a:lvl9pPr>
          </a:lstStyle>
          <a:p>
            <a:fld id="{C48D9196-7146-4672-A4BA-DB29036C6B41}" type="slidenum">
              <a:rPr lang="en-US" sz="900" smtClean="0">
                <a:solidFill>
                  <a:schemeClr val="bg1"/>
                </a:solidFill>
              </a:rPr>
              <a:pPr/>
              <a:t>‹#›</a:t>
            </a:fld>
            <a:endParaRPr lang="en-US" sz="900" dirty="0">
              <a:solidFill>
                <a:schemeClr val="bg1"/>
              </a:solidFill>
            </a:endParaRPr>
          </a:p>
        </p:txBody>
      </p:sp>
      <p:sp>
        <p:nvSpPr>
          <p:cNvPr id="5" name="Title Placeholder 4">
            <a:extLst>
              <a:ext uri="{FF2B5EF4-FFF2-40B4-BE49-F238E27FC236}">
                <a16:creationId xmlns:a16="http://schemas.microsoft.com/office/drawing/2014/main" id="{D8147D09-81D3-46F2-A95A-BF23D4C7FCAB}"/>
              </a:ext>
            </a:extLst>
          </p:cNvPr>
          <p:cNvSpPr>
            <a:spLocks noGrp="1"/>
          </p:cNvSpPr>
          <p:nvPr>
            <p:ph type="title"/>
          </p:nvPr>
        </p:nvSpPr>
        <p:spPr>
          <a:xfrm>
            <a:off x="639554" y="171455"/>
            <a:ext cx="10907595" cy="902187"/>
          </a:xfrm>
          <a:prstGeom prst="rect">
            <a:avLst/>
          </a:prstGeom>
        </p:spPr>
        <p:txBody>
          <a:bodyPr vert="horz" lIns="0" tIns="0" rIns="0" bIns="0" rtlCol="0" anchor="b">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DDE6099-BB5A-408B-A955-71BEE07EB48F}"/>
              </a:ext>
            </a:extLst>
          </p:cNvPr>
          <p:cNvSpPr>
            <a:spLocks noGrp="1"/>
          </p:cNvSpPr>
          <p:nvPr>
            <p:ph type="body" idx="1"/>
          </p:nvPr>
        </p:nvSpPr>
        <p:spPr>
          <a:xfrm>
            <a:off x="639555" y="1573832"/>
            <a:ext cx="10903852" cy="427798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35183990"/>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p:txStyles>
    <p:titleStyle>
      <a:lvl1pPr algn="l" defTabSz="609488" rtl="0" eaLnBrk="1" latinLnBrk="0" hangingPunct="1">
        <a:lnSpc>
          <a:spcPct val="89000"/>
        </a:lnSpc>
        <a:spcBef>
          <a:spcPct val="0"/>
        </a:spcBef>
        <a:buNone/>
        <a:defRPr sz="3450" b="1" kern="1200">
          <a:solidFill>
            <a:schemeClr val="tx1"/>
          </a:solidFill>
          <a:latin typeface="+mj-lt"/>
          <a:ea typeface="+mj-ea"/>
          <a:cs typeface="+mj-cs"/>
        </a:defRPr>
      </a:lvl1pPr>
    </p:titleStyle>
    <p:bodyStyle>
      <a:lvl1pPr marL="0" indent="0" algn="l" defTabSz="609488" rtl="0" eaLnBrk="1" latinLnBrk="0" hangingPunct="1">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182166" indent="-158354" algn="l" defTabSz="609488" rtl="0" eaLnBrk="1" latinLnBrk="0" hangingPunct="1">
        <a:spcBef>
          <a:spcPts val="0"/>
        </a:spcBef>
        <a:spcAft>
          <a:spcPts val="450"/>
        </a:spcAft>
        <a:buFont typeface="Arial" panose="020B0604020202020204" pitchFamily="34" charset="0"/>
        <a:buChar char="•"/>
        <a:tabLst/>
        <a:defRPr sz="1500" kern="1200">
          <a:solidFill>
            <a:schemeClr val="tx1"/>
          </a:solidFill>
          <a:latin typeface="+mn-lt"/>
          <a:ea typeface="+mn-ea"/>
          <a:cs typeface="+mn-cs"/>
        </a:defRPr>
      </a:lvl2pPr>
      <a:lvl3pPr marL="396479" indent="-207169" algn="l" defTabSz="609488" rtl="0" eaLnBrk="1" latinLnBrk="0" hangingPunct="1">
        <a:spcBef>
          <a:spcPts val="0"/>
        </a:spcBef>
        <a:spcAft>
          <a:spcPts val="450"/>
        </a:spcAft>
        <a:buFont typeface="Arial" panose="020B0604020202020204" pitchFamily="34" charset="0"/>
        <a:buChar char="–"/>
        <a:defRPr sz="1500" kern="1200">
          <a:solidFill>
            <a:schemeClr val="tx1"/>
          </a:solidFill>
          <a:latin typeface="+mn-lt"/>
          <a:ea typeface="+mn-ea"/>
          <a:cs typeface="+mn-cs"/>
        </a:defRPr>
      </a:lvl3pPr>
      <a:lvl4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4pPr>
      <a:lvl5pPr marL="0" indent="0" algn="l" defTabSz="609488" rtl="0" eaLnBrk="1" latinLnBrk="0" hangingPunct="1">
        <a:spcBef>
          <a:spcPts val="1350"/>
        </a:spcBef>
        <a:spcAft>
          <a:spcPts val="450"/>
        </a:spcAft>
        <a:buFont typeface="Arial" panose="020B0604020202020204" pitchFamily="34" charset="0"/>
        <a:buChar char="​"/>
        <a:defRPr sz="2400" b="1" kern="1200">
          <a:solidFill>
            <a:schemeClr val="tx1"/>
          </a:solidFill>
          <a:latin typeface="+mn-lt"/>
          <a:ea typeface="+mn-ea"/>
          <a:cs typeface="+mn-cs"/>
        </a:defRPr>
      </a:lvl5pPr>
      <a:lvl6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6pPr>
      <a:lvl7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7pPr>
      <a:lvl8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8pPr>
      <a:lvl9pPr marL="0" indent="0" algn="l" defTabSz="609488" rtl="0" eaLnBrk="1" latinLnBrk="0" hangingPunct="1">
        <a:spcBef>
          <a:spcPts val="1350"/>
        </a:spcBef>
        <a:spcAft>
          <a:spcPts val="450"/>
        </a:spcAft>
        <a:buFont typeface="Arial" panose="020B0604020202020204" pitchFamily="34" charset="0"/>
        <a:buNone/>
        <a:defRPr sz="2400" b="1" kern="1200">
          <a:solidFill>
            <a:schemeClr val="tx1"/>
          </a:solidFill>
          <a:latin typeface="+mn-lt"/>
          <a:ea typeface="+mn-ea"/>
          <a:cs typeface="+mn-cs"/>
        </a:defRPr>
      </a:lvl9pPr>
    </p:bodyStyle>
    <p:otherStyle>
      <a:defPPr>
        <a:defRPr lang="en-US"/>
      </a:defPPr>
      <a:lvl1pPr marL="0" algn="l" defTabSz="609488" rtl="0" eaLnBrk="1" latinLnBrk="0" hangingPunct="1">
        <a:defRPr sz="2400" kern="1200">
          <a:solidFill>
            <a:schemeClr val="tx1"/>
          </a:solidFill>
          <a:latin typeface="+mn-lt"/>
          <a:ea typeface="+mn-ea"/>
          <a:cs typeface="+mn-cs"/>
        </a:defRPr>
      </a:lvl1pPr>
      <a:lvl2pPr marL="609488" algn="l" defTabSz="609488" rtl="0" eaLnBrk="1" latinLnBrk="0" hangingPunct="1">
        <a:defRPr sz="2400" kern="1200">
          <a:solidFill>
            <a:schemeClr val="tx1"/>
          </a:solidFill>
          <a:latin typeface="+mn-lt"/>
          <a:ea typeface="+mn-ea"/>
          <a:cs typeface="+mn-cs"/>
        </a:defRPr>
      </a:lvl2pPr>
      <a:lvl3pPr marL="1218975" algn="l" defTabSz="609488" rtl="0" eaLnBrk="1" latinLnBrk="0" hangingPunct="1">
        <a:defRPr sz="2400" kern="1200">
          <a:solidFill>
            <a:schemeClr val="tx1"/>
          </a:solidFill>
          <a:latin typeface="+mn-lt"/>
          <a:ea typeface="+mn-ea"/>
          <a:cs typeface="+mn-cs"/>
        </a:defRPr>
      </a:lvl3pPr>
      <a:lvl4pPr marL="1828463" algn="l" defTabSz="609488" rtl="0" eaLnBrk="1" latinLnBrk="0" hangingPunct="1">
        <a:defRPr sz="2400" kern="1200">
          <a:solidFill>
            <a:schemeClr val="tx1"/>
          </a:solidFill>
          <a:latin typeface="+mn-lt"/>
          <a:ea typeface="+mn-ea"/>
          <a:cs typeface="+mn-cs"/>
        </a:defRPr>
      </a:lvl4pPr>
      <a:lvl5pPr marL="2437952" algn="l" defTabSz="609488" rtl="0" eaLnBrk="1" latinLnBrk="0" hangingPunct="1">
        <a:defRPr sz="2400" kern="1200">
          <a:solidFill>
            <a:schemeClr val="tx1"/>
          </a:solidFill>
          <a:latin typeface="+mn-lt"/>
          <a:ea typeface="+mn-ea"/>
          <a:cs typeface="+mn-cs"/>
        </a:defRPr>
      </a:lvl5pPr>
      <a:lvl6pPr marL="3047439" algn="l" defTabSz="609488" rtl="0" eaLnBrk="1" latinLnBrk="0" hangingPunct="1">
        <a:defRPr sz="2400" kern="1200">
          <a:solidFill>
            <a:schemeClr val="tx1"/>
          </a:solidFill>
          <a:latin typeface="+mn-lt"/>
          <a:ea typeface="+mn-ea"/>
          <a:cs typeface="+mn-cs"/>
        </a:defRPr>
      </a:lvl6pPr>
      <a:lvl7pPr marL="3656927" algn="l" defTabSz="609488" rtl="0" eaLnBrk="1" latinLnBrk="0" hangingPunct="1">
        <a:defRPr sz="2400" kern="1200">
          <a:solidFill>
            <a:schemeClr val="tx1"/>
          </a:solidFill>
          <a:latin typeface="+mn-lt"/>
          <a:ea typeface="+mn-ea"/>
          <a:cs typeface="+mn-cs"/>
        </a:defRPr>
      </a:lvl7pPr>
      <a:lvl8pPr marL="4266414" algn="l" defTabSz="609488" rtl="0" eaLnBrk="1" latinLnBrk="0" hangingPunct="1">
        <a:defRPr sz="2400" kern="1200">
          <a:solidFill>
            <a:schemeClr val="tx1"/>
          </a:solidFill>
          <a:latin typeface="+mn-lt"/>
          <a:ea typeface="+mn-ea"/>
          <a:cs typeface="+mn-cs"/>
        </a:defRPr>
      </a:lvl8pPr>
      <a:lvl9pPr marL="4875902" algn="l" defTabSz="60948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2.xml"/></Relationships>
</file>

<file path=ppt/slides/_rels/slide11.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5.png"/><Relationship Id="rId7" Type="http://schemas.openxmlformats.org/officeDocument/2006/relationships/image" Target="../media/image188.jpeg"/><Relationship Id="rId2" Type="http://schemas.openxmlformats.org/officeDocument/2006/relationships/image" Target="../media/image184.png"/><Relationship Id="rId1" Type="http://schemas.openxmlformats.org/officeDocument/2006/relationships/slideLayout" Target="../slideLayouts/slideLayout331.xml"/><Relationship Id="rId6" Type="http://schemas.openxmlformats.org/officeDocument/2006/relationships/image" Target="../media/image187.png"/><Relationship Id="rId5" Type="http://schemas.microsoft.com/office/2007/relationships/hdphoto" Target="../media/hdphoto3.wdp"/><Relationship Id="rId4" Type="http://schemas.openxmlformats.org/officeDocument/2006/relationships/image" Target="../media/image186.png"/></Relationships>
</file>

<file path=ppt/slides/_rels/slide12.xml.rels><?xml version="1.0" encoding="UTF-8" standalone="yes"?>
<Relationships xmlns="http://schemas.openxmlformats.org/package/2006/relationships"><Relationship Id="rId3" Type="http://schemas.openxmlformats.org/officeDocument/2006/relationships/image" Target="../media/image191.jpg"/><Relationship Id="rId2" Type="http://schemas.openxmlformats.org/officeDocument/2006/relationships/image" Target="../media/image190.png"/><Relationship Id="rId1" Type="http://schemas.openxmlformats.org/officeDocument/2006/relationships/slideLayout" Target="../slideLayouts/slideLayout331.xml"/><Relationship Id="rId4" Type="http://schemas.openxmlformats.org/officeDocument/2006/relationships/image" Target="../media/image192.png"/></Relationships>
</file>

<file path=ppt/slides/_rels/slide13.xml.rels><?xml version="1.0" encoding="UTF-8" standalone="yes"?>
<Relationships xmlns="http://schemas.openxmlformats.org/package/2006/relationships"><Relationship Id="rId8" Type="http://schemas.openxmlformats.org/officeDocument/2006/relationships/image" Target="../media/image197.png"/><Relationship Id="rId3" Type="http://schemas.microsoft.com/office/2007/relationships/hdphoto" Target="../media/hdphoto4.wdp"/><Relationship Id="rId7" Type="http://schemas.openxmlformats.org/officeDocument/2006/relationships/image" Target="../media/image196.png"/><Relationship Id="rId2" Type="http://schemas.openxmlformats.org/officeDocument/2006/relationships/image" Target="../media/image193.png"/><Relationship Id="rId1" Type="http://schemas.openxmlformats.org/officeDocument/2006/relationships/slideLayout" Target="../slideLayouts/slideLayout331.xml"/><Relationship Id="rId6" Type="http://schemas.microsoft.com/office/2007/relationships/hdphoto" Target="../media/hdphoto5.wdp"/><Relationship Id="rId5" Type="http://schemas.openxmlformats.org/officeDocument/2006/relationships/image" Target="../media/image195.png"/><Relationship Id="rId10" Type="http://schemas.openxmlformats.org/officeDocument/2006/relationships/image" Target="../media/image198.png"/><Relationship Id="rId4" Type="http://schemas.openxmlformats.org/officeDocument/2006/relationships/image" Target="../media/image194.png"/><Relationship Id="rId9" Type="http://schemas.microsoft.com/office/2007/relationships/hdphoto" Target="../media/hdphoto6.wdp"/></Relationships>
</file>

<file path=ppt/slides/_rels/slide14.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image" Target="../media/image199.png"/><Relationship Id="rId1" Type="http://schemas.openxmlformats.org/officeDocument/2006/relationships/slideLayout" Target="../slideLayouts/slideLayout331.xml"/><Relationship Id="rId5" Type="http://schemas.openxmlformats.org/officeDocument/2006/relationships/image" Target="../media/image201.png"/><Relationship Id="rId4" Type="http://schemas.microsoft.com/office/2007/relationships/hdphoto" Target="../media/hdphoto7.wdp"/></Relationships>
</file>

<file path=ppt/slides/_rels/slide15.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image" Target="../media/image202.png"/><Relationship Id="rId1" Type="http://schemas.openxmlformats.org/officeDocument/2006/relationships/slideLayout" Target="../slideLayouts/slideLayout331.xml"/><Relationship Id="rId5" Type="http://schemas.openxmlformats.org/officeDocument/2006/relationships/image" Target="../media/image205.jpeg"/><Relationship Id="rId4" Type="http://schemas.openxmlformats.org/officeDocument/2006/relationships/image" Target="../media/image204.png"/></Relationships>
</file>

<file path=ppt/slides/_rels/slide16.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image" Target="../media/image206.jpeg"/><Relationship Id="rId1" Type="http://schemas.openxmlformats.org/officeDocument/2006/relationships/slideLayout" Target="../slideLayouts/slideLayout331.xml"/><Relationship Id="rId5" Type="http://schemas.openxmlformats.org/officeDocument/2006/relationships/image" Target="../media/image209.jpeg"/><Relationship Id="rId4" Type="http://schemas.openxmlformats.org/officeDocument/2006/relationships/image" Target="../media/image208.png"/></Relationships>
</file>

<file path=ppt/slides/_rels/slide17.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image" Target="../media/image210.jpeg"/><Relationship Id="rId1" Type="http://schemas.openxmlformats.org/officeDocument/2006/relationships/slideLayout" Target="../slideLayouts/slideLayout331.xml"/><Relationship Id="rId5" Type="http://schemas.openxmlformats.org/officeDocument/2006/relationships/image" Target="../media/image213.jpeg"/><Relationship Id="rId4" Type="http://schemas.openxmlformats.org/officeDocument/2006/relationships/image" Target="../media/image212.jpeg"/></Relationships>
</file>

<file path=ppt/slides/_rels/slide18.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jpeg"/><Relationship Id="rId1" Type="http://schemas.openxmlformats.org/officeDocument/2006/relationships/slideLayout" Target="../slideLayouts/slideLayout331.xml"/><Relationship Id="rId6" Type="http://schemas.microsoft.com/office/2007/relationships/hdphoto" Target="../media/hdphoto9.wdp"/><Relationship Id="rId5" Type="http://schemas.openxmlformats.org/officeDocument/2006/relationships/image" Target="../media/image216.png"/><Relationship Id="rId4" Type="http://schemas.microsoft.com/office/2007/relationships/hdphoto" Target="../media/hdphoto8.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jpeg"/><Relationship Id="rId1" Type="http://schemas.openxmlformats.org/officeDocument/2006/relationships/slideLayout" Target="../slideLayouts/slideLayout335.xml"/></Relationships>
</file>

<file path=ppt/slides/_rels/slide20.xml.rels><?xml version="1.0" encoding="UTF-8" standalone="yes"?>
<Relationships xmlns="http://schemas.openxmlformats.org/package/2006/relationships"><Relationship Id="rId8" Type="http://schemas.openxmlformats.org/officeDocument/2006/relationships/image" Target="../media/image223.png"/><Relationship Id="rId13" Type="http://schemas.openxmlformats.org/officeDocument/2006/relationships/image" Target="../media/image228.png"/><Relationship Id="rId3" Type="http://schemas.openxmlformats.org/officeDocument/2006/relationships/image" Target="../media/image218.png"/><Relationship Id="rId7" Type="http://schemas.openxmlformats.org/officeDocument/2006/relationships/image" Target="../media/image222.png"/><Relationship Id="rId12" Type="http://schemas.openxmlformats.org/officeDocument/2006/relationships/image" Target="../media/image227.png"/><Relationship Id="rId17" Type="http://schemas.openxmlformats.org/officeDocument/2006/relationships/image" Target="../media/image231.png"/><Relationship Id="rId2" Type="http://schemas.openxmlformats.org/officeDocument/2006/relationships/image" Target="../media/image217.jpeg"/><Relationship Id="rId16" Type="http://schemas.openxmlformats.org/officeDocument/2006/relationships/image" Target="../media/image230.png"/><Relationship Id="rId1" Type="http://schemas.openxmlformats.org/officeDocument/2006/relationships/slideLayout" Target="../slideLayouts/slideLayout332.xml"/><Relationship Id="rId6" Type="http://schemas.openxmlformats.org/officeDocument/2006/relationships/image" Target="../media/image221.png"/><Relationship Id="rId11" Type="http://schemas.openxmlformats.org/officeDocument/2006/relationships/image" Target="../media/image226.jpeg"/><Relationship Id="rId5" Type="http://schemas.openxmlformats.org/officeDocument/2006/relationships/image" Target="../media/image220.png"/><Relationship Id="rId15" Type="http://schemas.microsoft.com/office/2007/relationships/hdphoto" Target="../media/hdphoto10.wdp"/><Relationship Id="rId10" Type="http://schemas.openxmlformats.org/officeDocument/2006/relationships/image" Target="../media/image225.jpeg"/><Relationship Id="rId4" Type="http://schemas.openxmlformats.org/officeDocument/2006/relationships/image" Target="../media/image219.png"/><Relationship Id="rId9" Type="http://schemas.openxmlformats.org/officeDocument/2006/relationships/image" Target="../media/image224.png"/><Relationship Id="rId14" Type="http://schemas.openxmlformats.org/officeDocument/2006/relationships/image" Target="../media/image229.png"/></Relationships>
</file>

<file path=ppt/slides/_rels/slide21.xml.rels><?xml version="1.0" encoding="UTF-8" standalone="yes"?>
<Relationships xmlns="http://schemas.openxmlformats.org/package/2006/relationships"><Relationship Id="rId3" Type="http://schemas.openxmlformats.org/officeDocument/2006/relationships/image" Target="../media/image232.jpeg"/><Relationship Id="rId2" Type="http://schemas.openxmlformats.org/officeDocument/2006/relationships/notesSlide" Target="../notesSlides/notesSlide2.xml"/><Relationship Id="rId1" Type="http://schemas.openxmlformats.org/officeDocument/2006/relationships/slideLayout" Target="../slideLayouts/slideLayout335.xml"/><Relationship Id="rId5" Type="http://schemas.openxmlformats.org/officeDocument/2006/relationships/image" Target="../media/image143.png"/><Relationship Id="rId4" Type="http://schemas.openxmlformats.org/officeDocument/2006/relationships/hyperlink" Target="mailto:josue.graton@fit-tecnologia.org.br"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6.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5.svg"/><Relationship Id="rId3" Type="http://schemas.openxmlformats.org/officeDocument/2006/relationships/image" Target="../media/image145.svg"/><Relationship Id="rId7" Type="http://schemas.openxmlformats.org/officeDocument/2006/relationships/image" Target="../media/image149.svg"/><Relationship Id="rId12" Type="http://schemas.openxmlformats.org/officeDocument/2006/relationships/image" Target="../media/image154.png"/><Relationship Id="rId17" Type="http://schemas.openxmlformats.org/officeDocument/2006/relationships/image" Target="../media/image159.svg"/><Relationship Id="rId2" Type="http://schemas.openxmlformats.org/officeDocument/2006/relationships/image" Target="../media/image144.png"/><Relationship Id="rId16" Type="http://schemas.openxmlformats.org/officeDocument/2006/relationships/image" Target="../media/image158.png"/><Relationship Id="rId1" Type="http://schemas.openxmlformats.org/officeDocument/2006/relationships/slideLayout" Target="../slideLayouts/slideLayout332.xml"/><Relationship Id="rId6" Type="http://schemas.openxmlformats.org/officeDocument/2006/relationships/image" Target="../media/image148.png"/><Relationship Id="rId11" Type="http://schemas.openxmlformats.org/officeDocument/2006/relationships/image" Target="../media/image153.svg"/><Relationship Id="rId5" Type="http://schemas.openxmlformats.org/officeDocument/2006/relationships/image" Target="../media/image147.svg"/><Relationship Id="rId15" Type="http://schemas.openxmlformats.org/officeDocument/2006/relationships/image" Target="../media/image157.sv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svg"/><Relationship Id="rId14" Type="http://schemas.openxmlformats.org/officeDocument/2006/relationships/image" Target="../media/image15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8.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png"/><Relationship Id="rId18" Type="http://schemas.openxmlformats.org/officeDocument/2006/relationships/image" Target="../media/image175.png"/><Relationship Id="rId26" Type="http://schemas.openxmlformats.org/officeDocument/2006/relationships/image" Target="../media/image183.png"/><Relationship Id="rId3" Type="http://schemas.openxmlformats.org/officeDocument/2006/relationships/image" Target="../media/image160.png"/><Relationship Id="rId21" Type="http://schemas.openxmlformats.org/officeDocument/2006/relationships/image" Target="../media/image178.png"/><Relationship Id="rId7" Type="http://schemas.openxmlformats.org/officeDocument/2006/relationships/image" Target="../media/image164.png"/><Relationship Id="rId12" Type="http://schemas.openxmlformats.org/officeDocument/2006/relationships/image" Target="../media/image169.png"/><Relationship Id="rId17" Type="http://schemas.openxmlformats.org/officeDocument/2006/relationships/image" Target="../media/image174.png"/><Relationship Id="rId25" Type="http://schemas.openxmlformats.org/officeDocument/2006/relationships/image" Target="../media/image182.png"/><Relationship Id="rId2" Type="http://schemas.openxmlformats.org/officeDocument/2006/relationships/notesSlide" Target="../notesSlides/notesSlide1.xml"/><Relationship Id="rId16" Type="http://schemas.openxmlformats.org/officeDocument/2006/relationships/image" Target="../media/image173.png"/><Relationship Id="rId20" Type="http://schemas.openxmlformats.org/officeDocument/2006/relationships/image" Target="../media/image177.png"/><Relationship Id="rId1" Type="http://schemas.openxmlformats.org/officeDocument/2006/relationships/slideLayout" Target="../slideLayouts/slideLayout360.xml"/><Relationship Id="rId6" Type="http://schemas.openxmlformats.org/officeDocument/2006/relationships/image" Target="../media/image163.png"/><Relationship Id="rId11" Type="http://schemas.openxmlformats.org/officeDocument/2006/relationships/image" Target="../media/image168.png"/><Relationship Id="rId24" Type="http://schemas.openxmlformats.org/officeDocument/2006/relationships/image" Target="../media/image181.png"/><Relationship Id="rId5" Type="http://schemas.openxmlformats.org/officeDocument/2006/relationships/image" Target="../media/image162.png"/><Relationship Id="rId15" Type="http://schemas.openxmlformats.org/officeDocument/2006/relationships/image" Target="../media/image172.jpeg"/><Relationship Id="rId23" Type="http://schemas.openxmlformats.org/officeDocument/2006/relationships/image" Target="../media/image180.jpeg"/><Relationship Id="rId10" Type="http://schemas.openxmlformats.org/officeDocument/2006/relationships/image" Target="../media/image167.png"/><Relationship Id="rId19" Type="http://schemas.openxmlformats.org/officeDocument/2006/relationships/image" Target="../media/image176.png"/><Relationship Id="rId4" Type="http://schemas.openxmlformats.org/officeDocument/2006/relationships/image" Target="../media/image161.png"/><Relationship Id="rId9" Type="http://schemas.openxmlformats.org/officeDocument/2006/relationships/image" Target="../media/image166.jpeg"/><Relationship Id="rId14" Type="http://schemas.openxmlformats.org/officeDocument/2006/relationships/image" Target="../media/image171.jpeg"/><Relationship Id="rId22" Type="http://schemas.openxmlformats.org/officeDocument/2006/relationships/image" Target="../media/image17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a:extLst>
              <a:ext uri="{FF2B5EF4-FFF2-40B4-BE49-F238E27FC236}">
                <a16:creationId xmlns:a16="http://schemas.microsoft.com/office/drawing/2014/main" id="{64F783A2-BBDE-496D-A0F1-F70CD00FEBB2}"/>
              </a:ext>
            </a:extLst>
          </p:cNvPr>
          <p:cNvSpPr>
            <a:spLocks noGrp="1"/>
          </p:cNvSpPr>
          <p:nvPr>
            <p:ph type="subTitle" idx="1"/>
          </p:nvPr>
        </p:nvSpPr>
        <p:spPr>
          <a:xfrm>
            <a:off x="3533374" y="4609137"/>
            <a:ext cx="7967932" cy="1202161"/>
          </a:xfrm>
        </p:spPr>
        <p:txBody>
          <a:bodyPr/>
          <a:lstStyle/>
          <a:p>
            <a:r>
              <a:rPr lang="pt-BR" sz="2800" b="1" dirty="0" err="1"/>
              <a:t>CoE</a:t>
            </a:r>
            <a:r>
              <a:rPr lang="pt-BR" sz="2800" b="1" dirty="0"/>
              <a:t> Circular </a:t>
            </a:r>
            <a:r>
              <a:rPr lang="pt-BR" sz="2800" b="1" dirty="0" err="1"/>
              <a:t>Economy</a:t>
            </a:r>
            <a:r>
              <a:rPr lang="pt-BR" sz="2800" b="1" dirty="0"/>
              <a:t> </a:t>
            </a:r>
          </a:p>
          <a:p>
            <a:r>
              <a:rPr lang="pt-BR" sz="2800" dirty="0" err="1"/>
              <a:t>September</a:t>
            </a:r>
            <a:r>
              <a:rPr lang="pt-BR" sz="2800" dirty="0"/>
              <a:t> </a:t>
            </a:r>
            <a:r>
              <a:rPr lang="pt-BR" dirty="0"/>
              <a:t>2024</a:t>
            </a:r>
          </a:p>
        </p:txBody>
      </p:sp>
    </p:spTree>
    <p:extLst>
      <p:ext uri="{BB962C8B-B14F-4D97-AF65-F5344CB8AC3E}">
        <p14:creationId xmlns:p14="http://schemas.microsoft.com/office/powerpoint/2010/main" val="21162390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4E0EE0-BA27-A50F-DE7F-5EEF79C0724B}"/>
              </a:ext>
            </a:extLst>
          </p:cNvPr>
          <p:cNvSpPr txBox="1"/>
          <p:nvPr/>
        </p:nvSpPr>
        <p:spPr>
          <a:xfrm>
            <a:off x="5882141" y="1651829"/>
            <a:ext cx="2799595" cy="400110"/>
          </a:xfrm>
          <a:prstGeom prst="rect">
            <a:avLst/>
          </a:prstGeom>
          <a:noFill/>
        </p:spPr>
        <p:txBody>
          <a:bodyPr wrap="square" rtlCol="0">
            <a:spAutoFit/>
          </a:bodyPr>
          <a:lstStyle/>
          <a:p>
            <a:r>
              <a:rPr lang="pt-BR" sz="2000" b="1" dirty="0">
                <a:solidFill>
                  <a:schemeClr val="tx1">
                    <a:alpha val="85000"/>
                  </a:schemeClr>
                </a:solidFill>
                <a:latin typeface="+mj-lt"/>
              </a:rPr>
              <a:t>Life </a:t>
            </a:r>
            <a:r>
              <a:rPr lang="pt-BR" sz="2000" b="1" dirty="0" err="1">
                <a:solidFill>
                  <a:schemeClr val="tx1">
                    <a:alpha val="85000"/>
                  </a:schemeClr>
                </a:solidFill>
                <a:latin typeface="+mj-lt"/>
              </a:rPr>
              <a:t>Cycle</a:t>
            </a:r>
            <a:r>
              <a:rPr lang="pt-BR" sz="2000" b="1" dirty="0">
                <a:solidFill>
                  <a:schemeClr val="tx1">
                    <a:alpha val="85000"/>
                  </a:schemeClr>
                </a:solidFill>
                <a:latin typeface="+mj-lt"/>
              </a:rPr>
              <a:t> Assessment</a:t>
            </a:r>
          </a:p>
        </p:txBody>
      </p:sp>
      <p:sp>
        <p:nvSpPr>
          <p:cNvPr id="6" name="TextBox 5">
            <a:extLst>
              <a:ext uri="{FF2B5EF4-FFF2-40B4-BE49-F238E27FC236}">
                <a16:creationId xmlns:a16="http://schemas.microsoft.com/office/drawing/2014/main" id="{AEF40763-BF67-BFB9-1C92-EEC5D49622B3}"/>
              </a:ext>
            </a:extLst>
          </p:cNvPr>
          <p:cNvSpPr txBox="1"/>
          <p:nvPr/>
        </p:nvSpPr>
        <p:spPr>
          <a:xfrm>
            <a:off x="5296463" y="6015389"/>
            <a:ext cx="3572404" cy="400110"/>
          </a:xfrm>
          <a:prstGeom prst="rect">
            <a:avLst/>
          </a:prstGeom>
          <a:noFill/>
        </p:spPr>
        <p:txBody>
          <a:bodyPr wrap="square" rtlCol="0">
            <a:spAutoFit/>
          </a:bodyPr>
          <a:lstStyle>
            <a:defPPr>
              <a:defRPr lang="en-US"/>
            </a:defPPr>
            <a:lvl1pPr>
              <a:defRPr sz="2000" b="1">
                <a:solidFill>
                  <a:srgbClr val="1F3151"/>
                </a:solidFill>
                <a:latin typeface="+mj-lt"/>
              </a:defRPr>
            </a:lvl1pPr>
          </a:lstStyle>
          <a:p>
            <a:pPr marL="342900" indent="-342900">
              <a:lnSpc>
                <a:spcPct val="100000"/>
              </a:lnSpc>
            </a:pPr>
            <a:r>
              <a:rPr lang="pt-BR" sz="2000" dirty="0">
                <a:solidFill>
                  <a:schemeClr val="tx1">
                    <a:alpha val="85000"/>
                  </a:schemeClr>
                </a:solidFill>
              </a:rPr>
              <a:t>R</a:t>
            </a:r>
            <a:r>
              <a:rPr lang="en-US" sz="2000" dirty="0" err="1">
                <a:solidFill>
                  <a:schemeClr val="tx1">
                    <a:alpha val="85000"/>
                  </a:schemeClr>
                </a:solidFill>
              </a:rPr>
              <a:t>enewable</a:t>
            </a:r>
            <a:r>
              <a:rPr lang="en-US" sz="2000" dirty="0">
                <a:solidFill>
                  <a:schemeClr val="tx1">
                    <a:alpha val="85000"/>
                  </a:schemeClr>
                </a:solidFill>
              </a:rPr>
              <a:t> </a:t>
            </a:r>
            <a:r>
              <a:rPr lang="en-US" dirty="0">
                <a:solidFill>
                  <a:schemeClr val="tx1">
                    <a:alpha val="85000"/>
                  </a:schemeClr>
                </a:solidFill>
              </a:rPr>
              <a:t>Energy</a:t>
            </a:r>
            <a:endParaRPr lang="pt-BR" sz="2000" dirty="0">
              <a:solidFill>
                <a:schemeClr val="tx1">
                  <a:alpha val="85000"/>
                </a:schemeClr>
              </a:solidFill>
            </a:endParaRPr>
          </a:p>
        </p:txBody>
      </p:sp>
      <p:sp>
        <p:nvSpPr>
          <p:cNvPr id="8" name="TextBox 7">
            <a:extLst>
              <a:ext uri="{FF2B5EF4-FFF2-40B4-BE49-F238E27FC236}">
                <a16:creationId xmlns:a16="http://schemas.microsoft.com/office/drawing/2014/main" id="{EA94DCB3-7649-16D4-237A-B26B973FED9D}"/>
              </a:ext>
            </a:extLst>
          </p:cNvPr>
          <p:cNvSpPr txBox="1"/>
          <p:nvPr/>
        </p:nvSpPr>
        <p:spPr>
          <a:xfrm>
            <a:off x="6497765" y="2444591"/>
            <a:ext cx="3572404" cy="400110"/>
          </a:xfrm>
          <a:prstGeom prst="rect">
            <a:avLst/>
          </a:prstGeom>
          <a:noFill/>
        </p:spPr>
        <p:txBody>
          <a:bodyPr wrap="square" rtlCol="0">
            <a:spAutoFit/>
          </a:bodyPr>
          <a:lstStyle>
            <a:defPPr>
              <a:defRPr lang="en-US"/>
            </a:defPPr>
            <a:lvl1pPr>
              <a:defRPr sz="2000" b="1">
                <a:solidFill>
                  <a:srgbClr val="1F3151"/>
                </a:solidFill>
                <a:latin typeface="+mj-lt"/>
              </a:defRPr>
            </a:lvl1pPr>
          </a:lstStyle>
          <a:p>
            <a:pPr marL="342900" indent="-342900">
              <a:lnSpc>
                <a:spcPct val="100000"/>
              </a:lnSpc>
            </a:pPr>
            <a:r>
              <a:rPr lang="pt-BR" dirty="0">
                <a:solidFill>
                  <a:schemeClr val="tx1">
                    <a:alpha val="85000"/>
                  </a:schemeClr>
                </a:solidFill>
              </a:rPr>
              <a:t>D4CE </a:t>
            </a:r>
            <a:r>
              <a:rPr lang="pt-BR" dirty="0" err="1">
                <a:solidFill>
                  <a:schemeClr val="tx1">
                    <a:alpha val="85000"/>
                  </a:schemeClr>
                </a:solidFill>
              </a:rPr>
              <a:t>of</a:t>
            </a:r>
            <a:r>
              <a:rPr lang="pt-BR" dirty="0">
                <a:solidFill>
                  <a:schemeClr val="tx1">
                    <a:alpha val="85000"/>
                  </a:schemeClr>
                </a:solidFill>
              </a:rPr>
              <a:t> </a:t>
            </a:r>
            <a:r>
              <a:rPr lang="pt-BR" dirty="0" err="1">
                <a:solidFill>
                  <a:schemeClr val="tx1">
                    <a:alpha val="85000"/>
                  </a:schemeClr>
                </a:solidFill>
              </a:rPr>
              <a:t>Packaging</a:t>
            </a:r>
            <a:endParaRPr lang="pt-BR" sz="2000" dirty="0">
              <a:solidFill>
                <a:schemeClr val="tx1">
                  <a:alpha val="85000"/>
                </a:schemeClr>
              </a:solidFill>
            </a:endParaRPr>
          </a:p>
        </p:txBody>
      </p:sp>
      <p:sp>
        <p:nvSpPr>
          <p:cNvPr id="10" name="TextBox 9">
            <a:extLst>
              <a:ext uri="{FF2B5EF4-FFF2-40B4-BE49-F238E27FC236}">
                <a16:creationId xmlns:a16="http://schemas.microsoft.com/office/drawing/2014/main" id="{8743D98B-CA59-2655-3B12-0A7074D6CA44}"/>
              </a:ext>
            </a:extLst>
          </p:cNvPr>
          <p:cNvSpPr txBox="1"/>
          <p:nvPr/>
        </p:nvSpPr>
        <p:spPr>
          <a:xfrm>
            <a:off x="6753953" y="3474922"/>
            <a:ext cx="4145672" cy="400110"/>
          </a:xfrm>
          <a:prstGeom prst="rect">
            <a:avLst/>
          </a:prstGeom>
          <a:noFill/>
        </p:spPr>
        <p:txBody>
          <a:bodyPr wrap="square" rtlCol="0">
            <a:spAutoFit/>
          </a:bodyPr>
          <a:lstStyle>
            <a:defPPr>
              <a:defRPr lang="en-US"/>
            </a:defPPr>
            <a:lvl1pPr>
              <a:defRPr sz="2000" b="1">
                <a:solidFill>
                  <a:srgbClr val="1F3151"/>
                </a:solidFill>
                <a:latin typeface="+mj-lt"/>
              </a:defRPr>
            </a:lvl1pPr>
          </a:lstStyle>
          <a:p>
            <a:r>
              <a:rPr lang="pt-BR" dirty="0">
                <a:solidFill>
                  <a:schemeClr val="tx1">
                    <a:alpha val="85000"/>
                  </a:schemeClr>
                </a:solidFill>
              </a:rPr>
              <a:t>D4CE </a:t>
            </a:r>
            <a:r>
              <a:rPr lang="pt-BR" dirty="0" err="1">
                <a:solidFill>
                  <a:schemeClr val="tx1">
                    <a:alpha val="85000"/>
                  </a:schemeClr>
                </a:solidFill>
              </a:rPr>
              <a:t>of</a:t>
            </a:r>
            <a:r>
              <a:rPr lang="pt-BR" dirty="0">
                <a:solidFill>
                  <a:schemeClr val="tx1">
                    <a:alpha val="85000"/>
                  </a:schemeClr>
                </a:solidFill>
              </a:rPr>
              <a:t> </a:t>
            </a:r>
            <a:r>
              <a:rPr lang="pt-BR" dirty="0" err="1">
                <a:solidFill>
                  <a:schemeClr val="tx1">
                    <a:alpha val="85000"/>
                  </a:schemeClr>
                </a:solidFill>
              </a:rPr>
              <a:t>Products</a:t>
            </a:r>
            <a:endParaRPr lang="en-150" dirty="0">
              <a:solidFill>
                <a:schemeClr val="tx1">
                  <a:alpha val="85000"/>
                </a:schemeClr>
              </a:solidFill>
            </a:endParaRPr>
          </a:p>
        </p:txBody>
      </p:sp>
      <p:sp>
        <p:nvSpPr>
          <p:cNvPr id="16" name="TextBox 15">
            <a:extLst>
              <a:ext uri="{FF2B5EF4-FFF2-40B4-BE49-F238E27FC236}">
                <a16:creationId xmlns:a16="http://schemas.microsoft.com/office/drawing/2014/main" id="{0E67DD95-FB24-2647-6B6F-101064289969}"/>
              </a:ext>
            </a:extLst>
          </p:cNvPr>
          <p:cNvSpPr txBox="1"/>
          <p:nvPr/>
        </p:nvSpPr>
        <p:spPr>
          <a:xfrm>
            <a:off x="1553547" y="2936440"/>
            <a:ext cx="3412560" cy="1323439"/>
          </a:xfrm>
          <a:prstGeom prst="rect">
            <a:avLst/>
          </a:prstGeom>
          <a:noFill/>
        </p:spPr>
        <p:txBody>
          <a:bodyPr wrap="square" rtlCol="0">
            <a:spAutoFit/>
          </a:bodyPr>
          <a:lstStyle/>
          <a:p>
            <a:pPr algn="r"/>
            <a:r>
              <a:rPr lang="en-US" sz="4000" b="1" dirty="0">
                <a:solidFill>
                  <a:srgbClr val="1F3151"/>
                </a:solidFill>
                <a:latin typeface="+mj-lt"/>
                <a:cs typeface="Arial" panose="020B0604020202020204" pitchFamily="34" charset="0"/>
              </a:rPr>
              <a:t>Capabilities </a:t>
            </a:r>
            <a:r>
              <a:rPr lang="en-US" sz="4000" b="1" dirty="0" err="1">
                <a:solidFill>
                  <a:srgbClr val="1F3151"/>
                </a:solidFill>
                <a:latin typeface="+mj-lt"/>
                <a:cs typeface="Arial" panose="020B0604020202020204" pitchFamily="34" charset="0"/>
              </a:rPr>
              <a:t>CoE</a:t>
            </a:r>
            <a:endParaRPr lang="en-US" sz="4000" b="1" dirty="0">
              <a:solidFill>
                <a:srgbClr val="1F3151"/>
              </a:solidFill>
              <a:latin typeface="+mj-lt"/>
              <a:cs typeface="Arial" panose="020B0604020202020204" pitchFamily="34" charset="0"/>
            </a:endParaRPr>
          </a:p>
        </p:txBody>
      </p:sp>
      <p:sp>
        <p:nvSpPr>
          <p:cNvPr id="28" name="TextBox 9">
            <a:extLst>
              <a:ext uri="{FF2B5EF4-FFF2-40B4-BE49-F238E27FC236}">
                <a16:creationId xmlns:a16="http://schemas.microsoft.com/office/drawing/2014/main" id="{DE6FBFA0-E779-D697-1571-68520C642335}"/>
              </a:ext>
            </a:extLst>
          </p:cNvPr>
          <p:cNvSpPr txBox="1"/>
          <p:nvPr/>
        </p:nvSpPr>
        <p:spPr>
          <a:xfrm>
            <a:off x="5044211" y="1000215"/>
            <a:ext cx="716534" cy="400110"/>
          </a:xfrm>
          <a:prstGeom prst="rect">
            <a:avLst/>
          </a:prstGeom>
          <a:noFill/>
        </p:spPr>
        <p:txBody>
          <a:bodyPr wrap="square" rtlCol="0">
            <a:spAutoFit/>
          </a:bodyPr>
          <a:lstStyle>
            <a:defPPr>
              <a:defRPr lang="en-US"/>
            </a:defPPr>
            <a:lvl1pPr>
              <a:defRPr sz="2000" b="1">
                <a:solidFill>
                  <a:srgbClr val="1F3151"/>
                </a:solidFill>
                <a:latin typeface="+mj-lt"/>
              </a:defRPr>
            </a:lvl1pPr>
          </a:lstStyle>
          <a:p>
            <a:pPr marL="342900" indent="-342900">
              <a:lnSpc>
                <a:spcPct val="100000"/>
              </a:lnSpc>
            </a:pPr>
            <a:r>
              <a:rPr lang="pt-BR" dirty="0">
                <a:solidFill>
                  <a:schemeClr val="tx1">
                    <a:alpha val="85000"/>
                  </a:schemeClr>
                </a:solidFill>
              </a:rPr>
              <a:t>ESG</a:t>
            </a:r>
            <a:endParaRPr lang="pt-BR" sz="2000" dirty="0">
              <a:solidFill>
                <a:schemeClr val="tx1">
                  <a:alpha val="85000"/>
                </a:schemeClr>
              </a:solidFill>
            </a:endParaRPr>
          </a:p>
        </p:txBody>
      </p:sp>
      <p:sp>
        <p:nvSpPr>
          <p:cNvPr id="31" name="CaixaDeTexto 30">
            <a:extLst>
              <a:ext uri="{FF2B5EF4-FFF2-40B4-BE49-F238E27FC236}">
                <a16:creationId xmlns:a16="http://schemas.microsoft.com/office/drawing/2014/main" id="{924D95B4-5D07-1CD9-54D1-EF8830745940}"/>
              </a:ext>
            </a:extLst>
          </p:cNvPr>
          <p:cNvSpPr txBox="1"/>
          <p:nvPr/>
        </p:nvSpPr>
        <p:spPr>
          <a:xfrm>
            <a:off x="6141882" y="5318100"/>
            <a:ext cx="6096000" cy="400110"/>
          </a:xfrm>
          <a:prstGeom prst="rect">
            <a:avLst/>
          </a:prstGeom>
          <a:noFill/>
        </p:spPr>
        <p:txBody>
          <a:bodyPr wrap="square" rtlCol="0">
            <a:spAutoFit/>
          </a:bodyPr>
          <a:lstStyle>
            <a:defPPr>
              <a:defRPr lang="pt-BR"/>
            </a:defPPr>
            <a:lvl1pPr marL="342900" indent="-342900">
              <a:lnSpc>
                <a:spcPct val="100000"/>
              </a:lnSpc>
              <a:defRPr sz="2000" b="1">
                <a:solidFill>
                  <a:srgbClr val="1F3151"/>
                </a:solidFill>
                <a:latin typeface="+mj-lt"/>
              </a:defRPr>
            </a:lvl1pPr>
          </a:lstStyle>
          <a:p>
            <a:r>
              <a:rPr lang="pt-BR" dirty="0">
                <a:solidFill>
                  <a:schemeClr val="tx1">
                    <a:alpha val="85000"/>
                  </a:schemeClr>
                </a:solidFill>
              </a:rPr>
              <a:t>Digital Platforms</a:t>
            </a:r>
          </a:p>
        </p:txBody>
      </p:sp>
      <p:sp>
        <p:nvSpPr>
          <p:cNvPr id="2" name="TextBox 1">
            <a:extLst>
              <a:ext uri="{FF2B5EF4-FFF2-40B4-BE49-F238E27FC236}">
                <a16:creationId xmlns:a16="http://schemas.microsoft.com/office/drawing/2014/main" id="{10EA43EC-104D-0F4D-8513-5179C066038F}"/>
              </a:ext>
            </a:extLst>
          </p:cNvPr>
          <p:cNvSpPr txBox="1"/>
          <p:nvPr/>
        </p:nvSpPr>
        <p:spPr>
          <a:xfrm>
            <a:off x="6638154" y="4485797"/>
            <a:ext cx="3572404" cy="400110"/>
          </a:xfrm>
          <a:prstGeom prst="rect">
            <a:avLst/>
          </a:prstGeom>
          <a:noFill/>
        </p:spPr>
        <p:txBody>
          <a:bodyPr wrap="square" rtlCol="0">
            <a:spAutoFit/>
          </a:bodyPr>
          <a:lstStyle>
            <a:defPPr>
              <a:defRPr lang="en-US"/>
            </a:defPPr>
            <a:lvl1pPr>
              <a:defRPr sz="2000" b="1">
                <a:solidFill>
                  <a:srgbClr val="1F3151"/>
                </a:solidFill>
                <a:latin typeface="+mj-lt"/>
              </a:defRPr>
            </a:lvl1pPr>
          </a:lstStyle>
          <a:p>
            <a:pPr marL="342900" indent="-342900">
              <a:lnSpc>
                <a:spcPct val="100000"/>
              </a:lnSpc>
            </a:pPr>
            <a:r>
              <a:rPr lang="en-US" dirty="0">
                <a:solidFill>
                  <a:schemeClr val="tx1">
                    <a:alpha val="85000"/>
                  </a:schemeClr>
                </a:solidFill>
              </a:rPr>
              <a:t>R&amp;D of New Materials</a:t>
            </a:r>
            <a:endParaRPr lang="pt-BR" sz="2000" dirty="0">
              <a:solidFill>
                <a:schemeClr val="tx1">
                  <a:alpha val="85000"/>
                </a:schemeClr>
              </a:solidFill>
            </a:endParaRPr>
          </a:p>
        </p:txBody>
      </p:sp>
      <p:grpSp>
        <p:nvGrpSpPr>
          <p:cNvPr id="90" name="Agrupar 89">
            <a:extLst>
              <a:ext uri="{FF2B5EF4-FFF2-40B4-BE49-F238E27FC236}">
                <a16:creationId xmlns:a16="http://schemas.microsoft.com/office/drawing/2014/main" id="{A0CF99A3-4AB8-91A8-6310-E5F505769721}"/>
              </a:ext>
            </a:extLst>
          </p:cNvPr>
          <p:cNvGrpSpPr/>
          <p:nvPr/>
        </p:nvGrpSpPr>
        <p:grpSpPr>
          <a:xfrm>
            <a:off x="1209891" y="935114"/>
            <a:ext cx="5573744" cy="5647967"/>
            <a:chOff x="1209891" y="935114"/>
            <a:chExt cx="5573744" cy="5647967"/>
          </a:xfrm>
        </p:grpSpPr>
        <p:sp>
          <p:nvSpPr>
            <p:cNvPr id="3" name="Oval 2">
              <a:extLst>
                <a:ext uri="{FF2B5EF4-FFF2-40B4-BE49-F238E27FC236}">
                  <a16:creationId xmlns:a16="http://schemas.microsoft.com/office/drawing/2014/main" id="{E1B5E4AD-2878-E808-FDDF-B0BAA47BE1DE}"/>
                </a:ext>
              </a:extLst>
            </p:cNvPr>
            <p:cNvSpPr/>
            <p:nvPr/>
          </p:nvSpPr>
          <p:spPr>
            <a:xfrm rot="16776307">
              <a:off x="1256320" y="1215598"/>
              <a:ext cx="5075573" cy="5168431"/>
            </a:xfrm>
            <a:prstGeom prst="ellipse">
              <a:avLst/>
            </a:prstGeom>
            <a:ln w="12700" cap="rnd">
              <a:gradFill>
                <a:gsLst>
                  <a:gs pos="18000">
                    <a:schemeClr val="accent1">
                      <a:lumMod val="5000"/>
                      <a:lumOff val="95000"/>
                    </a:schemeClr>
                  </a:gs>
                  <a:gs pos="59000">
                    <a:schemeClr val="bg1">
                      <a:lumMod val="85000"/>
                    </a:schemeClr>
                  </a:gs>
                  <a:gs pos="100000">
                    <a:schemeClr val="bg1">
                      <a:lumMod val="85000"/>
                    </a:schemeClr>
                  </a:gs>
                </a:gsLst>
                <a:lin ang="5400000" scaled="1"/>
              </a:gradFill>
              <a:prstDash val="dash"/>
              <a:headEnd type="triangle" w="lg" len="lg"/>
              <a:tailEnd type="none" w="lg"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d-ID" dirty="0"/>
            </a:p>
          </p:txBody>
        </p:sp>
        <p:grpSp>
          <p:nvGrpSpPr>
            <p:cNvPr id="32" name="Agrupar 31">
              <a:extLst>
                <a:ext uri="{FF2B5EF4-FFF2-40B4-BE49-F238E27FC236}">
                  <a16:creationId xmlns:a16="http://schemas.microsoft.com/office/drawing/2014/main" id="{6ECDCC29-649F-799E-0E9D-88C33B201D3C}"/>
                </a:ext>
              </a:extLst>
            </p:cNvPr>
            <p:cNvGrpSpPr/>
            <p:nvPr/>
          </p:nvGrpSpPr>
          <p:grpSpPr>
            <a:xfrm>
              <a:off x="4995832" y="1499799"/>
              <a:ext cx="808992" cy="808992"/>
              <a:chOff x="4995832" y="1499799"/>
              <a:chExt cx="808992" cy="808992"/>
            </a:xfrm>
          </p:grpSpPr>
          <p:sp>
            <p:nvSpPr>
              <p:cNvPr id="12" name="Oval 11">
                <a:extLst>
                  <a:ext uri="{FF2B5EF4-FFF2-40B4-BE49-F238E27FC236}">
                    <a16:creationId xmlns:a16="http://schemas.microsoft.com/office/drawing/2014/main" id="{A3E050E3-D5E1-3983-0700-16FB82838AB2}"/>
                  </a:ext>
                </a:extLst>
              </p:cNvPr>
              <p:cNvSpPr/>
              <p:nvPr/>
            </p:nvSpPr>
            <p:spPr>
              <a:xfrm>
                <a:off x="4995832" y="1499799"/>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34" name="Graphic 28">
                <a:extLst>
                  <a:ext uri="{FF2B5EF4-FFF2-40B4-BE49-F238E27FC236}">
                    <a16:creationId xmlns:a16="http://schemas.microsoft.com/office/drawing/2014/main" id="{98D34B25-B646-9F22-6B7E-EA57EB852967}"/>
                  </a:ext>
                </a:extLst>
              </p:cNvPr>
              <p:cNvGrpSpPr/>
              <p:nvPr/>
            </p:nvGrpSpPr>
            <p:grpSpPr>
              <a:xfrm>
                <a:off x="5303116" y="1803530"/>
                <a:ext cx="84137" cy="200084"/>
                <a:chOff x="5260409" y="1288788"/>
                <a:chExt cx="84137" cy="200084"/>
              </a:xfrm>
              <a:solidFill>
                <a:srgbClr val="000532"/>
              </a:solidFill>
            </p:grpSpPr>
            <p:sp>
              <p:nvSpPr>
                <p:cNvPr id="35" name="Forma Livre: Forma 34">
                  <a:extLst>
                    <a:ext uri="{FF2B5EF4-FFF2-40B4-BE49-F238E27FC236}">
                      <a16:creationId xmlns:a16="http://schemas.microsoft.com/office/drawing/2014/main" id="{BEB3C7E0-94FD-E18C-59BD-F2331C34A2AA}"/>
                    </a:ext>
                  </a:extLst>
                </p:cNvPr>
                <p:cNvSpPr/>
                <p:nvPr/>
              </p:nvSpPr>
              <p:spPr>
                <a:xfrm>
                  <a:off x="5260409" y="1288788"/>
                  <a:ext cx="84137" cy="83279"/>
                </a:xfrm>
                <a:custGeom>
                  <a:avLst/>
                  <a:gdLst>
                    <a:gd name="connsiteX0" fmla="*/ 71 w 84137"/>
                    <a:gd name="connsiteY0" fmla="*/ 18943 h 83279"/>
                    <a:gd name="connsiteX1" fmla="*/ 71 w 84137"/>
                    <a:gd name="connsiteY1" fmla="*/ 76131 h 83279"/>
                    <a:gd name="connsiteX2" fmla="*/ 7220 w 84137"/>
                    <a:gd name="connsiteY2" fmla="*/ 83279 h 83279"/>
                    <a:gd name="connsiteX3" fmla="*/ 64407 w 84137"/>
                    <a:gd name="connsiteY3" fmla="*/ 83279 h 83279"/>
                    <a:gd name="connsiteX4" fmla="*/ 71556 w 84137"/>
                    <a:gd name="connsiteY4" fmla="*/ 76131 h 83279"/>
                    <a:gd name="connsiteX5" fmla="*/ 71556 w 84137"/>
                    <a:gd name="connsiteY5" fmla="*/ 23947 h 83279"/>
                    <a:gd name="connsiteX6" fmla="*/ 84137 w 84137"/>
                    <a:gd name="connsiteY6" fmla="*/ 9293 h 83279"/>
                    <a:gd name="connsiteX7" fmla="*/ 73271 w 84137"/>
                    <a:gd name="connsiteY7" fmla="*/ 0 h 83279"/>
                    <a:gd name="connsiteX8" fmla="*/ 63121 w 84137"/>
                    <a:gd name="connsiteY8" fmla="*/ 11795 h 83279"/>
                    <a:gd name="connsiteX9" fmla="*/ 7148 w 84137"/>
                    <a:gd name="connsiteY9" fmla="*/ 11795 h 83279"/>
                    <a:gd name="connsiteX10" fmla="*/ 0 w 84137"/>
                    <a:gd name="connsiteY10" fmla="*/ 18943 h 83279"/>
                    <a:gd name="connsiteX11" fmla="*/ 14368 w 84137"/>
                    <a:gd name="connsiteY11" fmla="*/ 26092 h 83279"/>
                    <a:gd name="connsiteX12" fmla="*/ 50897 w 84137"/>
                    <a:gd name="connsiteY12" fmla="*/ 26092 h 83279"/>
                    <a:gd name="connsiteX13" fmla="*/ 35385 w 84137"/>
                    <a:gd name="connsiteY13" fmla="*/ 44177 h 83279"/>
                    <a:gd name="connsiteX14" fmla="*/ 26521 w 84137"/>
                    <a:gd name="connsiteY14" fmla="*/ 35313 h 83279"/>
                    <a:gd name="connsiteX15" fmla="*/ 16441 w 84137"/>
                    <a:gd name="connsiteY15" fmla="*/ 45393 h 83279"/>
                    <a:gd name="connsiteX16" fmla="*/ 30738 w 84137"/>
                    <a:gd name="connsiteY16" fmla="*/ 59689 h 83279"/>
                    <a:gd name="connsiteX17" fmla="*/ 35814 w 84137"/>
                    <a:gd name="connsiteY17" fmla="*/ 61762 h 83279"/>
                    <a:gd name="connsiteX18" fmla="*/ 36100 w 84137"/>
                    <a:gd name="connsiteY18" fmla="*/ 61762 h 83279"/>
                    <a:gd name="connsiteX19" fmla="*/ 41246 w 84137"/>
                    <a:gd name="connsiteY19" fmla="*/ 59261 h 83279"/>
                    <a:gd name="connsiteX20" fmla="*/ 57259 w 84137"/>
                    <a:gd name="connsiteY20" fmla="*/ 40603 h 83279"/>
                    <a:gd name="connsiteX21" fmla="*/ 57259 w 84137"/>
                    <a:gd name="connsiteY21" fmla="*/ 68911 h 83279"/>
                    <a:gd name="connsiteX22" fmla="*/ 14368 w 84137"/>
                    <a:gd name="connsiteY22" fmla="*/ 68911 h 83279"/>
                    <a:gd name="connsiteX23" fmla="*/ 14368 w 84137"/>
                    <a:gd name="connsiteY23" fmla="*/ 26020 h 8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137" h="83279">
                      <a:moveTo>
                        <a:pt x="71" y="18943"/>
                      </a:moveTo>
                      <a:lnTo>
                        <a:pt x="71" y="76131"/>
                      </a:lnTo>
                      <a:cubicBezTo>
                        <a:pt x="71" y="80062"/>
                        <a:pt x="3288" y="83279"/>
                        <a:pt x="7220" y="83279"/>
                      </a:cubicBezTo>
                      <a:lnTo>
                        <a:pt x="64407" y="83279"/>
                      </a:lnTo>
                      <a:cubicBezTo>
                        <a:pt x="68339" y="83279"/>
                        <a:pt x="71556" y="80062"/>
                        <a:pt x="71556" y="76131"/>
                      </a:cubicBezTo>
                      <a:lnTo>
                        <a:pt x="71556" y="23947"/>
                      </a:lnTo>
                      <a:lnTo>
                        <a:pt x="84137" y="9293"/>
                      </a:lnTo>
                      <a:lnTo>
                        <a:pt x="73271" y="0"/>
                      </a:lnTo>
                      <a:lnTo>
                        <a:pt x="63121" y="11795"/>
                      </a:lnTo>
                      <a:lnTo>
                        <a:pt x="7148" y="11795"/>
                      </a:lnTo>
                      <a:cubicBezTo>
                        <a:pt x="3217" y="11795"/>
                        <a:pt x="0" y="15012"/>
                        <a:pt x="0" y="18943"/>
                      </a:cubicBezTo>
                      <a:close/>
                      <a:moveTo>
                        <a:pt x="14368" y="26092"/>
                      </a:moveTo>
                      <a:lnTo>
                        <a:pt x="50897" y="26092"/>
                      </a:lnTo>
                      <a:lnTo>
                        <a:pt x="35385" y="44177"/>
                      </a:lnTo>
                      <a:lnTo>
                        <a:pt x="26521" y="35313"/>
                      </a:lnTo>
                      <a:lnTo>
                        <a:pt x="16441" y="45393"/>
                      </a:lnTo>
                      <a:lnTo>
                        <a:pt x="30738" y="59689"/>
                      </a:lnTo>
                      <a:cubicBezTo>
                        <a:pt x="32096" y="61048"/>
                        <a:pt x="33884" y="61762"/>
                        <a:pt x="35814" y="61762"/>
                      </a:cubicBezTo>
                      <a:lnTo>
                        <a:pt x="36100" y="61762"/>
                      </a:lnTo>
                      <a:cubicBezTo>
                        <a:pt x="38101" y="61691"/>
                        <a:pt x="39960" y="60762"/>
                        <a:pt x="41246" y="59261"/>
                      </a:cubicBezTo>
                      <a:lnTo>
                        <a:pt x="57259" y="40603"/>
                      </a:lnTo>
                      <a:lnTo>
                        <a:pt x="57259" y="68911"/>
                      </a:lnTo>
                      <a:lnTo>
                        <a:pt x="14368" y="68911"/>
                      </a:lnTo>
                      <a:lnTo>
                        <a:pt x="14368" y="26020"/>
                      </a:lnTo>
                      <a:close/>
                    </a:path>
                  </a:pathLst>
                </a:custGeom>
                <a:solidFill>
                  <a:schemeClr val="accent2"/>
                </a:solidFill>
                <a:ln w="7144" cap="flat">
                  <a:noFill/>
                  <a:prstDash val="solid"/>
                  <a:miter/>
                </a:ln>
              </p:spPr>
              <p:txBody>
                <a:bodyPr rtlCol="0" anchor="ctr"/>
                <a:lstStyle/>
                <a:p>
                  <a:endParaRPr lang="pt-BR"/>
                </a:p>
              </p:txBody>
            </p:sp>
            <p:sp>
              <p:nvSpPr>
                <p:cNvPr id="36" name="Forma Livre: Forma 35">
                  <a:extLst>
                    <a:ext uri="{FF2B5EF4-FFF2-40B4-BE49-F238E27FC236}">
                      <a16:creationId xmlns:a16="http://schemas.microsoft.com/office/drawing/2014/main" id="{405094BC-42FA-2F7C-BCD9-48E6CF563ACC}"/>
                    </a:ext>
                  </a:extLst>
                </p:cNvPr>
                <p:cNvSpPr/>
                <p:nvPr/>
              </p:nvSpPr>
              <p:spPr>
                <a:xfrm>
                  <a:off x="5260409" y="1405593"/>
                  <a:ext cx="84137" cy="83279"/>
                </a:xfrm>
                <a:custGeom>
                  <a:avLst/>
                  <a:gdLst>
                    <a:gd name="connsiteX0" fmla="*/ 71 w 84137"/>
                    <a:gd name="connsiteY0" fmla="*/ 18943 h 83279"/>
                    <a:gd name="connsiteX1" fmla="*/ 71 w 84137"/>
                    <a:gd name="connsiteY1" fmla="*/ 76131 h 83279"/>
                    <a:gd name="connsiteX2" fmla="*/ 7220 w 84137"/>
                    <a:gd name="connsiteY2" fmla="*/ 83279 h 83279"/>
                    <a:gd name="connsiteX3" fmla="*/ 64407 w 84137"/>
                    <a:gd name="connsiteY3" fmla="*/ 83279 h 83279"/>
                    <a:gd name="connsiteX4" fmla="*/ 71556 w 84137"/>
                    <a:gd name="connsiteY4" fmla="*/ 76131 h 83279"/>
                    <a:gd name="connsiteX5" fmla="*/ 71556 w 84137"/>
                    <a:gd name="connsiteY5" fmla="*/ 23947 h 83279"/>
                    <a:gd name="connsiteX6" fmla="*/ 84137 w 84137"/>
                    <a:gd name="connsiteY6" fmla="*/ 9293 h 83279"/>
                    <a:gd name="connsiteX7" fmla="*/ 73271 w 84137"/>
                    <a:gd name="connsiteY7" fmla="*/ 0 h 83279"/>
                    <a:gd name="connsiteX8" fmla="*/ 63121 w 84137"/>
                    <a:gd name="connsiteY8" fmla="*/ 11795 h 83279"/>
                    <a:gd name="connsiteX9" fmla="*/ 7148 w 84137"/>
                    <a:gd name="connsiteY9" fmla="*/ 11795 h 83279"/>
                    <a:gd name="connsiteX10" fmla="*/ 0 w 84137"/>
                    <a:gd name="connsiteY10" fmla="*/ 18943 h 83279"/>
                    <a:gd name="connsiteX11" fmla="*/ 14368 w 84137"/>
                    <a:gd name="connsiteY11" fmla="*/ 26092 h 83279"/>
                    <a:gd name="connsiteX12" fmla="*/ 50897 w 84137"/>
                    <a:gd name="connsiteY12" fmla="*/ 26092 h 83279"/>
                    <a:gd name="connsiteX13" fmla="*/ 35385 w 84137"/>
                    <a:gd name="connsiteY13" fmla="*/ 44177 h 83279"/>
                    <a:gd name="connsiteX14" fmla="*/ 26521 w 84137"/>
                    <a:gd name="connsiteY14" fmla="*/ 35313 h 83279"/>
                    <a:gd name="connsiteX15" fmla="*/ 16441 w 84137"/>
                    <a:gd name="connsiteY15" fmla="*/ 45393 h 83279"/>
                    <a:gd name="connsiteX16" fmla="*/ 30738 w 84137"/>
                    <a:gd name="connsiteY16" fmla="*/ 59689 h 83279"/>
                    <a:gd name="connsiteX17" fmla="*/ 35814 w 84137"/>
                    <a:gd name="connsiteY17" fmla="*/ 61762 h 83279"/>
                    <a:gd name="connsiteX18" fmla="*/ 36100 w 84137"/>
                    <a:gd name="connsiteY18" fmla="*/ 61762 h 83279"/>
                    <a:gd name="connsiteX19" fmla="*/ 41246 w 84137"/>
                    <a:gd name="connsiteY19" fmla="*/ 59261 h 83279"/>
                    <a:gd name="connsiteX20" fmla="*/ 57259 w 84137"/>
                    <a:gd name="connsiteY20" fmla="*/ 40603 h 83279"/>
                    <a:gd name="connsiteX21" fmla="*/ 57259 w 84137"/>
                    <a:gd name="connsiteY21" fmla="*/ 68911 h 83279"/>
                    <a:gd name="connsiteX22" fmla="*/ 14368 w 84137"/>
                    <a:gd name="connsiteY22" fmla="*/ 68911 h 83279"/>
                    <a:gd name="connsiteX23" fmla="*/ 14368 w 84137"/>
                    <a:gd name="connsiteY23" fmla="*/ 26020 h 8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137" h="83279">
                      <a:moveTo>
                        <a:pt x="71" y="18943"/>
                      </a:moveTo>
                      <a:lnTo>
                        <a:pt x="71" y="76131"/>
                      </a:lnTo>
                      <a:cubicBezTo>
                        <a:pt x="71" y="80062"/>
                        <a:pt x="3288" y="83279"/>
                        <a:pt x="7220" y="83279"/>
                      </a:cubicBezTo>
                      <a:lnTo>
                        <a:pt x="64407" y="83279"/>
                      </a:lnTo>
                      <a:cubicBezTo>
                        <a:pt x="68339" y="83279"/>
                        <a:pt x="71556" y="80062"/>
                        <a:pt x="71556" y="76131"/>
                      </a:cubicBezTo>
                      <a:lnTo>
                        <a:pt x="71556" y="23947"/>
                      </a:lnTo>
                      <a:lnTo>
                        <a:pt x="84137" y="9293"/>
                      </a:lnTo>
                      <a:lnTo>
                        <a:pt x="73271" y="0"/>
                      </a:lnTo>
                      <a:lnTo>
                        <a:pt x="63121" y="11795"/>
                      </a:lnTo>
                      <a:lnTo>
                        <a:pt x="7148" y="11795"/>
                      </a:lnTo>
                      <a:cubicBezTo>
                        <a:pt x="3217" y="11795"/>
                        <a:pt x="0" y="15012"/>
                        <a:pt x="0" y="18943"/>
                      </a:cubicBezTo>
                      <a:close/>
                      <a:moveTo>
                        <a:pt x="14368" y="26092"/>
                      </a:moveTo>
                      <a:lnTo>
                        <a:pt x="50897" y="26092"/>
                      </a:lnTo>
                      <a:lnTo>
                        <a:pt x="35385" y="44177"/>
                      </a:lnTo>
                      <a:lnTo>
                        <a:pt x="26521" y="35313"/>
                      </a:lnTo>
                      <a:lnTo>
                        <a:pt x="16441" y="45393"/>
                      </a:lnTo>
                      <a:lnTo>
                        <a:pt x="30738" y="59689"/>
                      </a:lnTo>
                      <a:cubicBezTo>
                        <a:pt x="32096" y="61048"/>
                        <a:pt x="33884" y="61762"/>
                        <a:pt x="35814" y="61762"/>
                      </a:cubicBezTo>
                      <a:lnTo>
                        <a:pt x="36100" y="61762"/>
                      </a:lnTo>
                      <a:cubicBezTo>
                        <a:pt x="38101" y="61691"/>
                        <a:pt x="39960" y="60762"/>
                        <a:pt x="41246" y="59261"/>
                      </a:cubicBezTo>
                      <a:lnTo>
                        <a:pt x="57259" y="40603"/>
                      </a:lnTo>
                      <a:lnTo>
                        <a:pt x="57259" y="68911"/>
                      </a:lnTo>
                      <a:lnTo>
                        <a:pt x="14368" y="68911"/>
                      </a:lnTo>
                      <a:lnTo>
                        <a:pt x="14368" y="26020"/>
                      </a:lnTo>
                      <a:close/>
                    </a:path>
                  </a:pathLst>
                </a:custGeom>
                <a:solidFill>
                  <a:schemeClr val="accent2"/>
                </a:solidFill>
                <a:ln w="7144" cap="flat">
                  <a:noFill/>
                  <a:prstDash val="solid"/>
                  <a:miter/>
                </a:ln>
              </p:spPr>
              <p:txBody>
                <a:bodyPr rtlCol="0" anchor="ctr"/>
                <a:lstStyle/>
                <a:p>
                  <a:endParaRPr lang="pt-BR" dirty="0"/>
                </a:p>
              </p:txBody>
            </p:sp>
          </p:grpSp>
          <p:sp>
            <p:nvSpPr>
              <p:cNvPr id="37" name="Forma Livre: Forma 36">
                <a:extLst>
                  <a:ext uri="{FF2B5EF4-FFF2-40B4-BE49-F238E27FC236}">
                    <a16:creationId xmlns:a16="http://schemas.microsoft.com/office/drawing/2014/main" id="{03CD6D28-25F4-A775-1E85-A3A9FB12BBC1}"/>
                  </a:ext>
                </a:extLst>
              </p:cNvPr>
              <p:cNvSpPr/>
              <p:nvPr/>
            </p:nvSpPr>
            <p:spPr>
              <a:xfrm>
                <a:off x="5445227" y="1793879"/>
                <a:ext cx="200155" cy="314531"/>
              </a:xfrm>
              <a:custGeom>
                <a:avLst/>
                <a:gdLst>
                  <a:gd name="connsiteX0" fmla="*/ 200156 w 200155"/>
                  <a:gd name="connsiteY0" fmla="*/ 100078 h 314531"/>
                  <a:gd name="connsiteX1" fmla="*/ 114375 w 200155"/>
                  <a:gd name="connsiteY1" fmla="*/ 1144 h 314531"/>
                  <a:gd name="connsiteX2" fmla="*/ 100078 w 200155"/>
                  <a:gd name="connsiteY2" fmla="*/ 0 h 314531"/>
                  <a:gd name="connsiteX3" fmla="*/ 85781 w 200155"/>
                  <a:gd name="connsiteY3" fmla="*/ 1144 h 314531"/>
                  <a:gd name="connsiteX4" fmla="*/ 71484 w 200155"/>
                  <a:gd name="connsiteY4" fmla="*/ 4218 h 314531"/>
                  <a:gd name="connsiteX5" fmla="*/ 71 w 200155"/>
                  <a:gd name="connsiteY5" fmla="*/ 103795 h 314531"/>
                  <a:gd name="connsiteX6" fmla="*/ 78633 w 200155"/>
                  <a:gd name="connsiteY6" fmla="*/ 197797 h 314531"/>
                  <a:gd name="connsiteX7" fmla="*/ 78633 w 200155"/>
                  <a:gd name="connsiteY7" fmla="*/ 207305 h 314531"/>
                  <a:gd name="connsiteX8" fmla="*/ 71484 w 200155"/>
                  <a:gd name="connsiteY8" fmla="*/ 214453 h 314531"/>
                  <a:gd name="connsiteX9" fmla="*/ 71484 w 200155"/>
                  <a:gd name="connsiteY9" fmla="*/ 235898 h 314531"/>
                  <a:gd name="connsiteX10" fmla="*/ 71127 w 200155"/>
                  <a:gd name="connsiteY10" fmla="*/ 235898 h 314531"/>
                  <a:gd name="connsiteX11" fmla="*/ 71127 w 200155"/>
                  <a:gd name="connsiteY11" fmla="*/ 250195 h 314531"/>
                  <a:gd name="connsiteX12" fmla="*/ 71484 w 200155"/>
                  <a:gd name="connsiteY12" fmla="*/ 250195 h 314531"/>
                  <a:gd name="connsiteX13" fmla="*/ 71484 w 200155"/>
                  <a:gd name="connsiteY13" fmla="*/ 264492 h 314531"/>
                  <a:gd name="connsiteX14" fmla="*/ 71127 w 200155"/>
                  <a:gd name="connsiteY14" fmla="*/ 264492 h 314531"/>
                  <a:gd name="connsiteX15" fmla="*/ 71127 w 200155"/>
                  <a:gd name="connsiteY15" fmla="*/ 278789 h 314531"/>
                  <a:gd name="connsiteX16" fmla="*/ 71484 w 200155"/>
                  <a:gd name="connsiteY16" fmla="*/ 278789 h 314531"/>
                  <a:gd name="connsiteX17" fmla="*/ 71484 w 200155"/>
                  <a:gd name="connsiteY17" fmla="*/ 285937 h 314531"/>
                  <a:gd name="connsiteX18" fmla="*/ 100078 w 200155"/>
                  <a:gd name="connsiteY18" fmla="*/ 314531 h 314531"/>
                  <a:gd name="connsiteX19" fmla="*/ 128672 w 200155"/>
                  <a:gd name="connsiteY19" fmla="*/ 285937 h 314531"/>
                  <a:gd name="connsiteX20" fmla="*/ 128672 w 200155"/>
                  <a:gd name="connsiteY20" fmla="*/ 214453 h 314531"/>
                  <a:gd name="connsiteX21" fmla="*/ 121523 w 200155"/>
                  <a:gd name="connsiteY21" fmla="*/ 207305 h 314531"/>
                  <a:gd name="connsiteX22" fmla="*/ 121523 w 200155"/>
                  <a:gd name="connsiteY22" fmla="*/ 197797 h 314531"/>
                  <a:gd name="connsiteX23" fmla="*/ 200156 w 200155"/>
                  <a:gd name="connsiteY23" fmla="*/ 100078 h 314531"/>
                  <a:gd name="connsiteX24" fmla="*/ 114375 w 200155"/>
                  <a:gd name="connsiteY24" fmla="*/ 285937 h 314531"/>
                  <a:gd name="connsiteX25" fmla="*/ 100078 w 200155"/>
                  <a:gd name="connsiteY25" fmla="*/ 300234 h 314531"/>
                  <a:gd name="connsiteX26" fmla="*/ 85781 w 200155"/>
                  <a:gd name="connsiteY26" fmla="*/ 285937 h 314531"/>
                  <a:gd name="connsiteX27" fmla="*/ 85781 w 200155"/>
                  <a:gd name="connsiteY27" fmla="*/ 221601 h 314531"/>
                  <a:gd name="connsiteX28" fmla="*/ 114375 w 200155"/>
                  <a:gd name="connsiteY28" fmla="*/ 221601 h 314531"/>
                  <a:gd name="connsiteX29" fmla="*/ 114375 w 200155"/>
                  <a:gd name="connsiteY29" fmla="*/ 285937 h 314531"/>
                  <a:gd name="connsiteX30" fmla="*/ 92929 w 200155"/>
                  <a:gd name="connsiteY30" fmla="*/ 207305 h 314531"/>
                  <a:gd name="connsiteX31" fmla="*/ 92929 w 200155"/>
                  <a:gd name="connsiteY31" fmla="*/ 199799 h 314531"/>
                  <a:gd name="connsiteX32" fmla="*/ 100078 w 200155"/>
                  <a:gd name="connsiteY32" fmla="*/ 200156 h 314531"/>
                  <a:gd name="connsiteX33" fmla="*/ 107226 w 200155"/>
                  <a:gd name="connsiteY33" fmla="*/ 199799 h 314531"/>
                  <a:gd name="connsiteX34" fmla="*/ 107226 w 200155"/>
                  <a:gd name="connsiteY34" fmla="*/ 207305 h 314531"/>
                  <a:gd name="connsiteX35" fmla="*/ 92929 w 200155"/>
                  <a:gd name="connsiteY35" fmla="*/ 207305 h 314531"/>
                  <a:gd name="connsiteX36" fmla="*/ 100078 w 200155"/>
                  <a:gd name="connsiteY36" fmla="*/ 185859 h 314531"/>
                  <a:gd name="connsiteX37" fmla="*/ 14297 w 200155"/>
                  <a:gd name="connsiteY37" fmla="*/ 100078 h 314531"/>
                  <a:gd name="connsiteX38" fmla="*/ 100078 w 200155"/>
                  <a:gd name="connsiteY38" fmla="*/ 14297 h 314531"/>
                  <a:gd name="connsiteX39" fmla="*/ 185859 w 200155"/>
                  <a:gd name="connsiteY39" fmla="*/ 100078 h 314531"/>
                  <a:gd name="connsiteX40" fmla="*/ 100078 w 200155"/>
                  <a:gd name="connsiteY40" fmla="*/ 185859 h 31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0155" h="314531">
                    <a:moveTo>
                      <a:pt x="200156" y="100078"/>
                    </a:moveTo>
                    <a:cubicBezTo>
                      <a:pt x="200084" y="50396"/>
                      <a:pt x="163556" y="8292"/>
                      <a:pt x="114375" y="1144"/>
                    </a:cubicBezTo>
                    <a:lnTo>
                      <a:pt x="100078" y="0"/>
                    </a:lnTo>
                    <a:cubicBezTo>
                      <a:pt x="95288" y="0"/>
                      <a:pt x="90499" y="429"/>
                      <a:pt x="85781" y="1144"/>
                    </a:cubicBezTo>
                    <a:lnTo>
                      <a:pt x="71484" y="4218"/>
                    </a:lnTo>
                    <a:cubicBezTo>
                      <a:pt x="27736" y="17228"/>
                      <a:pt x="-1644" y="58188"/>
                      <a:pt x="71" y="103795"/>
                    </a:cubicBezTo>
                    <a:cubicBezTo>
                      <a:pt x="1787" y="149402"/>
                      <a:pt x="34098" y="188075"/>
                      <a:pt x="78633" y="197797"/>
                    </a:cubicBezTo>
                    <a:lnTo>
                      <a:pt x="78633" y="207305"/>
                    </a:lnTo>
                    <a:cubicBezTo>
                      <a:pt x="74701" y="207305"/>
                      <a:pt x="71484" y="210521"/>
                      <a:pt x="71484" y="214453"/>
                    </a:cubicBezTo>
                    <a:lnTo>
                      <a:pt x="71484" y="235898"/>
                    </a:lnTo>
                    <a:lnTo>
                      <a:pt x="71127" y="235898"/>
                    </a:lnTo>
                    <a:lnTo>
                      <a:pt x="71127" y="250195"/>
                    </a:lnTo>
                    <a:lnTo>
                      <a:pt x="71484" y="250195"/>
                    </a:lnTo>
                    <a:lnTo>
                      <a:pt x="71484" y="264492"/>
                    </a:lnTo>
                    <a:lnTo>
                      <a:pt x="71127" y="264492"/>
                    </a:lnTo>
                    <a:lnTo>
                      <a:pt x="71127" y="278789"/>
                    </a:lnTo>
                    <a:lnTo>
                      <a:pt x="71484" y="278789"/>
                    </a:lnTo>
                    <a:lnTo>
                      <a:pt x="71484" y="285937"/>
                    </a:lnTo>
                    <a:cubicBezTo>
                      <a:pt x="71484" y="301735"/>
                      <a:pt x="84280" y="314531"/>
                      <a:pt x="100078" y="314531"/>
                    </a:cubicBezTo>
                    <a:cubicBezTo>
                      <a:pt x="115876" y="314531"/>
                      <a:pt x="128672" y="301735"/>
                      <a:pt x="128672" y="285937"/>
                    </a:cubicBezTo>
                    <a:lnTo>
                      <a:pt x="128672" y="214453"/>
                    </a:lnTo>
                    <a:cubicBezTo>
                      <a:pt x="128672" y="210521"/>
                      <a:pt x="125455" y="207305"/>
                      <a:pt x="121523" y="207305"/>
                    </a:cubicBezTo>
                    <a:lnTo>
                      <a:pt x="121523" y="197797"/>
                    </a:lnTo>
                    <a:cubicBezTo>
                      <a:pt x="167416" y="187718"/>
                      <a:pt x="200084" y="147043"/>
                      <a:pt x="200156" y="100078"/>
                    </a:cubicBezTo>
                    <a:close/>
                    <a:moveTo>
                      <a:pt x="114375" y="285937"/>
                    </a:moveTo>
                    <a:cubicBezTo>
                      <a:pt x="114375" y="293801"/>
                      <a:pt x="107941" y="300234"/>
                      <a:pt x="100078" y="300234"/>
                    </a:cubicBezTo>
                    <a:cubicBezTo>
                      <a:pt x="92215" y="300234"/>
                      <a:pt x="85781" y="293801"/>
                      <a:pt x="85781" y="285937"/>
                    </a:cubicBezTo>
                    <a:lnTo>
                      <a:pt x="85781" y="221601"/>
                    </a:lnTo>
                    <a:lnTo>
                      <a:pt x="114375" y="221601"/>
                    </a:lnTo>
                    <a:lnTo>
                      <a:pt x="114375" y="285937"/>
                    </a:lnTo>
                    <a:close/>
                    <a:moveTo>
                      <a:pt x="92929" y="207305"/>
                    </a:moveTo>
                    <a:lnTo>
                      <a:pt x="92929" y="199799"/>
                    </a:lnTo>
                    <a:cubicBezTo>
                      <a:pt x="95288" y="199942"/>
                      <a:pt x="97647" y="200156"/>
                      <a:pt x="100078" y="200156"/>
                    </a:cubicBezTo>
                    <a:cubicBezTo>
                      <a:pt x="102508" y="200156"/>
                      <a:pt x="104867" y="199942"/>
                      <a:pt x="107226" y="199799"/>
                    </a:cubicBezTo>
                    <a:lnTo>
                      <a:pt x="107226" y="207305"/>
                    </a:lnTo>
                    <a:lnTo>
                      <a:pt x="92929" y="207305"/>
                    </a:lnTo>
                    <a:close/>
                    <a:moveTo>
                      <a:pt x="100078" y="185859"/>
                    </a:moveTo>
                    <a:cubicBezTo>
                      <a:pt x="52684" y="185859"/>
                      <a:pt x="14297" y="147472"/>
                      <a:pt x="14297" y="100078"/>
                    </a:cubicBezTo>
                    <a:cubicBezTo>
                      <a:pt x="14297" y="52684"/>
                      <a:pt x="52684" y="14297"/>
                      <a:pt x="100078" y="14297"/>
                    </a:cubicBezTo>
                    <a:cubicBezTo>
                      <a:pt x="147400" y="14297"/>
                      <a:pt x="185788" y="52755"/>
                      <a:pt x="185859" y="100078"/>
                    </a:cubicBezTo>
                    <a:cubicBezTo>
                      <a:pt x="185859" y="147472"/>
                      <a:pt x="147472" y="185859"/>
                      <a:pt x="100078" y="185859"/>
                    </a:cubicBezTo>
                    <a:close/>
                  </a:path>
                </a:pathLst>
              </a:custGeom>
              <a:solidFill>
                <a:srgbClr val="000532"/>
              </a:solidFill>
              <a:ln w="7144" cap="flat">
                <a:noFill/>
                <a:prstDash val="solid"/>
                <a:miter/>
              </a:ln>
            </p:spPr>
            <p:txBody>
              <a:bodyPr rtlCol="0" anchor="ctr"/>
              <a:lstStyle/>
              <a:p>
                <a:endParaRPr lang="pt-BR"/>
              </a:p>
            </p:txBody>
          </p:sp>
          <p:sp>
            <p:nvSpPr>
              <p:cNvPr id="38" name="Forma Livre: Forma 37">
                <a:extLst>
                  <a:ext uri="{FF2B5EF4-FFF2-40B4-BE49-F238E27FC236}">
                    <a16:creationId xmlns:a16="http://schemas.microsoft.com/office/drawing/2014/main" id="{16955D4A-425C-0BBC-A21E-9D620454104F}"/>
                  </a:ext>
                </a:extLst>
              </p:cNvPr>
              <p:cNvSpPr/>
              <p:nvPr/>
            </p:nvSpPr>
            <p:spPr>
              <a:xfrm>
                <a:off x="5330852" y="1679505"/>
                <a:ext cx="142539" cy="100078"/>
              </a:xfrm>
              <a:custGeom>
                <a:avLst/>
                <a:gdLst>
                  <a:gd name="connsiteX0" fmla="*/ 0 w 142539"/>
                  <a:gd name="connsiteY0" fmla="*/ 85924 h 100078"/>
                  <a:gd name="connsiteX1" fmla="*/ 14297 w 142539"/>
                  <a:gd name="connsiteY1" fmla="*/ 100078 h 100078"/>
                  <a:gd name="connsiteX2" fmla="*/ 128672 w 142539"/>
                  <a:gd name="connsiteY2" fmla="*/ 100078 h 100078"/>
                  <a:gd name="connsiteX3" fmla="*/ 142540 w 142539"/>
                  <a:gd name="connsiteY3" fmla="*/ 89141 h 100078"/>
                  <a:gd name="connsiteX4" fmla="*/ 142540 w 142539"/>
                  <a:gd name="connsiteY4" fmla="*/ 10937 h 100078"/>
                  <a:gd name="connsiteX5" fmla="*/ 128672 w 142539"/>
                  <a:gd name="connsiteY5" fmla="*/ 0 h 100078"/>
                  <a:gd name="connsiteX6" fmla="*/ 14297 w 142539"/>
                  <a:gd name="connsiteY6" fmla="*/ 0 h 100078"/>
                  <a:gd name="connsiteX7" fmla="*/ 0 w 142539"/>
                  <a:gd name="connsiteY7" fmla="*/ 14154 h 100078"/>
                  <a:gd name="connsiteX8" fmla="*/ 0 w 142539"/>
                  <a:gd name="connsiteY8" fmla="*/ 85924 h 100078"/>
                  <a:gd name="connsiteX9" fmla="*/ 14297 w 142539"/>
                  <a:gd name="connsiteY9" fmla="*/ 14297 h 100078"/>
                  <a:gd name="connsiteX10" fmla="*/ 128672 w 142539"/>
                  <a:gd name="connsiteY10" fmla="*/ 14297 h 100078"/>
                  <a:gd name="connsiteX11" fmla="*/ 128672 w 142539"/>
                  <a:gd name="connsiteY11" fmla="*/ 85781 h 100078"/>
                  <a:gd name="connsiteX12" fmla="*/ 14297 w 142539"/>
                  <a:gd name="connsiteY12" fmla="*/ 85781 h 100078"/>
                  <a:gd name="connsiteX13" fmla="*/ 14297 w 142539"/>
                  <a:gd name="connsiteY13" fmla="*/ 14297 h 10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539" h="100078">
                    <a:moveTo>
                      <a:pt x="0" y="85924"/>
                    </a:moveTo>
                    <a:cubicBezTo>
                      <a:pt x="0" y="93787"/>
                      <a:pt x="6434" y="100078"/>
                      <a:pt x="14297" y="100078"/>
                    </a:cubicBezTo>
                    <a:lnTo>
                      <a:pt x="128672" y="100078"/>
                    </a:lnTo>
                    <a:cubicBezTo>
                      <a:pt x="135391" y="100078"/>
                      <a:pt x="141039" y="95432"/>
                      <a:pt x="142540" y="89141"/>
                    </a:cubicBezTo>
                    <a:lnTo>
                      <a:pt x="142540" y="10937"/>
                    </a:lnTo>
                    <a:cubicBezTo>
                      <a:pt x="141039" y="4646"/>
                      <a:pt x="135391" y="0"/>
                      <a:pt x="128672" y="0"/>
                    </a:cubicBezTo>
                    <a:lnTo>
                      <a:pt x="14297" y="0"/>
                    </a:lnTo>
                    <a:cubicBezTo>
                      <a:pt x="6434" y="0"/>
                      <a:pt x="71" y="6362"/>
                      <a:pt x="0" y="14154"/>
                    </a:cubicBezTo>
                    <a:lnTo>
                      <a:pt x="0" y="85924"/>
                    </a:lnTo>
                    <a:close/>
                    <a:moveTo>
                      <a:pt x="14297" y="14297"/>
                    </a:moveTo>
                    <a:lnTo>
                      <a:pt x="128672" y="14297"/>
                    </a:lnTo>
                    <a:lnTo>
                      <a:pt x="128672" y="85781"/>
                    </a:lnTo>
                    <a:lnTo>
                      <a:pt x="14297" y="85781"/>
                    </a:lnTo>
                    <a:lnTo>
                      <a:pt x="14297" y="14297"/>
                    </a:lnTo>
                    <a:close/>
                  </a:path>
                </a:pathLst>
              </a:custGeom>
              <a:solidFill>
                <a:srgbClr val="000532"/>
              </a:solidFill>
              <a:ln w="7144" cap="flat">
                <a:noFill/>
                <a:prstDash val="solid"/>
                <a:miter/>
              </a:ln>
            </p:spPr>
            <p:txBody>
              <a:bodyPr rtlCol="0" anchor="ctr"/>
              <a:lstStyle/>
              <a:p>
                <a:endParaRPr lang="pt-BR"/>
              </a:p>
            </p:txBody>
          </p:sp>
          <p:sp>
            <p:nvSpPr>
              <p:cNvPr id="39" name="Forma Livre: Forma 38">
                <a:extLst>
                  <a:ext uri="{FF2B5EF4-FFF2-40B4-BE49-F238E27FC236}">
                    <a16:creationId xmlns:a16="http://schemas.microsoft.com/office/drawing/2014/main" id="{934BBFCD-EFE0-552C-B2B1-EBE7BABDD3F7}"/>
                  </a:ext>
                </a:extLst>
              </p:cNvPr>
              <p:cNvSpPr/>
              <p:nvPr/>
            </p:nvSpPr>
            <p:spPr>
              <a:xfrm>
                <a:off x="5473820" y="1822473"/>
                <a:ext cx="71484" cy="142968"/>
              </a:xfrm>
              <a:custGeom>
                <a:avLst/>
                <a:gdLst>
                  <a:gd name="connsiteX0" fmla="*/ 0 w 71484"/>
                  <a:gd name="connsiteY0" fmla="*/ 71484 h 142968"/>
                  <a:gd name="connsiteX1" fmla="*/ 71484 w 71484"/>
                  <a:gd name="connsiteY1" fmla="*/ 142969 h 142968"/>
                  <a:gd name="connsiteX2" fmla="*/ 71484 w 71484"/>
                  <a:gd name="connsiteY2" fmla="*/ 128672 h 142968"/>
                  <a:gd name="connsiteX3" fmla="*/ 14297 w 71484"/>
                  <a:gd name="connsiteY3" fmla="*/ 71484 h 142968"/>
                  <a:gd name="connsiteX4" fmla="*/ 71484 w 71484"/>
                  <a:gd name="connsiteY4" fmla="*/ 14297 h 142968"/>
                  <a:gd name="connsiteX5" fmla="*/ 71484 w 71484"/>
                  <a:gd name="connsiteY5" fmla="*/ 0 h 142968"/>
                  <a:gd name="connsiteX6" fmla="*/ 0 w 71484"/>
                  <a:gd name="connsiteY6" fmla="*/ 71484 h 14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84" h="142968">
                    <a:moveTo>
                      <a:pt x="0" y="71484"/>
                    </a:moveTo>
                    <a:cubicBezTo>
                      <a:pt x="0" y="110944"/>
                      <a:pt x="32025" y="142897"/>
                      <a:pt x="71484" y="142969"/>
                    </a:cubicBezTo>
                    <a:lnTo>
                      <a:pt x="71484" y="128672"/>
                    </a:lnTo>
                    <a:cubicBezTo>
                      <a:pt x="39888" y="128672"/>
                      <a:pt x="14297" y="103080"/>
                      <a:pt x="14297" y="71484"/>
                    </a:cubicBezTo>
                    <a:cubicBezTo>
                      <a:pt x="14297" y="39888"/>
                      <a:pt x="39888" y="14297"/>
                      <a:pt x="71484" y="14297"/>
                    </a:cubicBezTo>
                    <a:lnTo>
                      <a:pt x="71484" y="0"/>
                    </a:lnTo>
                    <a:cubicBezTo>
                      <a:pt x="32025" y="0"/>
                      <a:pt x="71" y="32025"/>
                      <a:pt x="0" y="71484"/>
                    </a:cubicBezTo>
                    <a:close/>
                  </a:path>
                </a:pathLst>
              </a:custGeom>
              <a:solidFill>
                <a:schemeClr val="accent1"/>
              </a:solidFill>
              <a:ln w="7144" cap="flat">
                <a:noFill/>
                <a:prstDash val="solid"/>
                <a:miter/>
              </a:ln>
            </p:spPr>
            <p:txBody>
              <a:bodyPr rtlCol="0" anchor="ctr"/>
              <a:lstStyle/>
              <a:p>
                <a:endParaRPr lang="pt-BR"/>
              </a:p>
            </p:txBody>
          </p:sp>
          <p:sp>
            <p:nvSpPr>
              <p:cNvPr id="40" name="Forma Livre: Forma 39">
                <a:extLst>
                  <a:ext uri="{FF2B5EF4-FFF2-40B4-BE49-F238E27FC236}">
                    <a16:creationId xmlns:a16="http://schemas.microsoft.com/office/drawing/2014/main" id="{15CD45D1-5354-6B09-CF3D-BDE3F9E228AA}"/>
                  </a:ext>
                </a:extLst>
              </p:cNvPr>
              <p:cNvSpPr/>
              <p:nvPr/>
            </p:nvSpPr>
            <p:spPr>
              <a:xfrm>
                <a:off x="5486759" y="1708098"/>
                <a:ext cx="72842" cy="74415"/>
              </a:xfrm>
              <a:custGeom>
                <a:avLst/>
                <a:gdLst>
                  <a:gd name="connsiteX0" fmla="*/ 51397 w 72842"/>
                  <a:gd name="connsiteY0" fmla="*/ 0 h 74415"/>
                  <a:gd name="connsiteX1" fmla="*/ 0 w 72842"/>
                  <a:gd name="connsiteY1" fmla="*/ 0 h 74415"/>
                  <a:gd name="connsiteX2" fmla="*/ 0 w 72842"/>
                  <a:gd name="connsiteY2" fmla="*/ 14297 h 74415"/>
                  <a:gd name="connsiteX3" fmla="*/ 51397 w 72842"/>
                  <a:gd name="connsiteY3" fmla="*/ 14297 h 74415"/>
                  <a:gd name="connsiteX4" fmla="*/ 58546 w 72842"/>
                  <a:gd name="connsiteY4" fmla="*/ 21445 h 74415"/>
                  <a:gd name="connsiteX5" fmla="*/ 58546 w 72842"/>
                  <a:gd name="connsiteY5" fmla="*/ 72986 h 74415"/>
                  <a:gd name="connsiteX6" fmla="*/ 72842 w 72842"/>
                  <a:gd name="connsiteY6" fmla="*/ 74415 h 74415"/>
                  <a:gd name="connsiteX7" fmla="*/ 72842 w 72842"/>
                  <a:gd name="connsiteY7" fmla="*/ 21445 h 74415"/>
                  <a:gd name="connsiteX8" fmla="*/ 51397 w 72842"/>
                  <a:gd name="connsiteY8" fmla="*/ 0 h 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2" h="74415">
                    <a:moveTo>
                      <a:pt x="51397" y="0"/>
                    </a:moveTo>
                    <a:lnTo>
                      <a:pt x="0" y="0"/>
                    </a:lnTo>
                    <a:lnTo>
                      <a:pt x="0" y="14297"/>
                    </a:lnTo>
                    <a:lnTo>
                      <a:pt x="51397" y="14297"/>
                    </a:lnTo>
                    <a:cubicBezTo>
                      <a:pt x="55329" y="14297"/>
                      <a:pt x="58546" y="17514"/>
                      <a:pt x="58546" y="21445"/>
                    </a:cubicBezTo>
                    <a:lnTo>
                      <a:pt x="58546" y="72986"/>
                    </a:lnTo>
                    <a:cubicBezTo>
                      <a:pt x="64264" y="72986"/>
                      <a:pt x="68982" y="73557"/>
                      <a:pt x="72842" y="74415"/>
                    </a:cubicBezTo>
                    <a:lnTo>
                      <a:pt x="72842" y="21445"/>
                    </a:lnTo>
                    <a:cubicBezTo>
                      <a:pt x="72842" y="9579"/>
                      <a:pt x="63264" y="0"/>
                      <a:pt x="51397" y="0"/>
                    </a:cubicBezTo>
                    <a:close/>
                  </a:path>
                </a:pathLst>
              </a:custGeom>
              <a:solidFill>
                <a:srgbClr val="000532"/>
              </a:solidFill>
              <a:ln w="7144" cap="flat">
                <a:noFill/>
                <a:prstDash val="solid"/>
                <a:miter/>
              </a:ln>
            </p:spPr>
            <p:txBody>
              <a:bodyPr rtlCol="0" anchor="ctr"/>
              <a:lstStyle/>
              <a:p>
                <a:endParaRPr lang="pt-BR"/>
              </a:p>
            </p:txBody>
          </p:sp>
          <p:sp>
            <p:nvSpPr>
              <p:cNvPr id="41" name="Forma Livre: Forma 40">
                <a:extLst>
                  <a:ext uri="{FF2B5EF4-FFF2-40B4-BE49-F238E27FC236}">
                    <a16:creationId xmlns:a16="http://schemas.microsoft.com/office/drawing/2014/main" id="{B938B72C-D4C8-07A6-7621-A9FEB61F3D81}"/>
                  </a:ext>
                </a:extLst>
              </p:cNvPr>
              <p:cNvSpPr/>
              <p:nvPr/>
            </p:nvSpPr>
            <p:spPr>
              <a:xfrm>
                <a:off x="5245071" y="1708098"/>
                <a:ext cx="255842" cy="364570"/>
              </a:xfrm>
              <a:custGeom>
                <a:avLst/>
                <a:gdLst>
                  <a:gd name="connsiteX0" fmla="*/ 14297 w 255842"/>
                  <a:gd name="connsiteY0" fmla="*/ 343125 h 364570"/>
                  <a:gd name="connsiteX1" fmla="*/ 14297 w 255842"/>
                  <a:gd name="connsiteY1" fmla="*/ 21445 h 364570"/>
                  <a:gd name="connsiteX2" fmla="*/ 21445 w 255842"/>
                  <a:gd name="connsiteY2" fmla="*/ 14297 h 364570"/>
                  <a:gd name="connsiteX3" fmla="*/ 72414 w 255842"/>
                  <a:gd name="connsiteY3" fmla="*/ 14297 h 364570"/>
                  <a:gd name="connsiteX4" fmla="*/ 72414 w 255842"/>
                  <a:gd name="connsiteY4" fmla="*/ 0 h 364570"/>
                  <a:gd name="connsiteX5" fmla="*/ 21445 w 255842"/>
                  <a:gd name="connsiteY5" fmla="*/ 0 h 364570"/>
                  <a:gd name="connsiteX6" fmla="*/ 0 w 255842"/>
                  <a:gd name="connsiteY6" fmla="*/ 21445 h 364570"/>
                  <a:gd name="connsiteX7" fmla="*/ 0 w 255842"/>
                  <a:gd name="connsiteY7" fmla="*/ 343125 h 364570"/>
                  <a:gd name="connsiteX8" fmla="*/ 21445 w 255842"/>
                  <a:gd name="connsiteY8" fmla="*/ 364570 h 364570"/>
                  <a:gd name="connsiteX9" fmla="*/ 255842 w 255842"/>
                  <a:gd name="connsiteY9" fmla="*/ 364570 h 364570"/>
                  <a:gd name="connsiteX10" fmla="*/ 255842 w 255842"/>
                  <a:gd name="connsiteY10" fmla="*/ 350273 h 364570"/>
                  <a:gd name="connsiteX11" fmla="*/ 21445 w 255842"/>
                  <a:gd name="connsiteY11" fmla="*/ 350273 h 364570"/>
                  <a:gd name="connsiteX12" fmla="*/ 14297 w 255842"/>
                  <a:gd name="connsiteY12" fmla="*/ 343125 h 36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5842" h="364570">
                    <a:moveTo>
                      <a:pt x="14297" y="343125"/>
                    </a:moveTo>
                    <a:lnTo>
                      <a:pt x="14297" y="21445"/>
                    </a:lnTo>
                    <a:cubicBezTo>
                      <a:pt x="14297" y="17514"/>
                      <a:pt x="17514" y="14297"/>
                      <a:pt x="21445" y="14297"/>
                    </a:cubicBezTo>
                    <a:lnTo>
                      <a:pt x="72414" y="14297"/>
                    </a:lnTo>
                    <a:lnTo>
                      <a:pt x="72414" y="0"/>
                    </a:lnTo>
                    <a:lnTo>
                      <a:pt x="21445" y="0"/>
                    </a:lnTo>
                    <a:cubicBezTo>
                      <a:pt x="9579" y="0"/>
                      <a:pt x="0" y="9579"/>
                      <a:pt x="0" y="21445"/>
                    </a:cubicBezTo>
                    <a:lnTo>
                      <a:pt x="0" y="343125"/>
                    </a:lnTo>
                    <a:cubicBezTo>
                      <a:pt x="0" y="354991"/>
                      <a:pt x="9579" y="364570"/>
                      <a:pt x="21445" y="364570"/>
                    </a:cubicBezTo>
                    <a:lnTo>
                      <a:pt x="255842" y="364570"/>
                    </a:lnTo>
                    <a:lnTo>
                      <a:pt x="255842" y="350273"/>
                    </a:lnTo>
                    <a:lnTo>
                      <a:pt x="21445" y="350273"/>
                    </a:lnTo>
                    <a:cubicBezTo>
                      <a:pt x="17514" y="350273"/>
                      <a:pt x="14297" y="347056"/>
                      <a:pt x="14297" y="343125"/>
                    </a:cubicBezTo>
                    <a:close/>
                  </a:path>
                </a:pathLst>
              </a:custGeom>
              <a:solidFill>
                <a:srgbClr val="000532"/>
              </a:solidFill>
              <a:ln w="7144" cap="flat">
                <a:noFill/>
                <a:prstDash val="solid"/>
                <a:miter/>
              </a:ln>
            </p:spPr>
            <p:txBody>
              <a:bodyPr rtlCol="0" anchor="ctr"/>
              <a:lstStyle/>
              <a:p>
                <a:endParaRPr lang="pt-BR"/>
              </a:p>
            </p:txBody>
          </p:sp>
        </p:grpSp>
        <p:grpSp>
          <p:nvGrpSpPr>
            <p:cNvPr id="42" name="Agrupar 41">
              <a:extLst>
                <a:ext uri="{FF2B5EF4-FFF2-40B4-BE49-F238E27FC236}">
                  <a16:creationId xmlns:a16="http://schemas.microsoft.com/office/drawing/2014/main" id="{62579074-8190-E073-51BA-C82D93247B32}"/>
                </a:ext>
              </a:extLst>
            </p:cNvPr>
            <p:cNvGrpSpPr/>
            <p:nvPr/>
          </p:nvGrpSpPr>
          <p:grpSpPr>
            <a:xfrm>
              <a:off x="5696983" y="2239631"/>
              <a:ext cx="808992" cy="808992"/>
              <a:chOff x="5696983" y="2239631"/>
              <a:chExt cx="808992" cy="808992"/>
            </a:xfrm>
          </p:grpSpPr>
          <p:sp>
            <p:nvSpPr>
              <p:cNvPr id="24" name="Oval 11">
                <a:extLst>
                  <a:ext uri="{FF2B5EF4-FFF2-40B4-BE49-F238E27FC236}">
                    <a16:creationId xmlns:a16="http://schemas.microsoft.com/office/drawing/2014/main" id="{A429207B-1242-A8EA-072A-E58B40FF99AD}"/>
                  </a:ext>
                </a:extLst>
              </p:cNvPr>
              <p:cNvSpPr/>
              <p:nvPr/>
            </p:nvSpPr>
            <p:spPr>
              <a:xfrm>
                <a:off x="5696983" y="2239631"/>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44" name="Graphic 22">
                <a:extLst>
                  <a:ext uri="{FF2B5EF4-FFF2-40B4-BE49-F238E27FC236}">
                    <a16:creationId xmlns:a16="http://schemas.microsoft.com/office/drawing/2014/main" id="{A18C119E-EC4A-2DA4-8429-FF7C7FAD1853}"/>
                  </a:ext>
                </a:extLst>
              </p:cNvPr>
              <p:cNvGrpSpPr/>
              <p:nvPr/>
            </p:nvGrpSpPr>
            <p:grpSpPr>
              <a:xfrm>
                <a:off x="5853751" y="2390551"/>
                <a:ext cx="517678" cy="517790"/>
                <a:chOff x="6647196" y="2870769"/>
                <a:chExt cx="517678" cy="517790"/>
              </a:xfrm>
              <a:solidFill>
                <a:srgbClr val="000532"/>
              </a:solidFill>
            </p:grpSpPr>
            <p:sp>
              <p:nvSpPr>
                <p:cNvPr id="45" name="Forma Livre: Forma 44">
                  <a:extLst>
                    <a:ext uri="{FF2B5EF4-FFF2-40B4-BE49-F238E27FC236}">
                      <a16:creationId xmlns:a16="http://schemas.microsoft.com/office/drawing/2014/main" id="{678A7745-407F-17EB-F8D8-3E222D6CFC54}"/>
                    </a:ext>
                  </a:extLst>
                </p:cNvPr>
                <p:cNvSpPr/>
                <p:nvPr/>
              </p:nvSpPr>
              <p:spPr>
                <a:xfrm>
                  <a:off x="7145336" y="2975737"/>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8"/>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46" name="Forma Livre: Forma 45">
                  <a:extLst>
                    <a:ext uri="{FF2B5EF4-FFF2-40B4-BE49-F238E27FC236}">
                      <a16:creationId xmlns:a16="http://schemas.microsoft.com/office/drawing/2014/main" id="{B29B6724-BAD7-EDD5-3569-B8B2FF73BD6D}"/>
                    </a:ext>
                  </a:extLst>
                </p:cNvPr>
                <p:cNvSpPr/>
                <p:nvPr/>
              </p:nvSpPr>
              <p:spPr>
                <a:xfrm>
                  <a:off x="6786314" y="3180384"/>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47" name="Forma Livre: Forma 46">
                  <a:extLst>
                    <a:ext uri="{FF2B5EF4-FFF2-40B4-BE49-F238E27FC236}">
                      <a16:creationId xmlns:a16="http://schemas.microsoft.com/office/drawing/2014/main" id="{58A51E8B-678F-3BD8-4A4F-FE816266B5CA}"/>
                    </a:ext>
                  </a:extLst>
                </p:cNvPr>
                <p:cNvSpPr/>
                <p:nvPr/>
              </p:nvSpPr>
              <p:spPr>
                <a:xfrm>
                  <a:off x="6750430" y="3201101"/>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48" name="Forma Livre: Forma 47">
                  <a:extLst>
                    <a:ext uri="{FF2B5EF4-FFF2-40B4-BE49-F238E27FC236}">
                      <a16:creationId xmlns:a16="http://schemas.microsoft.com/office/drawing/2014/main" id="{318F0D7F-3441-E754-3C8B-9EC068ADF2B2}"/>
                    </a:ext>
                  </a:extLst>
                </p:cNvPr>
                <p:cNvSpPr/>
                <p:nvPr/>
              </p:nvSpPr>
              <p:spPr>
                <a:xfrm>
                  <a:off x="6678660" y="3242533"/>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49" name="Forma Livre: Forma 48">
                  <a:extLst>
                    <a:ext uri="{FF2B5EF4-FFF2-40B4-BE49-F238E27FC236}">
                      <a16:creationId xmlns:a16="http://schemas.microsoft.com/office/drawing/2014/main" id="{775DE800-C091-73DC-697F-8B6E3CAF9C4C}"/>
                    </a:ext>
                  </a:extLst>
                </p:cNvPr>
                <p:cNvSpPr/>
                <p:nvPr/>
              </p:nvSpPr>
              <p:spPr>
                <a:xfrm>
                  <a:off x="7109365" y="2993766"/>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50" name="Forma Livre: Forma 49">
                  <a:extLst>
                    <a:ext uri="{FF2B5EF4-FFF2-40B4-BE49-F238E27FC236}">
                      <a16:creationId xmlns:a16="http://schemas.microsoft.com/office/drawing/2014/main" id="{8EB4D5C1-1D24-FCD5-46C4-08BBBF5F63AC}"/>
                    </a:ext>
                  </a:extLst>
                </p:cNvPr>
                <p:cNvSpPr/>
                <p:nvPr/>
              </p:nvSpPr>
              <p:spPr>
                <a:xfrm>
                  <a:off x="6822199" y="3159582"/>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51" name="Forma Livre: Forma 50">
                  <a:extLst>
                    <a:ext uri="{FF2B5EF4-FFF2-40B4-BE49-F238E27FC236}">
                      <a16:creationId xmlns:a16="http://schemas.microsoft.com/office/drawing/2014/main" id="{32CC2DC8-F8F6-2B6B-CE58-3EC2465A28F3}"/>
                    </a:ext>
                  </a:extLst>
                </p:cNvPr>
                <p:cNvSpPr/>
                <p:nvPr/>
              </p:nvSpPr>
              <p:spPr>
                <a:xfrm>
                  <a:off x="6858084" y="3138865"/>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1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1"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52" name="Forma Livre: Forma 51">
                  <a:extLst>
                    <a:ext uri="{FF2B5EF4-FFF2-40B4-BE49-F238E27FC236}">
                      <a16:creationId xmlns:a16="http://schemas.microsoft.com/office/drawing/2014/main" id="{2E64F897-EC63-9234-FD48-FE9483A45EC4}"/>
                    </a:ext>
                  </a:extLst>
                </p:cNvPr>
                <p:cNvSpPr/>
                <p:nvPr/>
              </p:nvSpPr>
              <p:spPr>
                <a:xfrm>
                  <a:off x="6647456" y="3263249"/>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53" name="Forma Livre: Forma 52">
                  <a:extLst>
                    <a:ext uri="{FF2B5EF4-FFF2-40B4-BE49-F238E27FC236}">
                      <a16:creationId xmlns:a16="http://schemas.microsoft.com/office/drawing/2014/main" id="{6D72D954-01F9-5AEF-2D19-9977163204EC}"/>
                    </a:ext>
                  </a:extLst>
                </p:cNvPr>
                <p:cNvSpPr/>
                <p:nvPr/>
              </p:nvSpPr>
              <p:spPr>
                <a:xfrm>
                  <a:off x="7145336" y="3171630"/>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54" name="Forma Livre: Forma 53">
                  <a:extLst>
                    <a:ext uri="{FF2B5EF4-FFF2-40B4-BE49-F238E27FC236}">
                      <a16:creationId xmlns:a16="http://schemas.microsoft.com/office/drawing/2014/main" id="{4469222F-D024-BFD1-4BCD-C72E756C0FC3}"/>
                    </a:ext>
                  </a:extLst>
                </p:cNvPr>
                <p:cNvSpPr/>
                <p:nvPr/>
              </p:nvSpPr>
              <p:spPr>
                <a:xfrm>
                  <a:off x="6831041" y="3350621"/>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55" name="Forma Livre: Forma 54">
                  <a:extLst>
                    <a:ext uri="{FF2B5EF4-FFF2-40B4-BE49-F238E27FC236}">
                      <a16:creationId xmlns:a16="http://schemas.microsoft.com/office/drawing/2014/main" id="{462FC129-5BD8-8CD0-9C54-641DE014DE2A}"/>
                    </a:ext>
                  </a:extLst>
                </p:cNvPr>
                <p:cNvSpPr/>
                <p:nvPr/>
              </p:nvSpPr>
              <p:spPr>
                <a:xfrm>
                  <a:off x="7110318" y="3189312"/>
                  <a:ext cx="23958" cy="20257"/>
                </a:xfrm>
                <a:custGeom>
                  <a:avLst/>
                  <a:gdLst>
                    <a:gd name="connsiteX0" fmla="*/ 22858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8"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56" name="Forma Livre: Forma 55">
                  <a:extLst>
                    <a:ext uri="{FF2B5EF4-FFF2-40B4-BE49-F238E27FC236}">
                      <a16:creationId xmlns:a16="http://schemas.microsoft.com/office/drawing/2014/main" id="{3316282F-0379-7F27-0D4B-DF73204DF19D}"/>
                    </a:ext>
                  </a:extLst>
                </p:cNvPr>
                <p:cNvSpPr/>
                <p:nvPr/>
              </p:nvSpPr>
              <p:spPr>
                <a:xfrm>
                  <a:off x="6800530" y="3370817"/>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57" name="Forma Livre: Forma 56">
                  <a:extLst>
                    <a:ext uri="{FF2B5EF4-FFF2-40B4-BE49-F238E27FC236}">
                      <a16:creationId xmlns:a16="http://schemas.microsoft.com/office/drawing/2014/main" id="{F5220400-5AF8-D254-CDFE-47D60C616005}"/>
                    </a:ext>
                  </a:extLst>
                </p:cNvPr>
                <p:cNvSpPr/>
                <p:nvPr/>
              </p:nvSpPr>
              <p:spPr>
                <a:xfrm>
                  <a:off x="6647196" y="3070996"/>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58" name="Forma Livre: Forma 57">
                  <a:extLst>
                    <a:ext uri="{FF2B5EF4-FFF2-40B4-BE49-F238E27FC236}">
                      <a16:creationId xmlns:a16="http://schemas.microsoft.com/office/drawing/2014/main" id="{F6960193-72C1-D921-572F-6C1B5529C957}"/>
                    </a:ext>
                  </a:extLst>
                </p:cNvPr>
                <p:cNvSpPr/>
                <p:nvPr/>
              </p:nvSpPr>
              <p:spPr>
                <a:xfrm>
                  <a:off x="6957591" y="2888538"/>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59" name="Forma Livre: Forma 58">
                  <a:extLst>
                    <a:ext uri="{FF2B5EF4-FFF2-40B4-BE49-F238E27FC236}">
                      <a16:creationId xmlns:a16="http://schemas.microsoft.com/office/drawing/2014/main" id="{133E4350-BA4E-FB3A-77C6-E9BF87B790D9}"/>
                    </a:ext>
                  </a:extLst>
                </p:cNvPr>
                <p:cNvSpPr/>
                <p:nvPr/>
              </p:nvSpPr>
              <p:spPr>
                <a:xfrm>
                  <a:off x="6922573" y="2908821"/>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60" name="Forma Livre: Forma 59">
                  <a:extLst>
                    <a:ext uri="{FF2B5EF4-FFF2-40B4-BE49-F238E27FC236}">
                      <a16:creationId xmlns:a16="http://schemas.microsoft.com/office/drawing/2014/main" id="{4CFD0EBF-35D9-BA9C-7DD2-D693CA814E63}"/>
                    </a:ext>
                  </a:extLst>
                </p:cNvPr>
                <p:cNvSpPr/>
                <p:nvPr/>
              </p:nvSpPr>
              <p:spPr>
                <a:xfrm>
                  <a:off x="6677707" y="3050714"/>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61" name="Forma Livre: Forma 60">
                  <a:extLst>
                    <a:ext uri="{FF2B5EF4-FFF2-40B4-BE49-F238E27FC236}">
                      <a16:creationId xmlns:a16="http://schemas.microsoft.com/office/drawing/2014/main" id="{DAD735DA-C879-FA9A-12D9-5F296B7967D2}"/>
                    </a:ext>
                  </a:extLst>
                </p:cNvPr>
                <p:cNvSpPr/>
                <p:nvPr/>
              </p:nvSpPr>
              <p:spPr>
                <a:xfrm>
                  <a:off x="6992609" y="2870769"/>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grpSp>
          <p:sp>
            <p:nvSpPr>
              <p:cNvPr id="62" name="Forma Livre: Forma 61">
                <a:extLst>
                  <a:ext uri="{FF2B5EF4-FFF2-40B4-BE49-F238E27FC236}">
                    <a16:creationId xmlns:a16="http://schemas.microsoft.com/office/drawing/2014/main" id="{74A6E30F-F8C2-D061-CAFE-DAEE19D1C2B4}"/>
                  </a:ext>
                </a:extLst>
              </p:cNvPr>
              <p:cNvSpPr/>
              <p:nvPr/>
            </p:nvSpPr>
            <p:spPr>
              <a:xfrm>
                <a:off x="5854011" y="2493179"/>
                <a:ext cx="19538" cy="17743"/>
              </a:xfrm>
              <a:custGeom>
                <a:avLst/>
                <a:gdLst>
                  <a:gd name="connsiteX0" fmla="*/ 15663 w 19538"/>
                  <a:gd name="connsiteY0" fmla="*/ 3528 h 17743"/>
                  <a:gd name="connsiteX1" fmla="*/ 11329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663" y="3528"/>
                    </a:moveTo>
                    <a:lnTo>
                      <a:pt x="11329" y="1015"/>
                    </a:lnTo>
                    <a:cubicBezTo>
                      <a:pt x="7689" y="-1066"/>
                      <a:pt x="3095" y="148"/>
                      <a:pt x="1015" y="3788"/>
                    </a:cubicBezTo>
                    <a:cubicBezTo>
                      <a:pt x="-1066" y="7429"/>
                      <a:pt x="148" y="12023"/>
                      <a:pt x="3788" y="14190"/>
                    </a:cubicBezTo>
                    <a:lnTo>
                      <a:pt x="8122" y="16703"/>
                    </a:lnTo>
                    <a:cubicBezTo>
                      <a:pt x="9336" y="17397"/>
                      <a:pt x="10636" y="17743"/>
                      <a:pt x="11936" y="17743"/>
                    </a:cubicBezTo>
                    <a:cubicBezTo>
                      <a:pt x="14536" y="17743"/>
                      <a:pt x="17137"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7C022DD9-A8A6-C2AB-8D6E-F0A7E763D789}"/>
                  </a:ext>
                </a:extLst>
              </p:cNvPr>
              <p:cNvSpPr/>
              <p:nvPr/>
            </p:nvSpPr>
            <p:spPr>
              <a:xfrm>
                <a:off x="5885215" y="2511208"/>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0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0" y="6215"/>
                    </a:cubicBezTo>
                    <a:close/>
                  </a:path>
                </a:pathLst>
              </a:custGeom>
              <a:solidFill>
                <a:srgbClr val="000532"/>
              </a:solidFill>
              <a:ln w="8572" cap="flat">
                <a:noFill/>
                <a:prstDash val="solid"/>
                <a:miter/>
              </a:ln>
            </p:spPr>
            <p:txBody>
              <a:bodyPr rtlCol="0" anchor="ctr"/>
              <a:lstStyle/>
              <a:p>
                <a:endParaRPr lang="pt-BR"/>
              </a:p>
            </p:txBody>
          </p:sp>
          <p:sp>
            <p:nvSpPr>
              <p:cNvPr id="64" name="Forma Livre: Forma 63">
                <a:extLst>
                  <a:ext uri="{FF2B5EF4-FFF2-40B4-BE49-F238E27FC236}">
                    <a16:creationId xmlns:a16="http://schemas.microsoft.com/office/drawing/2014/main" id="{86E88E26-22EC-40CD-0209-0AD1405CF62A}"/>
                  </a:ext>
                </a:extLst>
              </p:cNvPr>
              <p:cNvSpPr/>
              <p:nvPr/>
            </p:nvSpPr>
            <p:spPr>
              <a:xfrm>
                <a:off x="6172380" y="2679364"/>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1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1" y="6215"/>
                    </a:cubicBezTo>
                    <a:close/>
                  </a:path>
                </a:pathLst>
              </a:custGeom>
              <a:solidFill>
                <a:srgbClr val="000532"/>
              </a:solidFill>
              <a:ln w="8572" cap="flat">
                <a:noFill/>
                <a:prstDash val="solid"/>
                <a:miter/>
              </a:ln>
            </p:spPr>
            <p:txBody>
              <a:bodyPr rtlCol="0" anchor="ctr"/>
              <a:lstStyle/>
              <a:p>
                <a:endParaRPr lang="pt-BR"/>
              </a:p>
            </p:txBody>
          </p:sp>
          <p:sp>
            <p:nvSpPr>
              <p:cNvPr id="65" name="Forma Livre: Forma 64">
                <a:extLst>
                  <a:ext uri="{FF2B5EF4-FFF2-40B4-BE49-F238E27FC236}">
                    <a16:creationId xmlns:a16="http://schemas.microsoft.com/office/drawing/2014/main" id="{471A93AA-39EA-ABAA-AA9B-4F222881B465}"/>
                  </a:ext>
                </a:extLst>
              </p:cNvPr>
              <p:cNvSpPr/>
              <p:nvPr/>
            </p:nvSpPr>
            <p:spPr>
              <a:xfrm>
                <a:off x="6244150" y="2720796"/>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1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1" y="6215"/>
                    </a:cubicBezTo>
                    <a:close/>
                  </a:path>
                </a:pathLst>
              </a:custGeom>
              <a:solidFill>
                <a:srgbClr val="000532"/>
              </a:solidFill>
              <a:ln w="8572" cap="flat">
                <a:noFill/>
                <a:prstDash val="solid"/>
                <a:miter/>
              </a:ln>
            </p:spPr>
            <p:txBody>
              <a:bodyPr rtlCol="0" anchor="ctr"/>
              <a:lstStyle/>
              <a:p>
                <a:endParaRPr lang="pt-BR"/>
              </a:p>
            </p:txBody>
          </p:sp>
          <p:sp>
            <p:nvSpPr>
              <p:cNvPr id="66" name="Forma Livre: Forma 65">
                <a:extLst>
                  <a:ext uri="{FF2B5EF4-FFF2-40B4-BE49-F238E27FC236}">
                    <a16:creationId xmlns:a16="http://schemas.microsoft.com/office/drawing/2014/main" id="{0544020D-3320-4657-4669-6CF813258E41}"/>
                  </a:ext>
                </a:extLst>
              </p:cNvPr>
              <p:cNvSpPr/>
              <p:nvPr/>
            </p:nvSpPr>
            <p:spPr>
              <a:xfrm>
                <a:off x="6208265" y="2700080"/>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1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1" y="6215"/>
                    </a:cubicBezTo>
                    <a:close/>
                  </a:path>
                </a:pathLst>
              </a:custGeom>
              <a:solidFill>
                <a:srgbClr val="000532"/>
              </a:solidFill>
              <a:ln w="8572" cap="flat">
                <a:noFill/>
                <a:prstDash val="solid"/>
                <a:miter/>
              </a:ln>
            </p:spPr>
            <p:txBody>
              <a:bodyPr rtlCol="0" anchor="ctr"/>
              <a:lstStyle/>
              <a:p>
                <a:endParaRPr lang="pt-BR"/>
              </a:p>
            </p:txBody>
          </p:sp>
          <p:sp>
            <p:nvSpPr>
              <p:cNvPr id="67" name="Forma Livre: Forma 66">
                <a:extLst>
                  <a:ext uri="{FF2B5EF4-FFF2-40B4-BE49-F238E27FC236}">
                    <a16:creationId xmlns:a16="http://schemas.microsoft.com/office/drawing/2014/main" id="{D9AD08A8-BDA7-FF0B-D34B-C1E1AE5B63A1}"/>
                  </a:ext>
                </a:extLst>
              </p:cNvPr>
              <p:cNvSpPr/>
              <p:nvPr/>
            </p:nvSpPr>
            <p:spPr>
              <a:xfrm>
                <a:off x="6136409" y="2658647"/>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0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0" y="6215"/>
                    </a:cubicBezTo>
                    <a:close/>
                  </a:path>
                </a:pathLst>
              </a:custGeom>
              <a:solidFill>
                <a:srgbClr val="000532"/>
              </a:solidFill>
              <a:ln w="8572" cap="flat">
                <a:noFill/>
                <a:prstDash val="solid"/>
                <a:miter/>
              </a:ln>
            </p:spPr>
            <p:txBody>
              <a:bodyPr rtlCol="0" anchor="ctr"/>
              <a:lstStyle/>
              <a:p>
                <a:endParaRPr lang="pt-BR"/>
              </a:p>
            </p:txBody>
          </p:sp>
          <p:sp>
            <p:nvSpPr>
              <p:cNvPr id="68" name="Forma Livre: Forma 67">
                <a:extLst>
                  <a:ext uri="{FF2B5EF4-FFF2-40B4-BE49-F238E27FC236}">
                    <a16:creationId xmlns:a16="http://schemas.microsoft.com/office/drawing/2014/main" id="{F0FDE1E1-F49F-8BEF-9379-464EDCFAA941}"/>
                  </a:ext>
                </a:extLst>
              </p:cNvPr>
              <p:cNvSpPr/>
              <p:nvPr/>
            </p:nvSpPr>
            <p:spPr>
              <a:xfrm>
                <a:off x="6315920" y="2762315"/>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0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0" y="6215"/>
                    </a:cubicBezTo>
                    <a:close/>
                  </a:path>
                </a:pathLst>
              </a:custGeom>
              <a:solidFill>
                <a:srgbClr val="000532"/>
              </a:solidFill>
              <a:ln w="8572" cap="flat">
                <a:noFill/>
                <a:prstDash val="solid"/>
                <a:miter/>
              </a:ln>
            </p:spPr>
            <p:txBody>
              <a:bodyPr rtlCol="0" anchor="ctr"/>
              <a:lstStyle/>
              <a:p>
                <a:endParaRPr lang="pt-BR"/>
              </a:p>
            </p:txBody>
          </p:sp>
          <p:sp>
            <p:nvSpPr>
              <p:cNvPr id="69" name="Forma Livre: Forma 68">
                <a:extLst>
                  <a:ext uri="{FF2B5EF4-FFF2-40B4-BE49-F238E27FC236}">
                    <a16:creationId xmlns:a16="http://schemas.microsoft.com/office/drawing/2014/main" id="{0DF2DB1B-6F19-2095-C1B5-7E926D6A29A8}"/>
                  </a:ext>
                </a:extLst>
              </p:cNvPr>
              <p:cNvSpPr/>
              <p:nvPr/>
            </p:nvSpPr>
            <p:spPr>
              <a:xfrm>
                <a:off x="6351804" y="2781705"/>
                <a:ext cx="19466" cy="19069"/>
              </a:xfrm>
              <a:custGeom>
                <a:avLst/>
                <a:gdLst>
                  <a:gd name="connsiteX0" fmla="*/ 13323 w 19466"/>
                  <a:gd name="connsiteY0" fmla="*/ 2514 h 19069"/>
                  <a:gd name="connsiteX1" fmla="*/ 8989 w 19466"/>
                  <a:gd name="connsiteY1" fmla="*/ 0 h 19069"/>
                  <a:gd name="connsiteX2" fmla="*/ 1015 w 19466"/>
                  <a:gd name="connsiteY2" fmla="*/ 5114 h 19069"/>
                  <a:gd name="connsiteX3" fmla="*/ 3788 w 19466"/>
                  <a:gd name="connsiteY3" fmla="*/ 15515 h 19069"/>
                  <a:gd name="connsiteX4" fmla="*/ 8122 w 19466"/>
                  <a:gd name="connsiteY4" fmla="*/ 18029 h 19069"/>
                  <a:gd name="connsiteX5" fmla="*/ 11936 w 19466"/>
                  <a:gd name="connsiteY5" fmla="*/ 19069 h 19069"/>
                  <a:gd name="connsiteX6" fmla="*/ 18524 w 19466"/>
                  <a:gd name="connsiteY6" fmla="*/ 15255 h 19069"/>
                  <a:gd name="connsiteX7" fmla="*/ 13410 w 19466"/>
                  <a:gd name="connsiteY7" fmla="*/ 2514 h 1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66" h="19069">
                    <a:moveTo>
                      <a:pt x="13323" y="2514"/>
                    </a:moveTo>
                    <a:lnTo>
                      <a:pt x="8989" y="0"/>
                    </a:lnTo>
                    <a:cubicBezTo>
                      <a:pt x="7775" y="260"/>
                      <a:pt x="3095" y="1560"/>
                      <a:pt x="1015" y="5114"/>
                    </a:cubicBezTo>
                    <a:cubicBezTo>
                      <a:pt x="-1066" y="8754"/>
                      <a:pt x="148" y="13348"/>
                      <a:pt x="3788" y="15515"/>
                    </a:cubicBezTo>
                    <a:lnTo>
                      <a:pt x="8122" y="18029"/>
                    </a:lnTo>
                    <a:cubicBezTo>
                      <a:pt x="9336" y="18723"/>
                      <a:pt x="10636" y="19069"/>
                      <a:pt x="11936" y="19069"/>
                    </a:cubicBezTo>
                    <a:cubicBezTo>
                      <a:pt x="14536" y="19069"/>
                      <a:pt x="17137" y="17682"/>
                      <a:pt x="18524" y="15255"/>
                    </a:cubicBezTo>
                    <a:cubicBezTo>
                      <a:pt x="20604" y="11615"/>
                      <a:pt x="19390" y="7021"/>
                      <a:pt x="13410" y="2514"/>
                    </a:cubicBezTo>
                    <a:close/>
                  </a:path>
                </a:pathLst>
              </a:custGeom>
              <a:solidFill>
                <a:srgbClr val="000532"/>
              </a:solidFill>
              <a:ln w="8572" cap="flat">
                <a:noFill/>
                <a:prstDash val="solid"/>
                <a:miter/>
              </a:ln>
            </p:spPr>
            <p:txBody>
              <a:bodyPr rtlCol="0" anchor="ctr"/>
              <a:lstStyle/>
              <a:p>
                <a:endParaRPr lang="pt-BR"/>
              </a:p>
            </p:txBody>
          </p:sp>
          <p:sp>
            <p:nvSpPr>
              <p:cNvPr id="70" name="Forma Livre: Forma 69">
                <a:extLst>
                  <a:ext uri="{FF2B5EF4-FFF2-40B4-BE49-F238E27FC236}">
                    <a16:creationId xmlns:a16="http://schemas.microsoft.com/office/drawing/2014/main" id="{6C8AEC62-2A94-1C1F-EC78-A022187E8F5E}"/>
                  </a:ext>
                </a:extLst>
              </p:cNvPr>
              <p:cNvSpPr/>
              <p:nvPr/>
            </p:nvSpPr>
            <p:spPr>
              <a:xfrm>
                <a:off x="5854011" y="2691412"/>
                <a:ext cx="19538" cy="17743"/>
              </a:xfrm>
              <a:custGeom>
                <a:avLst/>
                <a:gdLst>
                  <a:gd name="connsiteX0" fmla="*/ 15663 w 19538"/>
                  <a:gd name="connsiteY0" fmla="*/ 3528 h 17743"/>
                  <a:gd name="connsiteX1" fmla="*/ 11329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663" y="3528"/>
                    </a:moveTo>
                    <a:lnTo>
                      <a:pt x="11329" y="1015"/>
                    </a:lnTo>
                    <a:cubicBezTo>
                      <a:pt x="7689" y="-1066"/>
                      <a:pt x="3095" y="148"/>
                      <a:pt x="1015" y="3788"/>
                    </a:cubicBezTo>
                    <a:cubicBezTo>
                      <a:pt x="-1066" y="7429"/>
                      <a:pt x="148" y="12023"/>
                      <a:pt x="3788" y="14190"/>
                    </a:cubicBezTo>
                    <a:lnTo>
                      <a:pt x="8122" y="16703"/>
                    </a:lnTo>
                    <a:cubicBezTo>
                      <a:pt x="9336" y="17397"/>
                      <a:pt x="10636" y="17743"/>
                      <a:pt x="11936" y="17743"/>
                    </a:cubicBezTo>
                    <a:cubicBezTo>
                      <a:pt x="14536" y="17743"/>
                      <a:pt x="17137"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71" name="Forma Livre: Forma 70">
                <a:extLst>
                  <a:ext uri="{FF2B5EF4-FFF2-40B4-BE49-F238E27FC236}">
                    <a16:creationId xmlns:a16="http://schemas.microsoft.com/office/drawing/2014/main" id="{A506D2B0-E067-0290-2DD3-177C2123DFE4}"/>
                  </a:ext>
                </a:extLst>
              </p:cNvPr>
              <p:cNvSpPr/>
              <p:nvPr/>
            </p:nvSpPr>
            <p:spPr>
              <a:xfrm>
                <a:off x="6128868" y="2850207"/>
                <a:ext cx="23958" cy="20257"/>
              </a:xfrm>
              <a:custGeom>
                <a:avLst/>
                <a:gdLst>
                  <a:gd name="connsiteX0" fmla="*/ 20084 w 23958"/>
                  <a:gd name="connsiteY0" fmla="*/ 6042 h 20257"/>
                  <a:gd name="connsiteX1" fmla="*/ 11329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084" y="6042"/>
                    </a:moveTo>
                    <a:lnTo>
                      <a:pt x="11329" y="1015"/>
                    </a:lnTo>
                    <a:cubicBezTo>
                      <a:pt x="7689" y="-1066"/>
                      <a:pt x="3095" y="148"/>
                      <a:pt x="1015" y="3788"/>
                    </a:cubicBezTo>
                    <a:cubicBezTo>
                      <a:pt x="-1066" y="7429"/>
                      <a:pt x="148" y="12023"/>
                      <a:pt x="3788" y="14190"/>
                    </a:cubicBezTo>
                    <a:lnTo>
                      <a:pt x="12543" y="19217"/>
                    </a:lnTo>
                    <a:cubicBezTo>
                      <a:pt x="13756" y="19910"/>
                      <a:pt x="15056" y="20257"/>
                      <a:pt x="16357" y="20257"/>
                    </a:cubicBezTo>
                    <a:cubicBezTo>
                      <a:pt x="18957" y="20257"/>
                      <a:pt x="21557"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72" name="Forma Livre: Forma 71">
                <a:extLst>
                  <a:ext uri="{FF2B5EF4-FFF2-40B4-BE49-F238E27FC236}">
                    <a16:creationId xmlns:a16="http://schemas.microsoft.com/office/drawing/2014/main" id="{2CCDD1F6-4FDF-301A-EBDD-FFB9A055FA9C}"/>
                  </a:ext>
                </a:extLst>
              </p:cNvPr>
              <p:cNvSpPr/>
              <p:nvPr/>
            </p:nvSpPr>
            <p:spPr>
              <a:xfrm>
                <a:off x="6163799" y="2870403"/>
                <a:ext cx="23958" cy="20257"/>
              </a:xfrm>
              <a:custGeom>
                <a:avLst/>
                <a:gdLst>
                  <a:gd name="connsiteX0" fmla="*/ 20084 w 23958"/>
                  <a:gd name="connsiteY0" fmla="*/ 6042 h 20257"/>
                  <a:gd name="connsiteX1" fmla="*/ 11329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084" y="6042"/>
                    </a:moveTo>
                    <a:lnTo>
                      <a:pt x="11329" y="1015"/>
                    </a:lnTo>
                    <a:cubicBezTo>
                      <a:pt x="7689" y="-1066"/>
                      <a:pt x="3095" y="148"/>
                      <a:pt x="1015" y="3788"/>
                    </a:cubicBezTo>
                    <a:cubicBezTo>
                      <a:pt x="-1066" y="7429"/>
                      <a:pt x="148" y="12023"/>
                      <a:pt x="3788" y="14190"/>
                    </a:cubicBezTo>
                    <a:lnTo>
                      <a:pt x="12543" y="19217"/>
                    </a:lnTo>
                    <a:cubicBezTo>
                      <a:pt x="13756" y="19910"/>
                      <a:pt x="15056" y="20257"/>
                      <a:pt x="16357" y="20257"/>
                    </a:cubicBezTo>
                    <a:cubicBezTo>
                      <a:pt x="18957" y="20257"/>
                      <a:pt x="21557"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73" name="Forma Livre: Forma 72">
                <a:extLst>
                  <a:ext uri="{FF2B5EF4-FFF2-40B4-BE49-F238E27FC236}">
                    <a16:creationId xmlns:a16="http://schemas.microsoft.com/office/drawing/2014/main" id="{95CB477F-BA83-527D-9F0D-95E0ECFDA478}"/>
                  </a:ext>
                </a:extLst>
              </p:cNvPr>
              <p:cNvSpPr/>
              <p:nvPr/>
            </p:nvSpPr>
            <p:spPr>
              <a:xfrm>
                <a:off x="5884522" y="2709094"/>
                <a:ext cx="23958" cy="20257"/>
              </a:xfrm>
              <a:custGeom>
                <a:avLst/>
                <a:gdLst>
                  <a:gd name="connsiteX0" fmla="*/ 20084 w 23958"/>
                  <a:gd name="connsiteY0" fmla="*/ 6042 h 20257"/>
                  <a:gd name="connsiteX1" fmla="*/ 11329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084" y="6042"/>
                    </a:moveTo>
                    <a:lnTo>
                      <a:pt x="11329" y="1015"/>
                    </a:lnTo>
                    <a:cubicBezTo>
                      <a:pt x="7689" y="-1066"/>
                      <a:pt x="3095" y="148"/>
                      <a:pt x="1015" y="3788"/>
                    </a:cubicBezTo>
                    <a:cubicBezTo>
                      <a:pt x="-1066" y="7429"/>
                      <a:pt x="148" y="12023"/>
                      <a:pt x="3788" y="14190"/>
                    </a:cubicBezTo>
                    <a:lnTo>
                      <a:pt x="12543" y="19217"/>
                    </a:lnTo>
                    <a:cubicBezTo>
                      <a:pt x="13756" y="19910"/>
                      <a:pt x="15056" y="20257"/>
                      <a:pt x="16357" y="20257"/>
                    </a:cubicBezTo>
                    <a:cubicBezTo>
                      <a:pt x="18957" y="20257"/>
                      <a:pt x="21557"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74" name="Forma Livre: Forma 73">
                <a:extLst>
                  <a:ext uri="{FF2B5EF4-FFF2-40B4-BE49-F238E27FC236}">
                    <a16:creationId xmlns:a16="http://schemas.microsoft.com/office/drawing/2014/main" id="{F80F4FE4-ADE1-456F-549A-E0FB413B0552}"/>
                  </a:ext>
                </a:extLst>
              </p:cNvPr>
              <p:cNvSpPr/>
              <p:nvPr/>
            </p:nvSpPr>
            <p:spPr>
              <a:xfrm>
                <a:off x="6198817" y="2890599"/>
                <a:ext cx="19538" cy="17743"/>
              </a:xfrm>
              <a:custGeom>
                <a:avLst/>
                <a:gdLst>
                  <a:gd name="connsiteX0" fmla="*/ 15663 w 19538"/>
                  <a:gd name="connsiteY0" fmla="*/ 3528 h 17743"/>
                  <a:gd name="connsiteX1" fmla="*/ 11329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663" y="3528"/>
                    </a:moveTo>
                    <a:lnTo>
                      <a:pt x="11329" y="1015"/>
                    </a:lnTo>
                    <a:cubicBezTo>
                      <a:pt x="7689" y="-1066"/>
                      <a:pt x="3095" y="148"/>
                      <a:pt x="1015" y="3788"/>
                    </a:cubicBezTo>
                    <a:cubicBezTo>
                      <a:pt x="-1066" y="7429"/>
                      <a:pt x="148" y="12023"/>
                      <a:pt x="3788" y="14190"/>
                    </a:cubicBezTo>
                    <a:lnTo>
                      <a:pt x="8122" y="16703"/>
                    </a:lnTo>
                    <a:cubicBezTo>
                      <a:pt x="9336" y="17397"/>
                      <a:pt x="10636" y="17743"/>
                      <a:pt x="11936" y="17743"/>
                    </a:cubicBezTo>
                    <a:cubicBezTo>
                      <a:pt x="14536" y="17743"/>
                      <a:pt x="17137"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75" name="Forma Livre: Forma 74">
                <a:extLst>
                  <a:ext uri="{FF2B5EF4-FFF2-40B4-BE49-F238E27FC236}">
                    <a16:creationId xmlns:a16="http://schemas.microsoft.com/office/drawing/2014/main" id="{493C0DA0-E3BB-90DB-6C3A-419E1ED62850}"/>
                  </a:ext>
                </a:extLst>
              </p:cNvPr>
              <p:cNvSpPr/>
              <p:nvPr/>
            </p:nvSpPr>
            <p:spPr>
              <a:xfrm>
                <a:off x="6349464" y="2588438"/>
                <a:ext cx="19538" cy="17743"/>
              </a:xfrm>
              <a:custGeom>
                <a:avLst/>
                <a:gdLst>
                  <a:gd name="connsiteX0" fmla="*/ 15750 w 19538"/>
                  <a:gd name="connsiteY0" fmla="*/ 3528 h 17743"/>
                  <a:gd name="connsiteX1" fmla="*/ 11416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750" y="3528"/>
                    </a:moveTo>
                    <a:lnTo>
                      <a:pt x="11416" y="1015"/>
                    </a:lnTo>
                    <a:cubicBezTo>
                      <a:pt x="7775" y="-1066"/>
                      <a:pt x="3181" y="148"/>
                      <a:pt x="1015" y="3788"/>
                    </a:cubicBezTo>
                    <a:cubicBezTo>
                      <a:pt x="-1066" y="7429"/>
                      <a:pt x="148" y="12023"/>
                      <a:pt x="3788" y="14190"/>
                    </a:cubicBezTo>
                    <a:lnTo>
                      <a:pt x="8122" y="16703"/>
                    </a:lnTo>
                    <a:cubicBezTo>
                      <a:pt x="9336" y="17397"/>
                      <a:pt x="10636" y="17743"/>
                      <a:pt x="11936" y="17743"/>
                    </a:cubicBezTo>
                    <a:cubicBezTo>
                      <a:pt x="14536" y="17743"/>
                      <a:pt x="17050"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76" name="Forma Livre: Forma 75">
                <a:extLst>
                  <a:ext uri="{FF2B5EF4-FFF2-40B4-BE49-F238E27FC236}">
                    <a16:creationId xmlns:a16="http://schemas.microsoft.com/office/drawing/2014/main" id="{B34E68CD-D5E4-3FF6-C6CB-9D372FA43575}"/>
                  </a:ext>
                </a:extLst>
              </p:cNvPr>
              <p:cNvSpPr/>
              <p:nvPr/>
            </p:nvSpPr>
            <p:spPr>
              <a:xfrm>
                <a:off x="6072787" y="2426263"/>
                <a:ext cx="23958" cy="20257"/>
              </a:xfrm>
              <a:custGeom>
                <a:avLst/>
                <a:gdLst>
                  <a:gd name="connsiteX0" fmla="*/ 20170 w 23958"/>
                  <a:gd name="connsiteY0" fmla="*/ 6042 h 20257"/>
                  <a:gd name="connsiteX1" fmla="*/ 11416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170" y="6042"/>
                    </a:moveTo>
                    <a:lnTo>
                      <a:pt x="11416" y="1015"/>
                    </a:lnTo>
                    <a:cubicBezTo>
                      <a:pt x="7775" y="-1066"/>
                      <a:pt x="3182" y="148"/>
                      <a:pt x="1015" y="3788"/>
                    </a:cubicBezTo>
                    <a:cubicBezTo>
                      <a:pt x="-1066" y="7429"/>
                      <a:pt x="148" y="12023"/>
                      <a:pt x="3788" y="14190"/>
                    </a:cubicBezTo>
                    <a:lnTo>
                      <a:pt x="12543" y="19217"/>
                    </a:lnTo>
                    <a:cubicBezTo>
                      <a:pt x="13756" y="19910"/>
                      <a:pt x="15056" y="20257"/>
                      <a:pt x="16357" y="20257"/>
                    </a:cubicBezTo>
                    <a:cubicBezTo>
                      <a:pt x="18957" y="20257"/>
                      <a:pt x="21471"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77" name="Forma Livre: Forma 76">
                <a:extLst>
                  <a:ext uri="{FF2B5EF4-FFF2-40B4-BE49-F238E27FC236}">
                    <a16:creationId xmlns:a16="http://schemas.microsoft.com/office/drawing/2014/main" id="{E0D2AB1A-D1C8-1036-50FF-DD0FAE22277D}"/>
                  </a:ext>
                </a:extLst>
              </p:cNvPr>
              <p:cNvSpPr/>
              <p:nvPr/>
            </p:nvSpPr>
            <p:spPr>
              <a:xfrm>
                <a:off x="6037904" y="2405980"/>
                <a:ext cx="23997" cy="20257"/>
              </a:xfrm>
              <a:custGeom>
                <a:avLst/>
                <a:gdLst>
                  <a:gd name="connsiteX0" fmla="*/ 20209 w 23997"/>
                  <a:gd name="connsiteY0" fmla="*/ 6042 h 20257"/>
                  <a:gd name="connsiteX1" fmla="*/ 11454 w 23997"/>
                  <a:gd name="connsiteY1" fmla="*/ 1015 h 20257"/>
                  <a:gd name="connsiteX2" fmla="*/ 1053 w 23997"/>
                  <a:gd name="connsiteY2" fmla="*/ 3788 h 20257"/>
                  <a:gd name="connsiteX3" fmla="*/ 3827 w 23997"/>
                  <a:gd name="connsiteY3" fmla="*/ 14190 h 20257"/>
                  <a:gd name="connsiteX4" fmla="*/ 12581 w 23997"/>
                  <a:gd name="connsiteY4" fmla="*/ 19217 h 20257"/>
                  <a:gd name="connsiteX5" fmla="*/ 16395 w 23997"/>
                  <a:gd name="connsiteY5" fmla="*/ 20257 h 20257"/>
                  <a:gd name="connsiteX6" fmla="*/ 22983 w 23997"/>
                  <a:gd name="connsiteY6" fmla="*/ 16443 h 20257"/>
                  <a:gd name="connsiteX7" fmla="*/ 20209 w 23997"/>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97" h="20257">
                    <a:moveTo>
                      <a:pt x="20209" y="6042"/>
                    </a:moveTo>
                    <a:lnTo>
                      <a:pt x="11454" y="1015"/>
                    </a:lnTo>
                    <a:cubicBezTo>
                      <a:pt x="7814" y="-1066"/>
                      <a:pt x="3220" y="148"/>
                      <a:pt x="1053" y="3788"/>
                    </a:cubicBezTo>
                    <a:cubicBezTo>
                      <a:pt x="-1114" y="7429"/>
                      <a:pt x="186" y="12023"/>
                      <a:pt x="3827" y="14190"/>
                    </a:cubicBezTo>
                    <a:lnTo>
                      <a:pt x="12581" y="19217"/>
                    </a:lnTo>
                    <a:cubicBezTo>
                      <a:pt x="13795" y="19910"/>
                      <a:pt x="15095" y="20257"/>
                      <a:pt x="16395" y="20257"/>
                    </a:cubicBezTo>
                    <a:cubicBezTo>
                      <a:pt x="18995" y="20257"/>
                      <a:pt x="21509" y="18870"/>
                      <a:pt x="22983" y="16443"/>
                    </a:cubicBezTo>
                    <a:cubicBezTo>
                      <a:pt x="25063" y="12803"/>
                      <a:pt x="23849" y="8209"/>
                      <a:pt x="20209" y="6042"/>
                    </a:cubicBezTo>
                    <a:close/>
                  </a:path>
                </a:pathLst>
              </a:custGeom>
              <a:solidFill>
                <a:srgbClr val="000532"/>
              </a:solidFill>
              <a:ln w="8572" cap="flat">
                <a:noFill/>
                <a:prstDash val="solid"/>
                <a:miter/>
              </a:ln>
            </p:spPr>
            <p:txBody>
              <a:bodyPr rtlCol="0" anchor="ctr"/>
              <a:lstStyle/>
              <a:p>
                <a:endParaRPr lang="pt-BR"/>
              </a:p>
            </p:txBody>
          </p:sp>
          <p:sp>
            <p:nvSpPr>
              <p:cNvPr id="78" name="Forma Livre: Forma 77">
                <a:extLst>
                  <a:ext uri="{FF2B5EF4-FFF2-40B4-BE49-F238E27FC236}">
                    <a16:creationId xmlns:a16="http://schemas.microsoft.com/office/drawing/2014/main" id="{69078D07-4FC2-C816-E9EA-C3CF1B0586BE}"/>
                  </a:ext>
                </a:extLst>
              </p:cNvPr>
              <p:cNvSpPr/>
              <p:nvPr/>
            </p:nvSpPr>
            <p:spPr>
              <a:xfrm>
                <a:off x="6316873" y="2568155"/>
                <a:ext cx="23958" cy="20257"/>
              </a:xfrm>
              <a:custGeom>
                <a:avLst/>
                <a:gdLst>
                  <a:gd name="connsiteX0" fmla="*/ 20170 w 23958"/>
                  <a:gd name="connsiteY0" fmla="*/ 6042 h 20257"/>
                  <a:gd name="connsiteX1" fmla="*/ 11416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170" y="6042"/>
                    </a:moveTo>
                    <a:lnTo>
                      <a:pt x="11416" y="1015"/>
                    </a:lnTo>
                    <a:cubicBezTo>
                      <a:pt x="7775" y="-1066"/>
                      <a:pt x="3182" y="148"/>
                      <a:pt x="1015" y="3788"/>
                    </a:cubicBezTo>
                    <a:cubicBezTo>
                      <a:pt x="-1066" y="7429"/>
                      <a:pt x="148" y="12023"/>
                      <a:pt x="3788" y="14190"/>
                    </a:cubicBezTo>
                    <a:lnTo>
                      <a:pt x="12543" y="19217"/>
                    </a:lnTo>
                    <a:cubicBezTo>
                      <a:pt x="13756" y="19910"/>
                      <a:pt x="15056" y="20257"/>
                      <a:pt x="16357" y="20257"/>
                    </a:cubicBezTo>
                    <a:cubicBezTo>
                      <a:pt x="18957" y="20257"/>
                      <a:pt x="21471"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79" name="Forma Livre: Forma 78">
                <a:extLst>
                  <a:ext uri="{FF2B5EF4-FFF2-40B4-BE49-F238E27FC236}">
                    <a16:creationId xmlns:a16="http://schemas.microsoft.com/office/drawing/2014/main" id="{068140AF-C0A9-11A0-46DC-F8C52E9AAF49}"/>
                  </a:ext>
                </a:extLst>
              </p:cNvPr>
              <p:cNvSpPr/>
              <p:nvPr/>
            </p:nvSpPr>
            <p:spPr>
              <a:xfrm>
                <a:off x="6007518" y="2388211"/>
                <a:ext cx="19538" cy="17743"/>
              </a:xfrm>
              <a:custGeom>
                <a:avLst/>
                <a:gdLst>
                  <a:gd name="connsiteX0" fmla="*/ 15750 w 19538"/>
                  <a:gd name="connsiteY0" fmla="*/ 3528 h 17743"/>
                  <a:gd name="connsiteX1" fmla="*/ 11416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750" y="3528"/>
                    </a:moveTo>
                    <a:lnTo>
                      <a:pt x="11416" y="1015"/>
                    </a:lnTo>
                    <a:cubicBezTo>
                      <a:pt x="7775" y="-1066"/>
                      <a:pt x="3182" y="148"/>
                      <a:pt x="1015" y="3788"/>
                    </a:cubicBezTo>
                    <a:cubicBezTo>
                      <a:pt x="-1066" y="7429"/>
                      <a:pt x="148" y="12023"/>
                      <a:pt x="3788" y="14190"/>
                    </a:cubicBezTo>
                    <a:lnTo>
                      <a:pt x="8122" y="16703"/>
                    </a:lnTo>
                    <a:cubicBezTo>
                      <a:pt x="9336" y="17397"/>
                      <a:pt x="10636" y="17743"/>
                      <a:pt x="11936" y="17743"/>
                    </a:cubicBezTo>
                    <a:cubicBezTo>
                      <a:pt x="14536" y="17743"/>
                      <a:pt x="17050"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80" name="Forma Livre: Forma 79">
                <a:extLst>
                  <a:ext uri="{FF2B5EF4-FFF2-40B4-BE49-F238E27FC236}">
                    <a16:creationId xmlns:a16="http://schemas.microsoft.com/office/drawing/2014/main" id="{1CBDC11E-CCF0-CE90-0C6C-0458730C8B7D}"/>
                  </a:ext>
                </a:extLst>
              </p:cNvPr>
              <p:cNvSpPr/>
              <p:nvPr/>
            </p:nvSpPr>
            <p:spPr>
              <a:xfrm>
                <a:off x="5919713" y="2609042"/>
                <a:ext cx="386187" cy="242265"/>
              </a:xfrm>
              <a:custGeom>
                <a:avLst/>
                <a:gdLst>
                  <a:gd name="connsiteX0" fmla="*/ 380666 w 386187"/>
                  <a:gd name="connsiteY0" fmla="*/ 138772 h 242265"/>
                  <a:gd name="connsiteX1" fmla="*/ 377719 w 386187"/>
                  <a:gd name="connsiteY1" fmla="*/ 137038 h 242265"/>
                  <a:gd name="connsiteX2" fmla="*/ 382399 w 386187"/>
                  <a:gd name="connsiteY2" fmla="*/ 134351 h 242265"/>
                  <a:gd name="connsiteX3" fmla="*/ 385173 w 386187"/>
                  <a:gd name="connsiteY3" fmla="*/ 123950 h 242265"/>
                  <a:gd name="connsiteX4" fmla="*/ 374858 w 386187"/>
                  <a:gd name="connsiteY4" fmla="*/ 121176 h 242265"/>
                  <a:gd name="connsiteX5" fmla="*/ 367317 w 386187"/>
                  <a:gd name="connsiteY5" fmla="*/ 125510 h 242265"/>
                  <a:gd name="connsiteX6" fmla="*/ 367317 w 386187"/>
                  <a:gd name="connsiteY6" fmla="*/ 104967 h 242265"/>
                  <a:gd name="connsiteX7" fmla="*/ 359776 w 386187"/>
                  <a:gd name="connsiteY7" fmla="*/ 97426 h 242265"/>
                  <a:gd name="connsiteX8" fmla="*/ 352235 w 386187"/>
                  <a:gd name="connsiteY8" fmla="*/ 104967 h 242265"/>
                  <a:gd name="connsiteX9" fmla="*/ 352235 w 386187"/>
                  <a:gd name="connsiteY9" fmla="*/ 134265 h 242265"/>
                  <a:gd name="connsiteX10" fmla="*/ 340014 w 386187"/>
                  <a:gd name="connsiteY10" fmla="*/ 141286 h 242265"/>
                  <a:gd name="connsiteX11" fmla="*/ 340014 w 386187"/>
                  <a:gd name="connsiteY11" fmla="*/ 141286 h 242265"/>
                  <a:gd name="connsiteX12" fmla="*/ 331259 w 386187"/>
                  <a:gd name="connsiteY12" fmla="*/ 146313 h 242265"/>
                  <a:gd name="connsiteX13" fmla="*/ 331259 w 386187"/>
                  <a:gd name="connsiteY13" fmla="*/ 146313 h 242265"/>
                  <a:gd name="connsiteX14" fmla="*/ 200635 w 386187"/>
                  <a:gd name="connsiteY14" fmla="*/ 221723 h 242265"/>
                  <a:gd name="connsiteX15" fmla="*/ 200635 w 386187"/>
                  <a:gd name="connsiteY15" fmla="*/ 218169 h 242265"/>
                  <a:gd name="connsiteX16" fmla="*/ 193094 w 386187"/>
                  <a:gd name="connsiteY16" fmla="*/ 210628 h 242265"/>
                  <a:gd name="connsiteX17" fmla="*/ 185553 w 386187"/>
                  <a:gd name="connsiteY17" fmla="*/ 218169 h 242265"/>
                  <a:gd name="connsiteX18" fmla="*/ 185553 w 386187"/>
                  <a:gd name="connsiteY18" fmla="*/ 221723 h 242265"/>
                  <a:gd name="connsiteX19" fmla="*/ 33952 w 386187"/>
                  <a:gd name="connsiteY19" fmla="*/ 134178 h 242265"/>
                  <a:gd name="connsiteX20" fmla="*/ 33952 w 386187"/>
                  <a:gd name="connsiteY20" fmla="*/ 7541 h 242265"/>
                  <a:gd name="connsiteX21" fmla="*/ 26411 w 386187"/>
                  <a:gd name="connsiteY21" fmla="*/ 0 h 242265"/>
                  <a:gd name="connsiteX22" fmla="*/ 18870 w 386187"/>
                  <a:gd name="connsiteY22" fmla="*/ 7541 h 242265"/>
                  <a:gd name="connsiteX23" fmla="*/ 18870 w 386187"/>
                  <a:gd name="connsiteY23" fmla="*/ 125424 h 242265"/>
                  <a:gd name="connsiteX24" fmla="*/ 11329 w 386187"/>
                  <a:gd name="connsiteY24" fmla="*/ 121090 h 242265"/>
                  <a:gd name="connsiteX25" fmla="*/ 1015 w 386187"/>
                  <a:gd name="connsiteY25" fmla="*/ 123863 h 242265"/>
                  <a:gd name="connsiteX26" fmla="*/ 3788 w 386187"/>
                  <a:gd name="connsiteY26" fmla="*/ 134265 h 242265"/>
                  <a:gd name="connsiteX27" fmla="*/ 8469 w 386187"/>
                  <a:gd name="connsiteY27" fmla="*/ 136952 h 242265"/>
                  <a:gd name="connsiteX28" fmla="*/ 5522 w 386187"/>
                  <a:gd name="connsiteY28" fmla="*/ 138685 h 242265"/>
                  <a:gd name="connsiteX29" fmla="*/ 2748 w 386187"/>
                  <a:gd name="connsiteY29" fmla="*/ 149000 h 242265"/>
                  <a:gd name="connsiteX30" fmla="*/ 9336 w 386187"/>
                  <a:gd name="connsiteY30" fmla="*/ 152814 h 242265"/>
                  <a:gd name="connsiteX31" fmla="*/ 13150 w 386187"/>
                  <a:gd name="connsiteY31" fmla="*/ 151774 h 242265"/>
                  <a:gd name="connsiteX32" fmla="*/ 22164 w 386187"/>
                  <a:gd name="connsiteY32" fmla="*/ 146573 h 242265"/>
                  <a:gd name="connsiteX33" fmla="*/ 23551 w 386187"/>
                  <a:gd name="connsiteY33" fmla="*/ 145533 h 242265"/>
                  <a:gd name="connsiteX34" fmla="*/ 189540 w 386187"/>
                  <a:gd name="connsiteY34" fmla="*/ 241399 h 242265"/>
                  <a:gd name="connsiteX35" fmla="*/ 189540 w 386187"/>
                  <a:gd name="connsiteY35" fmla="*/ 241399 h 242265"/>
                  <a:gd name="connsiteX36" fmla="*/ 190233 w 386187"/>
                  <a:gd name="connsiteY36" fmla="*/ 241746 h 242265"/>
                  <a:gd name="connsiteX37" fmla="*/ 190493 w 386187"/>
                  <a:gd name="connsiteY37" fmla="*/ 241746 h 242265"/>
                  <a:gd name="connsiteX38" fmla="*/ 191100 w 386187"/>
                  <a:gd name="connsiteY38" fmla="*/ 242093 h 242265"/>
                  <a:gd name="connsiteX39" fmla="*/ 191447 w 386187"/>
                  <a:gd name="connsiteY39" fmla="*/ 242179 h 242265"/>
                  <a:gd name="connsiteX40" fmla="*/ 192054 w 386187"/>
                  <a:gd name="connsiteY40" fmla="*/ 242266 h 242265"/>
                  <a:gd name="connsiteX41" fmla="*/ 192400 w 386187"/>
                  <a:gd name="connsiteY41" fmla="*/ 242266 h 242265"/>
                  <a:gd name="connsiteX42" fmla="*/ 193354 w 386187"/>
                  <a:gd name="connsiteY42" fmla="*/ 242266 h 242265"/>
                  <a:gd name="connsiteX43" fmla="*/ 196214 w 386187"/>
                  <a:gd name="connsiteY43" fmla="*/ 241659 h 242265"/>
                  <a:gd name="connsiteX44" fmla="*/ 196734 w 386187"/>
                  <a:gd name="connsiteY44" fmla="*/ 241399 h 242265"/>
                  <a:gd name="connsiteX45" fmla="*/ 197168 w 386187"/>
                  <a:gd name="connsiteY45" fmla="*/ 241226 h 242265"/>
                  <a:gd name="connsiteX46" fmla="*/ 199508 w 386187"/>
                  <a:gd name="connsiteY46" fmla="*/ 239926 h 242265"/>
                  <a:gd name="connsiteX47" fmla="*/ 199508 w 386187"/>
                  <a:gd name="connsiteY47" fmla="*/ 239926 h 242265"/>
                  <a:gd name="connsiteX48" fmla="*/ 208262 w 386187"/>
                  <a:gd name="connsiteY48" fmla="*/ 234898 h 242265"/>
                  <a:gd name="connsiteX49" fmla="*/ 208262 w 386187"/>
                  <a:gd name="connsiteY49" fmla="*/ 234898 h 242265"/>
                  <a:gd name="connsiteX50" fmla="*/ 234353 w 386187"/>
                  <a:gd name="connsiteY50" fmla="*/ 219816 h 242265"/>
                  <a:gd name="connsiteX51" fmla="*/ 234353 w 386187"/>
                  <a:gd name="connsiteY51" fmla="*/ 219816 h 242265"/>
                  <a:gd name="connsiteX52" fmla="*/ 243107 w 386187"/>
                  <a:gd name="connsiteY52" fmla="*/ 214789 h 242265"/>
                  <a:gd name="connsiteX53" fmla="*/ 243107 w 386187"/>
                  <a:gd name="connsiteY53" fmla="*/ 214789 h 242265"/>
                  <a:gd name="connsiteX54" fmla="*/ 269284 w 386187"/>
                  <a:gd name="connsiteY54" fmla="*/ 199707 h 242265"/>
                  <a:gd name="connsiteX55" fmla="*/ 269284 w 386187"/>
                  <a:gd name="connsiteY55" fmla="*/ 199707 h 242265"/>
                  <a:gd name="connsiteX56" fmla="*/ 278039 w 386187"/>
                  <a:gd name="connsiteY56" fmla="*/ 194680 h 242265"/>
                  <a:gd name="connsiteX57" fmla="*/ 278039 w 386187"/>
                  <a:gd name="connsiteY57" fmla="*/ 194680 h 242265"/>
                  <a:gd name="connsiteX58" fmla="*/ 304215 w 386187"/>
                  <a:gd name="connsiteY58" fmla="*/ 179598 h 242265"/>
                  <a:gd name="connsiteX59" fmla="*/ 304215 w 386187"/>
                  <a:gd name="connsiteY59" fmla="*/ 179598 h 242265"/>
                  <a:gd name="connsiteX60" fmla="*/ 312970 w 386187"/>
                  <a:gd name="connsiteY60" fmla="*/ 174570 h 242265"/>
                  <a:gd name="connsiteX61" fmla="*/ 312970 w 386187"/>
                  <a:gd name="connsiteY61" fmla="*/ 174570 h 242265"/>
                  <a:gd name="connsiteX62" fmla="*/ 363157 w 386187"/>
                  <a:gd name="connsiteY62" fmla="*/ 145533 h 242265"/>
                  <a:gd name="connsiteX63" fmla="*/ 364543 w 386187"/>
                  <a:gd name="connsiteY63" fmla="*/ 146573 h 242265"/>
                  <a:gd name="connsiteX64" fmla="*/ 373558 w 386187"/>
                  <a:gd name="connsiteY64" fmla="*/ 151774 h 242265"/>
                  <a:gd name="connsiteX65" fmla="*/ 377372 w 386187"/>
                  <a:gd name="connsiteY65" fmla="*/ 152814 h 242265"/>
                  <a:gd name="connsiteX66" fmla="*/ 383959 w 386187"/>
                  <a:gd name="connsiteY66" fmla="*/ 149000 h 242265"/>
                  <a:gd name="connsiteX67" fmla="*/ 381186 w 386187"/>
                  <a:gd name="connsiteY67" fmla="*/ 138685 h 24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86187" h="242265">
                    <a:moveTo>
                      <a:pt x="380666" y="138772"/>
                    </a:moveTo>
                    <a:lnTo>
                      <a:pt x="377719" y="137038"/>
                    </a:lnTo>
                    <a:lnTo>
                      <a:pt x="382399" y="134351"/>
                    </a:lnTo>
                    <a:cubicBezTo>
                      <a:pt x="386040" y="132271"/>
                      <a:pt x="387253" y="127591"/>
                      <a:pt x="385173" y="123950"/>
                    </a:cubicBezTo>
                    <a:cubicBezTo>
                      <a:pt x="383093" y="120310"/>
                      <a:pt x="378412" y="119096"/>
                      <a:pt x="374858" y="121176"/>
                    </a:cubicBezTo>
                    <a:lnTo>
                      <a:pt x="367317" y="125510"/>
                    </a:lnTo>
                    <a:lnTo>
                      <a:pt x="367317" y="104967"/>
                    </a:lnTo>
                    <a:cubicBezTo>
                      <a:pt x="367317" y="100807"/>
                      <a:pt x="363937" y="97426"/>
                      <a:pt x="359776" y="97426"/>
                    </a:cubicBezTo>
                    <a:cubicBezTo>
                      <a:pt x="355616" y="97426"/>
                      <a:pt x="352235" y="100807"/>
                      <a:pt x="352235" y="104967"/>
                    </a:cubicBezTo>
                    <a:lnTo>
                      <a:pt x="352235" y="134265"/>
                    </a:lnTo>
                    <a:lnTo>
                      <a:pt x="340014" y="141286"/>
                    </a:lnTo>
                    <a:lnTo>
                      <a:pt x="340014" y="141286"/>
                    </a:lnTo>
                    <a:lnTo>
                      <a:pt x="331259" y="146313"/>
                    </a:lnTo>
                    <a:lnTo>
                      <a:pt x="331259" y="146313"/>
                    </a:lnTo>
                    <a:lnTo>
                      <a:pt x="200635" y="221723"/>
                    </a:lnTo>
                    <a:lnTo>
                      <a:pt x="200635" y="218169"/>
                    </a:lnTo>
                    <a:cubicBezTo>
                      <a:pt x="200635" y="214009"/>
                      <a:pt x="197254" y="210628"/>
                      <a:pt x="193094" y="210628"/>
                    </a:cubicBezTo>
                    <a:cubicBezTo>
                      <a:pt x="188933" y="210628"/>
                      <a:pt x="185553" y="214009"/>
                      <a:pt x="185553" y="218169"/>
                    </a:cubicBezTo>
                    <a:lnTo>
                      <a:pt x="185553" y="221723"/>
                    </a:lnTo>
                    <a:lnTo>
                      <a:pt x="33952" y="134178"/>
                    </a:lnTo>
                    <a:lnTo>
                      <a:pt x="33952" y="7541"/>
                    </a:lnTo>
                    <a:cubicBezTo>
                      <a:pt x="33952" y="3380"/>
                      <a:pt x="30572" y="0"/>
                      <a:pt x="26411" y="0"/>
                    </a:cubicBezTo>
                    <a:cubicBezTo>
                      <a:pt x="22251" y="0"/>
                      <a:pt x="18870" y="3380"/>
                      <a:pt x="18870" y="7541"/>
                    </a:cubicBezTo>
                    <a:lnTo>
                      <a:pt x="18870" y="125424"/>
                    </a:lnTo>
                    <a:lnTo>
                      <a:pt x="11329" y="121090"/>
                    </a:lnTo>
                    <a:cubicBezTo>
                      <a:pt x="7689" y="119009"/>
                      <a:pt x="3095" y="120223"/>
                      <a:pt x="1015" y="123863"/>
                    </a:cubicBezTo>
                    <a:cubicBezTo>
                      <a:pt x="-1066" y="127504"/>
                      <a:pt x="148" y="132098"/>
                      <a:pt x="3788" y="134265"/>
                    </a:cubicBezTo>
                    <a:lnTo>
                      <a:pt x="8469" y="136952"/>
                    </a:lnTo>
                    <a:lnTo>
                      <a:pt x="5522" y="138685"/>
                    </a:lnTo>
                    <a:cubicBezTo>
                      <a:pt x="1881" y="140766"/>
                      <a:pt x="668" y="145446"/>
                      <a:pt x="2748" y="149000"/>
                    </a:cubicBezTo>
                    <a:cubicBezTo>
                      <a:pt x="4135" y="151427"/>
                      <a:pt x="6735" y="152814"/>
                      <a:pt x="9336" y="152814"/>
                    </a:cubicBezTo>
                    <a:cubicBezTo>
                      <a:pt x="10636" y="152814"/>
                      <a:pt x="11936" y="152467"/>
                      <a:pt x="13150" y="151774"/>
                    </a:cubicBezTo>
                    <a:lnTo>
                      <a:pt x="22164" y="146573"/>
                    </a:lnTo>
                    <a:cubicBezTo>
                      <a:pt x="22684" y="146313"/>
                      <a:pt x="23118" y="145966"/>
                      <a:pt x="23551" y="145533"/>
                    </a:cubicBezTo>
                    <a:lnTo>
                      <a:pt x="189540" y="241399"/>
                    </a:lnTo>
                    <a:lnTo>
                      <a:pt x="189540" y="241399"/>
                    </a:lnTo>
                    <a:cubicBezTo>
                      <a:pt x="189540" y="241399"/>
                      <a:pt x="189973" y="241659"/>
                      <a:pt x="190233" y="241746"/>
                    </a:cubicBezTo>
                    <a:lnTo>
                      <a:pt x="190493" y="241746"/>
                    </a:lnTo>
                    <a:cubicBezTo>
                      <a:pt x="190493" y="241746"/>
                      <a:pt x="190927" y="242006"/>
                      <a:pt x="191100" y="242093"/>
                    </a:cubicBezTo>
                    <a:cubicBezTo>
                      <a:pt x="191187" y="242093"/>
                      <a:pt x="191274" y="242093"/>
                      <a:pt x="191447" y="242179"/>
                    </a:cubicBezTo>
                    <a:cubicBezTo>
                      <a:pt x="191620" y="242179"/>
                      <a:pt x="191880" y="242266"/>
                      <a:pt x="192054" y="242266"/>
                    </a:cubicBezTo>
                    <a:cubicBezTo>
                      <a:pt x="192140" y="242266"/>
                      <a:pt x="192227" y="242266"/>
                      <a:pt x="192400" y="242266"/>
                    </a:cubicBezTo>
                    <a:cubicBezTo>
                      <a:pt x="192747" y="242266"/>
                      <a:pt x="193094" y="242266"/>
                      <a:pt x="193354" y="242266"/>
                    </a:cubicBezTo>
                    <a:cubicBezTo>
                      <a:pt x="194307" y="242266"/>
                      <a:pt x="195261" y="242093"/>
                      <a:pt x="196214" y="241659"/>
                    </a:cubicBezTo>
                    <a:cubicBezTo>
                      <a:pt x="196388" y="241659"/>
                      <a:pt x="196561" y="241486"/>
                      <a:pt x="196734" y="241399"/>
                    </a:cubicBezTo>
                    <a:cubicBezTo>
                      <a:pt x="196908" y="241399"/>
                      <a:pt x="196994" y="241312"/>
                      <a:pt x="197168" y="241226"/>
                    </a:cubicBezTo>
                    <a:lnTo>
                      <a:pt x="199508" y="239926"/>
                    </a:lnTo>
                    <a:lnTo>
                      <a:pt x="199508" y="239926"/>
                    </a:lnTo>
                    <a:lnTo>
                      <a:pt x="208262" y="234898"/>
                    </a:lnTo>
                    <a:lnTo>
                      <a:pt x="208262" y="234898"/>
                    </a:lnTo>
                    <a:lnTo>
                      <a:pt x="234353" y="219816"/>
                    </a:lnTo>
                    <a:lnTo>
                      <a:pt x="234353" y="219816"/>
                    </a:lnTo>
                    <a:lnTo>
                      <a:pt x="243107" y="214789"/>
                    </a:lnTo>
                    <a:lnTo>
                      <a:pt x="243107" y="214789"/>
                    </a:lnTo>
                    <a:lnTo>
                      <a:pt x="269284" y="199707"/>
                    </a:lnTo>
                    <a:lnTo>
                      <a:pt x="269284" y="199707"/>
                    </a:lnTo>
                    <a:lnTo>
                      <a:pt x="278039" y="194680"/>
                    </a:lnTo>
                    <a:lnTo>
                      <a:pt x="278039" y="194680"/>
                    </a:lnTo>
                    <a:lnTo>
                      <a:pt x="304215" y="179598"/>
                    </a:lnTo>
                    <a:lnTo>
                      <a:pt x="304215" y="179598"/>
                    </a:lnTo>
                    <a:lnTo>
                      <a:pt x="312970" y="174570"/>
                    </a:lnTo>
                    <a:lnTo>
                      <a:pt x="312970" y="174570"/>
                    </a:lnTo>
                    <a:lnTo>
                      <a:pt x="363157" y="145533"/>
                    </a:lnTo>
                    <a:cubicBezTo>
                      <a:pt x="363157" y="145533"/>
                      <a:pt x="364023" y="146226"/>
                      <a:pt x="364543" y="146573"/>
                    </a:cubicBezTo>
                    <a:lnTo>
                      <a:pt x="373558" y="151774"/>
                    </a:lnTo>
                    <a:cubicBezTo>
                      <a:pt x="374772" y="152467"/>
                      <a:pt x="376072" y="152814"/>
                      <a:pt x="377372" y="152814"/>
                    </a:cubicBezTo>
                    <a:cubicBezTo>
                      <a:pt x="379972" y="152814"/>
                      <a:pt x="382573" y="151427"/>
                      <a:pt x="383959" y="149000"/>
                    </a:cubicBezTo>
                    <a:cubicBezTo>
                      <a:pt x="386040" y="145360"/>
                      <a:pt x="384826" y="140766"/>
                      <a:pt x="381186" y="138685"/>
                    </a:cubicBezTo>
                    <a:close/>
                  </a:path>
                </a:pathLst>
              </a:custGeom>
              <a:solidFill>
                <a:schemeClr val="accent3"/>
              </a:solidFill>
              <a:ln w="8572" cap="flat">
                <a:noFill/>
                <a:prstDash val="solid"/>
                <a:miter/>
              </a:ln>
            </p:spPr>
            <p:txBody>
              <a:bodyPr rtlCol="0" anchor="ctr"/>
              <a:lstStyle/>
              <a:p>
                <a:endParaRPr lang="pt-BR"/>
              </a:p>
            </p:txBody>
          </p:sp>
          <p:sp>
            <p:nvSpPr>
              <p:cNvPr id="81" name="Forma Livre: Forma 80">
                <a:extLst>
                  <a:ext uri="{FF2B5EF4-FFF2-40B4-BE49-F238E27FC236}">
                    <a16:creationId xmlns:a16="http://schemas.microsoft.com/office/drawing/2014/main" id="{BA80C721-BE23-592B-CED4-C89386A9E1E3}"/>
                  </a:ext>
                </a:extLst>
              </p:cNvPr>
              <p:cNvSpPr/>
              <p:nvPr/>
            </p:nvSpPr>
            <p:spPr>
              <a:xfrm>
                <a:off x="6072527" y="2850207"/>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82" name="Forma Livre: Forma 81">
                <a:extLst>
                  <a:ext uri="{FF2B5EF4-FFF2-40B4-BE49-F238E27FC236}">
                    <a16:creationId xmlns:a16="http://schemas.microsoft.com/office/drawing/2014/main" id="{B715D8E0-1A0B-0855-4DFD-232442A7F791}"/>
                  </a:ext>
                </a:extLst>
              </p:cNvPr>
              <p:cNvSpPr/>
              <p:nvPr/>
            </p:nvSpPr>
            <p:spPr>
              <a:xfrm>
                <a:off x="5919193" y="2447300"/>
                <a:ext cx="386534" cy="354514"/>
              </a:xfrm>
              <a:custGeom>
                <a:avLst/>
                <a:gdLst>
                  <a:gd name="connsiteX0" fmla="*/ 383006 w 386534"/>
                  <a:gd name="connsiteY0" fmla="*/ 109041 h 354514"/>
                  <a:gd name="connsiteX1" fmla="*/ 375292 w 386534"/>
                  <a:gd name="connsiteY1" fmla="*/ 104534 h 354514"/>
                  <a:gd name="connsiteX2" fmla="*/ 381186 w 386534"/>
                  <a:gd name="connsiteY2" fmla="*/ 101154 h 354514"/>
                  <a:gd name="connsiteX3" fmla="*/ 383959 w 386534"/>
                  <a:gd name="connsiteY3" fmla="*/ 90839 h 354514"/>
                  <a:gd name="connsiteX4" fmla="*/ 373645 w 386534"/>
                  <a:gd name="connsiteY4" fmla="*/ 88065 h 354514"/>
                  <a:gd name="connsiteX5" fmla="*/ 364630 w 386534"/>
                  <a:gd name="connsiteY5" fmla="*/ 93266 h 354514"/>
                  <a:gd name="connsiteX6" fmla="*/ 361596 w 386534"/>
                  <a:gd name="connsiteY6" fmla="*/ 96646 h 354514"/>
                  <a:gd name="connsiteX7" fmla="*/ 197254 w 386534"/>
                  <a:gd name="connsiteY7" fmla="*/ 953 h 354514"/>
                  <a:gd name="connsiteX8" fmla="*/ 197254 w 386534"/>
                  <a:gd name="connsiteY8" fmla="*/ 953 h 354514"/>
                  <a:gd name="connsiteX9" fmla="*/ 196388 w 386534"/>
                  <a:gd name="connsiteY9" fmla="*/ 520 h 354514"/>
                  <a:gd name="connsiteX10" fmla="*/ 196388 w 386534"/>
                  <a:gd name="connsiteY10" fmla="*/ 520 h 354514"/>
                  <a:gd name="connsiteX11" fmla="*/ 195521 w 386534"/>
                  <a:gd name="connsiteY11" fmla="*/ 260 h 354514"/>
                  <a:gd name="connsiteX12" fmla="*/ 195261 w 386534"/>
                  <a:gd name="connsiteY12" fmla="*/ 260 h 354514"/>
                  <a:gd name="connsiteX13" fmla="*/ 194567 w 386534"/>
                  <a:gd name="connsiteY13" fmla="*/ 87 h 354514"/>
                  <a:gd name="connsiteX14" fmla="*/ 194307 w 386534"/>
                  <a:gd name="connsiteY14" fmla="*/ 87 h 354514"/>
                  <a:gd name="connsiteX15" fmla="*/ 193440 w 386534"/>
                  <a:gd name="connsiteY15" fmla="*/ 0 h 354514"/>
                  <a:gd name="connsiteX16" fmla="*/ 193440 w 386534"/>
                  <a:gd name="connsiteY16" fmla="*/ 0 h 354514"/>
                  <a:gd name="connsiteX17" fmla="*/ 192574 w 386534"/>
                  <a:gd name="connsiteY17" fmla="*/ 0 h 354514"/>
                  <a:gd name="connsiteX18" fmla="*/ 192314 w 386534"/>
                  <a:gd name="connsiteY18" fmla="*/ 0 h 354514"/>
                  <a:gd name="connsiteX19" fmla="*/ 191620 w 386534"/>
                  <a:gd name="connsiteY19" fmla="*/ 173 h 354514"/>
                  <a:gd name="connsiteX20" fmla="*/ 191360 w 386534"/>
                  <a:gd name="connsiteY20" fmla="*/ 173 h 354514"/>
                  <a:gd name="connsiteX21" fmla="*/ 190493 w 386534"/>
                  <a:gd name="connsiteY21" fmla="*/ 520 h 354514"/>
                  <a:gd name="connsiteX22" fmla="*/ 190493 w 386534"/>
                  <a:gd name="connsiteY22" fmla="*/ 520 h 354514"/>
                  <a:gd name="connsiteX23" fmla="*/ 189627 w 386534"/>
                  <a:gd name="connsiteY23" fmla="*/ 953 h 354514"/>
                  <a:gd name="connsiteX24" fmla="*/ 189627 w 386534"/>
                  <a:gd name="connsiteY24" fmla="*/ 953 h 354514"/>
                  <a:gd name="connsiteX25" fmla="*/ 25284 w 386534"/>
                  <a:gd name="connsiteY25" fmla="*/ 96560 h 354514"/>
                  <a:gd name="connsiteX26" fmla="*/ 22251 w 386534"/>
                  <a:gd name="connsiteY26" fmla="*/ 93179 h 354514"/>
                  <a:gd name="connsiteX27" fmla="*/ 13236 w 386534"/>
                  <a:gd name="connsiteY27" fmla="*/ 87979 h 354514"/>
                  <a:gd name="connsiteX28" fmla="*/ 2921 w 386534"/>
                  <a:gd name="connsiteY28" fmla="*/ 90752 h 354514"/>
                  <a:gd name="connsiteX29" fmla="*/ 5695 w 386534"/>
                  <a:gd name="connsiteY29" fmla="*/ 101067 h 354514"/>
                  <a:gd name="connsiteX30" fmla="*/ 11503 w 386534"/>
                  <a:gd name="connsiteY30" fmla="*/ 104447 h 354514"/>
                  <a:gd name="connsiteX31" fmla="*/ 3788 w 386534"/>
                  <a:gd name="connsiteY31" fmla="*/ 108955 h 354514"/>
                  <a:gd name="connsiteX32" fmla="*/ 1015 w 386534"/>
                  <a:gd name="connsiteY32" fmla="*/ 119356 h 354514"/>
                  <a:gd name="connsiteX33" fmla="*/ 7602 w 386534"/>
                  <a:gd name="connsiteY33" fmla="*/ 123170 h 354514"/>
                  <a:gd name="connsiteX34" fmla="*/ 11416 w 386534"/>
                  <a:gd name="connsiteY34" fmla="*/ 122130 h 354514"/>
                  <a:gd name="connsiteX35" fmla="*/ 19130 w 386534"/>
                  <a:gd name="connsiteY35" fmla="*/ 117709 h 354514"/>
                  <a:gd name="connsiteX36" fmla="*/ 19130 w 386534"/>
                  <a:gd name="connsiteY36" fmla="*/ 137298 h 354514"/>
                  <a:gd name="connsiteX37" fmla="*/ 26671 w 386534"/>
                  <a:gd name="connsiteY37" fmla="*/ 144840 h 354514"/>
                  <a:gd name="connsiteX38" fmla="*/ 34212 w 386534"/>
                  <a:gd name="connsiteY38" fmla="*/ 137298 h 354514"/>
                  <a:gd name="connsiteX39" fmla="*/ 34212 w 386534"/>
                  <a:gd name="connsiteY39" fmla="*/ 117709 h 354514"/>
                  <a:gd name="connsiteX40" fmla="*/ 181392 w 386534"/>
                  <a:gd name="connsiteY40" fmla="*/ 202654 h 354514"/>
                  <a:gd name="connsiteX41" fmla="*/ 182346 w 386534"/>
                  <a:gd name="connsiteY41" fmla="*/ 207248 h 354514"/>
                  <a:gd name="connsiteX42" fmla="*/ 185813 w 386534"/>
                  <a:gd name="connsiteY42" fmla="*/ 210368 h 354514"/>
                  <a:gd name="connsiteX43" fmla="*/ 185813 w 386534"/>
                  <a:gd name="connsiteY43" fmla="*/ 346973 h 354514"/>
                  <a:gd name="connsiteX44" fmla="*/ 193354 w 386534"/>
                  <a:gd name="connsiteY44" fmla="*/ 354514 h 354514"/>
                  <a:gd name="connsiteX45" fmla="*/ 200895 w 386534"/>
                  <a:gd name="connsiteY45" fmla="*/ 346973 h 354514"/>
                  <a:gd name="connsiteX46" fmla="*/ 200895 w 386534"/>
                  <a:gd name="connsiteY46" fmla="*/ 210368 h 354514"/>
                  <a:gd name="connsiteX47" fmla="*/ 204362 w 386534"/>
                  <a:gd name="connsiteY47" fmla="*/ 207248 h 354514"/>
                  <a:gd name="connsiteX48" fmla="*/ 205315 w 386534"/>
                  <a:gd name="connsiteY48" fmla="*/ 202654 h 354514"/>
                  <a:gd name="connsiteX49" fmla="*/ 352409 w 386534"/>
                  <a:gd name="connsiteY49" fmla="*/ 117709 h 354514"/>
                  <a:gd name="connsiteX50" fmla="*/ 352409 w 386534"/>
                  <a:gd name="connsiteY50" fmla="*/ 117709 h 354514"/>
                  <a:gd name="connsiteX51" fmla="*/ 352409 w 386534"/>
                  <a:gd name="connsiteY51" fmla="*/ 234032 h 354514"/>
                  <a:gd name="connsiteX52" fmla="*/ 359950 w 386534"/>
                  <a:gd name="connsiteY52" fmla="*/ 241573 h 354514"/>
                  <a:gd name="connsiteX53" fmla="*/ 367491 w 386534"/>
                  <a:gd name="connsiteY53" fmla="*/ 234032 h 354514"/>
                  <a:gd name="connsiteX54" fmla="*/ 367491 w 386534"/>
                  <a:gd name="connsiteY54" fmla="*/ 117796 h 354514"/>
                  <a:gd name="connsiteX55" fmla="*/ 375118 w 386534"/>
                  <a:gd name="connsiteY55" fmla="*/ 122216 h 354514"/>
                  <a:gd name="connsiteX56" fmla="*/ 378932 w 386534"/>
                  <a:gd name="connsiteY56" fmla="*/ 123257 h 354514"/>
                  <a:gd name="connsiteX57" fmla="*/ 385520 w 386534"/>
                  <a:gd name="connsiteY57" fmla="*/ 119443 h 354514"/>
                  <a:gd name="connsiteX58" fmla="*/ 382746 w 386534"/>
                  <a:gd name="connsiteY58" fmla="*/ 109041 h 354514"/>
                  <a:gd name="connsiteX59" fmla="*/ 193440 w 386534"/>
                  <a:gd name="connsiteY59" fmla="*/ 192079 h 354514"/>
                  <a:gd name="connsiteX60" fmla="*/ 41840 w 386534"/>
                  <a:gd name="connsiteY60" fmla="*/ 104534 h 354514"/>
                  <a:gd name="connsiteX61" fmla="*/ 186333 w 386534"/>
                  <a:gd name="connsiteY61" fmla="*/ 20803 h 354514"/>
                  <a:gd name="connsiteX62" fmla="*/ 186506 w 386534"/>
                  <a:gd name="connsiteY62" fmla="*/ 20803 h 354514"/>
                  <a:gd name="connsiteX63" fmla="*/ 193440 w 386534"/>
                  <a:gd name="connsiteY63" fmla="*/ 25223 h 354514"/>
                  <a:gd name="connsiteX64" fmla="*/ 200461 w 386534"/>
                  <a:gd name="connsiteY64" fmla="*/ 20456 h 354514"/>
                  <a:gd name="connsiteX65" fmla="*/ 201068 w 386534"/>
                  <a:gd name="connsiteY65" fmla="*/ 20803 h 354514"/>
                  <a:gd name="connsiteX66" fmla="*/ 202022 w 386534"/>
                  <a:gd name="connsiteY66" fmla="*/ 21236 h 354514"/>
                  <a:gd name="connsiteX67" fmla="*/ 226465 w 386534"/>
                  <a:gd name="connsiteY67" fmla="*/ 35451 h 354514"/>
                  <a:gd name="connsiteX68" fmla="*/ 227245 w 386534"/>
                  <a:gd name="connsiteY68" fmla="*/ 35972 h 354514"/>
                  <a:gd name="connsiteX69" fmla="*/ 236000 w 386534"/>
                  <a:gd name="connsiteY69" fmla="*/ 40999 h 354514"/>
                  <a:gd name="connsiteX70" fmla="*/ 236780 w 386534"/>
                  <a:gd name="connsiteY70" fmla="*/ 41346 h 354514"/>
                  <a:gd name="connsiteX71" fmla="*/ 261483 w 386534"/>
                  <a:gd name="connsiteY71" fmla="*/ 55734 h 354514"/>
                  <a:gd name="connsiteX72" fmla="*/ 262176 w 386534"/>
                  <a:gd name="connsiteY72" fmla="*/ 56168 h 354514"/>
                  <a:gd name="connsiteX73" fmla="*/ 270931 w 386534"/>
                  <a:gd name="connsiteY73" fmla="*/ 61195 h 354514"/>
                  <a:gd name="connsiteX74" fmla="*/ 271451 w 386534"/>
                  <a:gd name="connsiteY74" fmla="*/ 61455 h 354514"/>
                  <a:gd name="connsiteX75" fmla="*/ 296588 w 386534"/>
                  <a:gd name="connsiteY75" fmla="*/ 76104 h 354514"/>
                  <a:gd name="connsiteX76" fmla="*/ 297108 w 386534"/>
                  <a:gd name="connsiteY76" fmla="*/ 76450 h 354514"/>
                  <a:gd name="connsiteX77" fmla="*/ 305862 w 386534"/>
                  <a:gd name="connsiteY77" fmla="*/ 81478 h 354514"/>
                  <a:gd name="connsiteX78" fmla="*/ 306209 w 386534"/>
                  <a:gd name="connsiteY78" fmla="*/ 81651 h 354514"/>
                  <a:gd name="connsiteX79" fmla="*/ 331866 w 386534"/>
                  <a:gd name="connsiteY79" fmla="*/ 96560 h 354514"/>
                  <a:gd name="connsiteX80" fmla="*/ 332039 w 386534"/>
                  <a:gd name="connsiteY80" fmla="*/ 96560 h 354514"/>
                  <a:gd name="connsiteX81" fmla="*/ 340794 w 386534"/>
                  <a:gd name="connsiteY81" fmla="*/ 101760 h 354514"/>
                  <a:gd name="connsiteX82" fmla="*/ 340880 w 386534"/>
                  <a:gd name="connsiteY82" fmla="*/ 101760 h 354514"/>
                  <a:gd name="connsiteX83" fmla="*/ 345301 w 386534"/>
                  <a:gd name="connsiteY83" fmla="*/ 104361 h 354514"/>
                  <a:gd name="connsiteX84" fmla="*/ 193700 w 386534"/>
                  <a:gd name="connsiteY84" fmla="*/ 191906 h 35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86534" h="354514">
                    <a:moveTo>
                      <a:pt x="383006" y="109041"/>
                    </a:moveTo>
                    <a:lnTo>
                      <a:pt x="375292" y="104534"/>
                    </a:lnTo>
                    <a:lnTo>
                      <a:pt x="381186" y="101154"/>
                    </a:lnTo>
                    <a:cubicBezTo>
                      <a:pt x="384826" y="99073"/>
                      <a:pt x="386040" y="94393"/>
                      <a:pt x="383959" y="90839"/>
                    </a:cubicBezTo>
                    <a:cubicBezTo>
                      <a:pt x="381879" y="87198"/>
                      <a:pt x="377199" y="85985"/>
                      <a:pt x="373645" y="88065"/>
                    </a:cubicBezTo>
                    <a:lnTo>
                      <a:pt x="364630" y="93266"/>
                    </a:lnTo>
                    <a:cubicBezTo>
                      <a:pt x="363243" y="94046"/>
                      <a:pt x="362203" y="95259"/>
                      <a:pt x="361596" y="96646"/>
                    </a:cubicBezTo>
                    <a:lnTo>
                      <a:pt x="197254" y="953"/>
                    </a:lnTo>
                    <a:lnTo>
                      <a:pt x="197254" y="953"/>
                    </a:lnTo>
                    <a:cubicBezTo>
                      <a:pt x="197254" y="953"/>
                      <a:pt x="196734" y="607"/>
                      <a:pt x="196388" y="520"/>
                    </a:cubicBezTo>
                    <a:lnTo>
                      <a:pt x="196388" y="520"/>
                    </a:lnTo>
                    <a:cubicBezTo>
                      <a:pt x="196388" y="520"/>
                      <a:pt x="195867" y="347"/>
                      <a:pt x="195521" y="260"/>
                    </a:cubicBezTo>
                    <a:lnTo>
                      <a:pt x="195261" y="260"/>
                    </a:lnTo>
                    <a:cubicBezTo>
                      <a:pt x="195261" y="260"/>
                      <a:pt x="194827" y="87"/>
                      <a:pt x="194567" y="87"/>
                    </a:cubicBezTo>
                    <a:lnTo>
                      <a:pt x="194307" y="87"/>
                    </a:lnTo>
                    <a:cubicBezTo>
                      <a:pt x="194307" y="87"/>
                      <a:pt x="193700" y="0"/>
                      <a:pt x="193440" y="0"/>
                    </a:cubicBezTo>
                    <a:lnTo>
                      <a:pt x="193440" y="0"/>
                    </a:lnTo>
                    <a:cubicBezTo>
                      <a:pt x="193440" y="0"/>
                      <a:pt x="192834" y="0"/>
                      <a:pt x="192574" y="0"/>
                    </a:cubicBezTo>
                    <a:lnTo>
                      <a:pt x="192314" y="0"/>
                    </a:lnTo>
                    <a:cubicBezTo>
                      <a:pt x="192314" y="0"/>
                      <a:pt x="191880" y="87"/>
                      <a:pt x="191620" y="173"/>
                    </a:cubicBezTo>
                    <a:lnTo>
                      <a:pt x="191360" y="173"/>
                    </a:lnTo>
                    <a:cubicBezTo>
                      <a:pt x="191360" y="173"/>
                      <a:pt x="190753" y="433"/>
                      <a:pt x="190493" y="520"/>
                    </a:cubicBezTo>
                    <a:lnTo>
                      <a:pt x="190493" y="520"/>
                    </a:lnTo>
                    <a:cubicBezTo>
                      <a:pt x="190493" y="520"/>
                      <a:pt x="189887" y="780"/>
                      <a:pt x="189627" y="953"/>
                    </a:cubicBezTo>
                    <a:lnTo>
                      <a:pt x="189627" y="953"/>
                    </a:lnTo>
                    <a:lnTo>
                      <a:pt x="25284" y="96560"/>
                    </a:lnTo>
                    <a:cubicBezTo>
                      <a:pt x="24678" y="95173"/>
                      <a:pt x="23638" y="94046"/>
                      <a:pt x="22251" y="93179"/>
                    </a:cubicBezTo>
                    <a:lnTo>
                      <a:pt x="13236" y="87979"/>
                    </a:lnTo>
                    <a:cubicBezTo>
                      <a:pt x="9596" y="85898"/>
                      <a:pt x="5002" y="87112"/>
                      <a:pt x="2921" y="90752"/>
                    </a:cubicBezTo>
                    <a:cubicBezTo>
                      <a:pt x="841" y="94393"/>
                      <a:pt x="2055" y="98987"/>
                      <a:pt x="5695" y="101067"/>
                    </a:cubicBezTo>
                    <a:lnTo>
                      <a:pt x="11503" y="104447"/>
                    </a:lnTo>
                    <a:lnTo>
                      <a:pt x="3788" y="108955"/>
                    </a:lnTo>
                    <a:cubicBezTo>
                      <a:pt x="148" y="111035"/>
                      <a:pt x="-1066" y="115716"/>
                      <a:pt x="1015" y="119356"/>
                    </a:cubicBezTo>
                    <a:cubicBezTo>
                      <a:pt x="2401" y="121783"/>
                      <a:pt x="5002" y="123170"/>
                      <a:pt x="7602" y="123170"/>
                    </a:cubicBezTo>
                    <a:cubicBezTo>
                      <a:pt x="8902" y="123170"/>
                      <a:pt x="10202" y="122823"/>
                      <a:pt x="11416" y="122130"/>
                    </a:cubicBezTo>
                    <a:lnTo>
                      <a:pt x="19130" y="117709"/>
                    </a:lnTo>
                    <a:lnTo>
                      <a:pt x="19130" y="137298"/>
                    </a:lnTo>
                    <a:cubicBezTo>
                      <a:pt x="19130" y="141459"/>
                      <a:pt x="22511" y="144840"/>
                      <a:pt x="26671" y="144840"/>
                    </a:cubicBezTo>
                    <a:cubicBezTo>
                      <a:pt x="30832" y="144840"/>
                      <a:pt x="34212" y="141459"/>
                      <a:pt x="34212" y="137298"/>
                    </a:cubicBezTo>
                    <a:lnTo>
                      <a:pt x="34212" y="117709"/>
                    </a:lnTo>
                    <a:lnTo>
                      <a:pt x="181392" y="202654"/>
                    </a:lnTo>
                    <a:cubicBezTo>
                      <a:pt x="181219" y="204214"/>
                      <a:pt x="181566" y="205774"/>
                      <a:pt x="182346" y="207248"/>
                    </a:cubicBezTo>
                    <a:cubicBezTo>
                      <a:pt x="183212" y="208721"/>
                      <a:pt x="184426" y="209762"/>
                      <a:pt x="185813" y="210368"/>
                    </a:cubicBezTo>
                    <a:lnTo>
                      <a:pt x="185813" y="346973"/>
                    </a:lnTo>
                    <a:cubicBezTo>
                      <a:pt x="185813" y="351134"/>
                      <a:pt x="189193" y="354514"/>
                      <a:pt x="193354" y="354514"/>
                    </a:cubicBezTo>
                    <a:cubicBezTo>
                      <a:pt x="197514" y="354514"/>
                      <a:pt x="200895" y="351134"/>
                      <a:pt x="200895" y="346973"/>
                    </a:cubicBezTo>
                    <a:lnTo>
                      <a:pt x="200895" y="210368"/>
                    </a:lnTo>
                    <a:cubicBezTo>
                      <a:pt x="202282" y="209762"/>
                      <a:pt x="203582" y="208721"/>
                      <a:pt x="204362" y="207248"/>
                    </a:cubicBezTo>
                    <a:cubicBezTo>
                      <a:pt x="205229" y="205774"/>
                      <a:pt x="205489" y="204214"/>
                      <a:pt x="205315" y="202654"/>
                    </a:cubicBezTo>
                    <a:lnTo>
                      <a:pt x="352409" y="117709"/>
                    </a:lnTo>
                    <a:lnTo>
                      <a:pt x="352409" y="117709"/>
                    </a:lnTo>
                    <a:lnTo>
                      <a:pt x="352409" y="234032"/>
                    </a:lnTo>
                    <a:cubicBezTo>
                      <a:pt x="352409" y="238192"/>
                      <a:pt x="355789" y="241573"/>
                      <a:pt x="359950" y="241573"/>
                    </a:cubicBezTo>
                    <a:cubicBezTo>
                      <a:pt x="364110" y="241573"/>
                      <a:pt x="367491" y="238192"/>
                      <a:pt x="367491" y="234032"/>
                    </a:cubicBezTo>
                    <a:lnTo>
                      <a:pt x="367491" y="117796"/>
                    </a:lnTo>
                    <a:lnTo>
                      <a:pt x="375118" y="122216"/>
                    </a:lnTo>
                    <a:cubicBezTo>
                      <a:pt x="376332" y="122910"/>
                      <a:pt x="377632" y="123257"/>
                      <a:pt x="378932" y="123257"/>
                    </a:cubicBezTo>
                    <a:cubicBezTo>
                      <a:pt x="381532" y="123257"/>
                      <a:pt x="384046" y="121870"/>
                      <a:pt x="385520" y="119443"/>
                    </a:cubicBezTo>
                    <a:cubicBezTo>
                      <a:pt x="387600" y="115802"/>
                      <a:pt x="386386" y="111208"/>
                      <a:pt x="382746" y="109041"/>
                    </a:cubicBezTo>
                    <a:close/>
                    <a:moveTo>
                      <a:pt x="193440" y="192079"/>
                    </a:moveTo>
                    <a:lnTo>
                      <a:pt x="41840" y="104534"/>
                    </a:lnTo>
                    <a:lnTo>
                      <a:pt x="186333" y="20803"/>
                    </a:lnTo>
                    <a:lnTo>
                      <a:pt x="186506" y="20803"/>
                    </a:lnTo>
                    <a:cubicBezTo>
                      <a:pt x="187720" y="23316"/>
                      <a:pt x="190320" y="25223"/>
                      <a:pt x="193440" y="25223"/>
                    </a:cubicBezTo>
                    <a:cubicBezTo>
                      <a:pt x="196561" y="25223"/>
                      <a:pt x="199335" y="23230"/>
                      <a:pt x="200461" y="20456"/>
                    </a:cubicBezTo>
                    <a:lnTo>
                      <a:pt x="201068" y="20803"/>
                    </a:lnTo>
                    <a:cubicBezTo>
                      <a:pt x="201068" y="20803"/>
                      <a:pt x="201675" y="21150"/>
                      <a:pt x="202022" y="21236"/>
                    </a:cubicBezTo>
                    <a:lnTo>
                      <a:pt x="226465" y="35451"/>
                    </a:lnTo>
                    <a:cubicBezTo>
                      <a:pt x="226465" y="35451"/>
                      <a:pt x="226985" y="35798"/>
                      <a:pt x="227245" y="35972"/>
                    </a:cubicBezTo>
                    <a:lnTo>
                      <a:pt x="236000" y="40999"/>
                    </a:lnTo>
                    <a:cubicBezTo>
                      <a:pt x="236000" y="40999"/>
                      <a:pt x="236520" y="41259"/>
                      <a:pt x="236780" y="41346"/>
                    </a:cubicBezTo>
                    <a:lnTo>
                      <a:pt x="261483" y="55734"/>
                    </a:lnTo>
                    <a:cubicBezTo>
                      <a:pt x="261483" y="55734"/>
                      <a:pt x="261916" y="56081"/>
                      <a:pt x="262176" y="56168"/>
                    </a:cubicBezTo>
                    <a:lnTo>
                      <a:pt x="270931" y="61195"/>
                    </a:lnTo>
                    <a:cubicBezTo>
                      <a:pt x="270931" y="61195"/>
                      <a:pt x="271278" y="61368"/>
                      <a:pt x="271451" y="61455"/>
                    </a:cubicBezTo>
                    <a:lnTo>
                      <a:pt x="296588" y="76104"/>
                    </a:lnTo>
                    <a:cubicBezTo>
                      <a:pt x="296588" y="76104"/>
                      <a:pt x="296934" y="76364"/>
                      <a:pt x="297108" y="76450"/>
                    </a:cubicBezTo>
                    <a:lnTo>
                      <a:pt x="305862" y="81478"/>
                    </a:lnTo>
                    <a:cubicBezTo>
                      <a:pt x="305862" y="81478"/>
                      <a:pt x="306036" y="81564"/>
                      <a:pt x="306209" y="81651"/>
                    </a:cubicBezTo>
                    <a:lnTo>
                      <a:pt x="331866" y="96560"/>
                    </a:lnTo>
                    <a:lnTo>
                      <a:pt x="332039" y="96560"/>
                    </a:lnTo>
                    <a:lnTo>
                      <a:pt x="340794" y="101760"/>
                    </a:lnTo>
                    <a:lnTo>
                      <a:pt x="340880" y="101760"/>
                    </a:lnTo>
                    <a:lnTo>
                      <a:pt x="345301" y="104361"/>
                    </a:lnTo>
                    <a:lnTo>
                      <a:pt x="193700" y="191906"/>
                    </a:lnTo>
                    <a:close/>
                  </a:path>
                </a:pathLst>
              </a:custGeom>
              <a:solidFill>
                <a:schemeClr val="accent3"/>
              </a:solidFill>
              <a:ln w="8572" cap="flat">
                <a:noFill/>
                <a:prstDash val="solid"/>
                <a:miter/>
              </a:ln>
            </p:spPr>
            <p:txBody>
              <a:bodyPr rtlCol="0" anchor="ctr"/>
              <a:lstStyle/>
              <a:p>
                <a:endParaRPr lang="pt-BR"/>
              </a:p>
            </p:txBody>
          </p:sp>
          <p:sp>
            <p:nvSpPr>
              <p:cNvPr id="83" name="Forma Livre: Forma 82">
                <a:extLst>
                  <a:ext uri="{FF2B5EF4-FFF2-40B4-BE49-F238E27FC236}">
                    <a16:creationId xmlns:a16="http://schemas.microsoft.com/office/drawing/2014/main" id="{998DAD02-DF57-9657-E88F-CF065CE48E5D}"/>
                  </a:ext>
                </a:extLst>
              </p:cNvPr>
              <p:cNvSpPr/>
              <p:nvPr/>
            </p:nvSpPr>
            <p:spPr>
              <a:xfrm>
                <a:off x="6105092" y="2608955"/>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sp>
            <p:nvSpPr>
              <p:cNvPr id="84" name="Forma Livre: Forma 83">
                <a:extLst>
                  <a:ext uri="{FF2B5EF4-FFF2-40B4-BE49-F238E27FC236}">
                    <a16:creationId xmlns:a16="http://schemas.microsoft.com/office/drawing/2014/main" id="{70D679BA-BEA8-F685-5AFC-FFEB30BEB121}"/>
                  </a:ext>
                </a:extLst>
              </p:cNvPr>
              <p:cNvSpPr/>
              <p:nvPr/>
            </p:nvSpPr>
            <p:spPr>
              <a:xfrm>
                <a:off x="6105092" y="2487606"/>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sp>
            <p:nvSpPr>
              <p:cNvPr id="85" name="Forma Livre: Forma 84">
                <a:extLst>
                  <a:ext uri="{FF2B5EF4-FFF2-40B4-BE49-F238E27FC236}">
                    <a16:creationId xmlns:a16="http://schemas.microsoft.com/office/drawing/2014/main" id="{601C92C6-DFF9-8928-E645-2F02FD64DB4F}"/>
                  </a:ext>
                </a:extLst>
              </p:cNvPr>
              <p:cNvSpPr/>
              <p:nvPr/>
            </p:nvSpPr>
            <p:spPr>
              <a:xfrm>
                <a:off x="6105092" y="2528084"/>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sp>
            <p:nvSpPr>
              <p:cNvPr id="86" name="Forma Livre: Forma 85">
                <a:extLst>
                  <a:ext uri="{FF2B5EF4-FFF2-40B4-BE49-F238E27FC236}">
                    <a16:creationId xmlns:a16="http://schemas.microsoft.com/office/drawing/2014/main" id="{686D5CBC-16AD-4466-83F9-E5252C5D4CF4}"/>
                  </a:ext>
                </a:extLst>
              </p:cNvPr>
              <p:cNvSpPr/>
              <p:nvPr/>
            </p:nvSpPr>
            <p:spPr>
              <a:xfrm>
                <a:off x="6105092" y="2568563"/>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grpSp>
        <p:grpSp>
          <p:nvGrpSpPr>
            <p:cNvPr id="43" name="Agrupar 42">
              <a:extLst>
                <a:ext uri="{FF2B5EF4-FFF2-40B4-BE49-F238E27FC236}">
                  <a16:creationId xmlns:a16="http://schemas.microsoft.com/office/drawing/2014/main" id="{E2547936-6825-A4D4-E6C1-74BB37FA0FF0}"/>
                </a:ext>
              </a:extLst>
            </p:cNvPr>
            <p:cNvGrpSpPr/>
            <p:nvPr/>
          </p:nvGrpSpPr>
          <p:grpSpPr>
            <a:xfrm>
              <a:off x="5974643" y="3282013"/>
              <a:ext cx="808992" cy="808992"/>
              <a:chOff x="5974643" y="3282013"/>
              <a:chExt cx="808992" cy="808992"/>
            </a:xfrm>
          </p:grpSpPr>
          <p:sp>
            <p:nvSpPr>
              <p:cNvPr id="29" name="Oval 11">
                <a:extLst>
                  <a:ext uri="{FF2B5EF4-FFF2-40B4-BE49-F238E27FC236}">
                    <a16:creationId xmlns:a16="http://schemas.microsoft.com/office/drawing/2014/main" id="{1D1B3D4B-A113-007D-C7FA-F3066D0C3A64}"/>
                  </a:ext>
                </a:extLst>
              </p:cNvPr>
              <p:cNvSpPr/>
              <p:nvPr/>
            </p:nvSpPr>
            <p:spPr>
              <a:xfrm>
                <a:off x="5974643" y="3282013"/>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123" name="Forma Livre: Forma 122">
                <a:extLst>
                  <a:ext uri="{FF2B5EF4-FFF2-40B4-BE49-F238E27FC236}">
                    <a16:creationId xmlns:a16="http://schemas.microsoft.com/office/drawing/2014/main" id="{CC9945EF-98C8-3344-0E8F-95C8A24AE77E}"/>
                  </a:ext>
                </a:extLst>
              </p:cNvPr>
              <p:cNvSpPr/>
              <p:nvPr/>
            </p:nvSpPr>
            <p:spPr>
              <a:xfrm>
                <a:off x="6296615" y="3550545"/>
                <a:ext cx="240705" cy="240725"/>
              </a:xfrm>
              <a:custGeom>
                <a:avLst/>
                <a:gdLst>
                  <a:gd name="connsiteX0" fmla="*/ 16129 w 240705"/>
                  <a:gd name="connsiteY0" fmla="*/ 0 h 240725"/>
                  <a:gd name="connsiteX1" fmla="*/ 5836 w 240705"/>
                  <a:gd name="connsiteY1" fmla="*/ 1331 h 240725"/>
                  <a:gd name="connsiteX2" fmla="*/ 246 w 240705"/>
                  <a:gd name="connsiteY2" fmla="*/ 10825 h 240725"/>
                  <a:gd name="connsiteX3" fmla="*/ 9740 w 240705"/>
                  <a:gd name="connsiteY3" fmla="*/ 16415 h 240725"/>
                  <a:gd name="connsiteX4" fmla="*/ 16129 w 240705"/>
                  <a:gd name="connsiteY4" fmla="*/ 15617 h 240725"/>
                  <a:gd name="connsiteX5" fmla="*/ 199535 w 240705"/>
                  <a:gd name="connsiteY5" fmla="*/ 15617 h 240725"/>
                  <a:gd name="connsiteX6" fmla="*/ 225089 w 240705"/>
                  <a:gd name="connsiteY6" fmla="*/ 41171 h 240725"/>
                  <a:gd name="connsiteX7" fmla="*/ 225089 w 240705"/>
                  <a:gd name="connsiteY7" fmla="*/ 224576 h 240725"/>
                  <a:gd name="connsiteX8" fmla="*/ 224290 w 240705"/>
                  <a:gd name="connsiteY8" fmla="*/ 230965 h 240725"/>
                  <a:gd name="connsiteX9" fmla="*/ 229880 w 240705"/>
                  <a:gd name="connsiteY9" fmla="*/ 240459 h 240725"/>
                  <a:gd name="connsiteX10" fmla="*/ 231832 w 240705"/>
                  <a:gd name="connsiteY10" fmla="*/ 240725 h 240725"/>
                  <a:gd name="connsiteX11" fmla="*/ 239375 w 240705"/>
                  <a:gd name="connsiteY11" fmla="*/ 234869 h 240725"/>
                  <a:gd name="connsiteX12" fmla="*/ 240705 w 240705"/>
                  <a:gd name="connsiteY12" fmla="*/ 224576 h 240725"/>
                  <a:gd name="connsiteX13" fmla="*/ 240705 w 240705"/>
                  <a:gd name="connsiteY13" fmla="*/ 41171 h 240725"/>
                  <a:gd name="connsiteX14" fmla="*/ 199535 w 240705"/>
                  <a:gd name="connsiteY14" fmla="*/ 0 h 24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705" h="240725">
                    <a:moveTo>
                      <a:pt x="16129" y="0"/>
                    </a:moveTo>
                    <a:cubicBezTo>
                      <a:pt x="12669" y="0"/>
                      <a:pt x="9208" y="444"/>
                      <a:pt x="5836" y="1331"/>
                    </a:cubicBezTo>
                    <a:cubicBezTo>
                      <a:pt x="1666" y="2396"/>
                      <a:pt x="-818" y="6655"/>
                      <a:pt x="246" y="10825"/>
                    </a:cubicBezTo>
                    <a:cubicBezTo>
                      <a:pt x="1311" y="14995"/>
                      <a:pt x="5570" y="17480"/>
                      <a:pt x="9740" y="16415"/>
                    </a:cubicBezTo>
                    <a:cubicBezTo>
                      <a:pt x="11781" y="15883"/>
                      <a:pt x="13999" y="15617"/>
                      <a:pt x="16129" y="15617"/>
                    </a:cubicBezTo>
                    <a:lnTo>
                      <a:pt x="199535" y="15617"/>
                    </a:lnTo>
                    <a:cubicBezTo>
                      <a:pt x="213643" y="15617"/>
                      <a:pt x="225089" y="27063"/>
                      <a:pt x="225089" y="41171"/>
                    </a:cubicBezTo>
                    <a:lnTo>
                      <a:pt x="225089" y="224576"/>
                    </a:lnTo>
                    <a:cubicBezTo>
                      <a:pt x="225089" y="226706"/>
                      <a:pt x="224823" y="228924"/>
                      <a:pt x="224290" y="230965"/>
                    </a:cubicBezTo>
                    <a:cubicBezTo>
                      <a:pt x="223226" y="235135"/>
                      <a:pt x="225710" y="239394"/>
                      <a:pt x="229880" y="240459"/>
                    </a:cubicBezTo>
                    <a:cubicBezTo>
                      <a:pt x="230502" y="240637"/>
                      <a:pt x="231211" y="240725"/>
                      <a:pt x="231832" y="240725"/>
                    </a:cubicBezTo>
                    <a:cubicBezTo>
                      <a:pt x="235293" y="240725"/>
                      <a:pt x="238487" y="238418"/>
                      <a:pt x="239375" y="234869"/>
                    </a:cubicBezTo>
                    <a:cubicBezTo>
                      <a:pt x="240262" y="231497"/>
                      <a:pt x="240705" y="228037"/>
                      <a:pt x="240705" y="224576"/>
                    </a:cubicBezTo>
                    <a:lnTo>
                      <a:pt x="240705" y="41171"/>
                    </a:lnTo>
                    <a:cubicBezTo>
                      <a:pt x="240705" y="18456"/>
                      <a:pt x="222250" y="0"/>
                      <a:pt x="199535" y="0"/>
                    </a:cubicBezTo>
                  </a:path>
                </a:pathLst>
              </a:custGeom>
              <a:solidFill>
                <a:srgbClr val="000532"/>
              </a:solidFill>
              <a:ln w="8731" cap="flat">
                <a:noFill/>
                <a:prstDash val="solid"/>
                <a:miter/>
              </a:ln>
            </p:spPr>
            <p:txBody>
              <a:bodyPr rtlCol="0" anchor="ctr"/>
              <a:lstStyle/>
              <a:p>
                <a:endParaRPr lang="pt-BR"/>
              </a:p>
            </p:txBody>
          </p:sp>
          <p:sp>
            <p:nvSpPr>
              <p:cNvPr id="124" name="Forma Livre: Forma 123">
                <a:extLst>
                  <a:ext uri="{FF2B5EF4-FFF2-40B4-BE49-F238E27FC236}">
                    <a16:creationId xmlns:a16="http://schemas.microsoft.com/office/drawing/2014/main" id="{A0E8E689-1844-0ECD-9BEF-F0B0B0E877A5}"/>
                  </a:ext>
                </a:extLst>
              </p:cNvPr>
              <p:cNvSpPr/>
              <p:nvPr/>
            </p:nvSpPr>
            <p:spPr>
              <a:xfrm>
                <a:off x="6272904" y="3575587"/>
                <a:ext cx="239463" cy="241237"/>
              </a:xfrm>
              <a:custGeom>
                <a:avLst/>
                <a:gdLst>
                  <a:gd name="connsiteX0" fmla="*/ 239040 w 239463"/>
                  <a:gd name="connsiteY0" fmla="*/ 229792 h 241237"/>
                  <a:gd name="connsiteX1" fmla="*/ 229545 w 239463"/>
                  <a:gd name="connsiteY1" fmla="*/ 224202 h 241237"/>
                  <a:gd name="connsiteX2" fmla="*/ 223157 w 239463"/>
                  <a:gd name="connsiteY2" fmla="*/ 225000 h 241237"/>
                  <a:gd name="connsiteX3" fmla="*/ 39840 w 239463"/>
                  <a:gd name="connsiteY3" fmla="*/ 225000 h 241237"/>
                  <a:gd name="connsiteX4" fmla="*/ 14286 w 239463"/>
                  <a:gd name="connsiteY4" fmla="*/ 199446 h 241237"/>
                  <a:gd name="connsiteX5" fmla="*/ 14286 w 239463"/>
                  <a:gd name="connsiteY5" fmla="*/ 16129 h 241237"/>
                  <a:gd name="connsiteX6" fmla="*/ 15084 w 239463"/>
                  <a:gd name="connsiteY6" fmla="*/ 9740 h 241237"/>
                  <a:gd name="connsiteX7" fmla="*/ 9494 w 239463"/>
                  <a:gd name="connsiteY7" fmla="*/ 246 h 241237"/>
                  <a:gd name="connsiteX8" fmla="*/ 0 w 239463"/>
                  <a:gd name="connsiteY8" fmla="*/ 5836 h 241237"/>
                  <a:gd name="connsiteX9" fmla="*/ 0 w 239463"/>
                  <a:gd name="connsiteY9" fmla="*/ 209650 h 241237"/>
                  <a:gd name="connsiteX10" fmla="*/ 39840 w 239463"/>
                  <a:gd name="connsiteY10" fmla="*/ 240705 h 241237"/>
                  <a:gd name="connsiteX11" fmla="*/ 57054 w 239463"/>
                  <a:gd name="connsiteY11" fmla="*/ 240705 h 241237"/>
                  <a:gd name="connsiteX12" fmla="*/ 57054 w 239463"/>
                  <a:gd name="connsiteY12" fmla="*/ 241238 h 241237"/>
                  <a:gd name="connsiteX13" fmla="*/ 72670 w 239463"/>
                  <a:gd name="connsiteY13" fmla="*/ 241238 h 241237"/>
                  <a:gd name="connsiteX14" fmla="*/ 72670 w 239463"/>
                  <a:gd name="connsiteY14" fmla="*/ 240705 h 241237"/>
                  <a:gd name="connsiteX15" fmla="*/ 90416 w 239463"/>
                  <a:gd name="connsiteY15" fmla="*/ 240705 h 241237"/>
                  <a:gd name="connsiteX16" fmla="*/ 90416 w 239463"/>
                  <a:gd name="connsiteY16" fmla="*/ 241238 h 241237"/>
                  <a:gd name="connsiteX17" fmla="*/ 106033 w 239463"/>
                  <a:gd name="connsiteY17" fmla="*/ 241238 h 241237"/>
                  <a:gd name="connsiteX18" fmla="*/ 106033 w 239463"/>
                  <a:gd name="connsiteY18" fmla="*/ 240705 h 241237"/>
                  <a:gd name="connsiteX19" fmla="*/ 123779 w 239463"/>
                  <a:gd name="connsiteY19" fmla="*/ 240705 h 241237"/>
                  <a:gd name="connsiteX20" fmla="*/ 123779 w 239463"/>
                  <a:gd name="connsiteY20" fmla="*/ 241238 h 241237"/>
                  <a:gd name="connsiteX21" fmla="*/ 139395 w 239463"/>
                  <a:gd name="connsiteY21" fmla="*/ 241238 h 241237"/>
                  <a:gd name="connsiteX22" fmla="*/ 139395 w 239463"/>
                  <a:gd name="connsiteY22" fmla="*/ 240705 h 241237"/>
                  <a:gd name="connsiteX23" fmla="*/ 157141 w 239463"/>
                  <a:gd name="connsiteY23" fmla="*/ 240705 h 241237"/>
                  <a:gd name="connsiteX24" fmla="*/ 157141 w 239463"/>
                  <a:gd name="connsiteY24" fmla="*/ 241238 h 241237"/>
                  <a:gd name="connsiteX25" fmla="*/ 172758 w 239463"/>
                  <a:gd name="connsiteY25" fmla="*/ 241238 h 241237"/>
                  <a:gd name="connsiteX26" fmla="*/ 172758 w 239463"/>
                  <a:gd name="connsiteY26" fmla="*/ 240705 h 241237"/>
                  <a:gd name="connsiteX27" fmla="*/ 190504 w 239463"/>
                  <a:gd name="connsiteY27" fmla="*/ 240705 h 241237"/>
                  <a:gd name="connsiteX28" fmla="*/ 190504 w 239463"/>
                  <a:gd name="connsiteY28" fmla="*/ 241238 h 241237"/>
                  <a:gd name="connsiteX29" fmla="*/ 206121 w 239463"/>
                  <a:gd name="connsiteY29" fmla="*/ 241238 h 241237"/>
                  <a:gd name="connsiteX30" fmla="*/ 206121 w 239463"/>
                  <a:gd name="connsiteY30" fmla="*/ 240705 h 241237"/>
                  <a:gd name="connsiteX31" fmla="*/ 223334 w 239463"/>
                  <a:gd name="connsiteY31" fmla="*/ 240705 h 241237"/>
                  <a:gd name="connsiteX32" fmla="*/ 233627 w 239463"/>
                  <a:gd name="connsiteY32" fmla="*/ 239375 h 241237"/>
                  <a:gd name="connsiteX33" fmla="*/ 239217 w 239463"/>
                  <a:gd name="connsiteY33" fmla="*/ 229880 h 2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9463" h="241237">
                    <a:moveTo>
                      <a:pt x="239040" y="229792"/>
                    </a:moveTo>
                    <a:cubicBezTo>
                      <a:pt x="237975" y="225621"/>
                      <a:pt x="233716" y="223137"/>
                      <a:pt x="229545" y="224202"/>
                    </a:cubicBezTo>
                    <a:cubicBezTo>
                      <a:pt x="227505" y="224734"/>
                      <a:pt x="225286" y="225000"/>
                      <a:pt x="223157" y="225000"/>
                    </a:cubicBezTo>
                    <a:lnTo>
                      <a:pt x="39840" y="225000"/>
                    </a:lnTo>
                    <a:cubicBezTo>
                      <a:pt x="25732" y="225000"/>
                      <a:pt x="14286" y="213554"/>
                      <a:pt x="14286" y="199446"/>
                    </a:cubicBezTo>
                    <a:lnTo>
                      <a:pt x="14286" y="16129"/>
                    </a:lnTo>
                    <a:cubicBezTo>
                      <a:pt x="14286" y="13999"/>
                      <a:pt x="14552" y="11781"/>
                      <a:pt x="15084" y="9740"/>
                    </a:cubicBezTo>
                    <a:cubicBezTo>
                      <a:pt x="16149" y="5570"/>
                      <a:pt x="13664" y="1311"/>
                      <a:pt x="9494" y="246"/>
                    </a:cubicBezTo>
                    <a:cubicBezTo>
                      <a:pt x="5324" y="-818"/>
                      <a:pt x="1065" y="1666"/>
                      <a:pt x="0" y="5836"/>
                    </a:cubicBezTo>
                    <a:lnTo>
                      <a:pt x="0" y="209650"/>
                    </a:lnTo>
                    <a:cubicBezTo>
                      <a:pt x="4525" y="227485"/>
                      <a:pt x="20674" y="240705"/>
                      <a:pt x="39840" y="240705"/>
                    </a:cubicBezTo>
                    <a:lnTo>
                      <a:pt x="57054" y="240705"/>
                    </a:lnTo>
                    <a:lnTo>
                      <a:pt x="57054" y="241238"/>
                    </a:lnTo>
                    <a:lnTo>
                      <a:pt x="72670" y="241238"/>
                    </a:lnTo>
                    <a:lnTo>
                      <a:pt x="72670" y="240705"/>
                    </a:lnTo>
                    <a:lnTo>
                      <a:pt x="90416" y="240705"/>
                    </a:lnTo>
                    <a:lnTo>
                      <a:pt x="90416" y="241238"/>
                    </a:lnTo>
                    <a:lnTo>
                      <a:pt x="106033" y="241238"/>
                    </a:lnTo>
                    <a:lnTo>
                      <a:pt x="106033" y="240705"/>
                    </a:lnTo>
                    <a:lnTo>
                      <a:pt x="123779" y="240705"/>
                    </a:lnTo>
                    <a:lnTo>
                      <a:pt x="123779" y="241238"/>
                    </a:lnTo>
                    <a:lnTo>
                      <a:pt x="139395" y="241238"/>
                    </a:lnTo>
                    <a:lnTo>
                      <a:pt x="139395" y="240705"/>
                    </a:lnTo>
                    <a:lnTo>
                      <a:pt x="157141" y="240705"/>
                    </a:lnTo>
                    <a:lnTo>
                      <a:pt x="157141" y="241238"/>
                    </a:lnTo>
                    <a:lnTo>
                      <a:pt x="172758" y="241238"/>
                    </a:lnTo>
                    <a:lnTo>
                      <a:pt x="172758" y="240705"/>
                    </a:lnTo>
                    <a:lnTo>
                      <a:pt x="190504" y="240705"/>
                    </a:lnTo>
                    <a:lnTo>
                      <a:pt x="190504" y="241238"/>
                    </a:lnTo>
                    <a:lnTo>
                      <a:pt x="206121" y="241238"/>
                    </a:lnTo>
                    <a:lnTo>
                      <a:pt x="206121" y="240705"/>
                    </a:lnTo>
                    <a:lnTo>
                      <a:pt x="223334" y="240705"/>
                    </a:lnTo>
                    <a:cubicBezTo>
                      <a:pt x="226795" y="240705"/>
                      <a:pt x="230255" y="240262"/>
                      <a:pt x="233627" y="239375"/>
                    </a:cubicBezTo>
                    <a:cubicBezTo>
                      <a:pt x="237797" y="238310"/>
                      <a:pt x="240282" y="234051"/>
                      <a:pt x="239217" y="229880"/>
                    </a:cubicBezTo>
                    <a:close/>
                  </a:path>
                </a:pathLst>
              </a:custGeom>
              <a:solidFill>
                <a:srgbClr val="000532"/>
              </a:solidFill>
              <a:ln w="8731" cap="flat">
                <a:noFill/>
                <a:prstDash val="solid"/>
                <a:miter/>
              </a:ln>
            </p:spPr>
            <p:txBody>
              <a:bodyPr rtlCol="0" anchor="ctr"/>
              <a:lstStyle/>
              <a:p>
                <a:endParaRPr lang="pt-BR"/>
              </a:p>
            </p:txBody>
          </p:sp>
          <p:grpSp>
            <p:nvGrpSpPr>
              <p:cNvPr id="125" name="Graphic 35">
                <a:extLst>
                  <a:ext uri="{FF2B5EF4-FFF2-40B4-BE49-F238E27FC236}">
                    <a16:creationId xmlns:a16="http://schemas.microsoft.com/office/drawing/2014/main" id="{EBCFE679-0991-BDE9-6025-982778828B70}"/>
                  </a:ext>
                </a:extLst>
              </p:cNvPr>
              <p:cNvGrpSpPr/>
              <p:nvPr/>
            </p:nvGrpSpPr>
            <p:grpSpPr>
              <a:xfrm>
                <a:off x="6229870" y="3508842"/>
                <a:ext cx="349065" cy="349065"/>
                <a:chOff x="5579469" y="5782656"/>
                <a:chExt cx="349065" cy="349065"/>
              </a:xfrm>
              <a:solidFill>
                <a:srgbClr val="000532"/>
              </a:solidFill>
            </p:grpSpPr>
            <p:grpSp>
              <p:nvGrpSpPr>
                <p:cNvPr id="126" name="Graphic 35">
                  <a:extLst>
                    <a:ext uri="{FF2B5EF4-FFF2-40B4-BE49-F238E27FC236}">
                      <a16:creationId xmlns:a16="http://schemas.microsoft.com/office/drawing/2014/main" id="{D1983FAD-6701-7F26-E9C2-D52470478325}"/>
                    </a:ext>
                  </a:extLst>
                </p:cNvPr>
                <p:cNvGrpSpPr/>
                <p:nvPr/>
              </p:nvGrpSpPr>
              <p:grpSpPr>
                <a:xfrm>
                  <a:off x="5900850" y="5916018"/>
                  <a:ext cx="27683" cy="82341"/>
                  <a:chOff x="5900850" y="5916018"/>
                  <a:chExt cx="27683" cy="82341"/>
                </a:xfrm>
                <a:solidFill>
                  <a:srgbClr val="000532"/>
                </a:solidFill>
              </p:grpSpPr>
              <p:sp>
                <p:nvSpPr>
                  <p:cNvPr id="127" name="Forma Livre: Forma 126">
                    <a:extLst>
                      <a:ext uri="{FF2B5EF4-FFF2-40B4-BE49-F238E27FC236}">
                        <a16:creationId xmlns:a16="http://schemas.microsoft.com/office/drawing/2014/main" id="{25DBAFD5-121B-F31D-0670-378D81B4096A}"/>
                      </a:ext>
                    </a:extLst>
                  </p:cNvPr>
                  <p:cNvSpPr/>
                  <p:nvPr/>
                </p:nvSpPr>
                <p:spPr>
                  <a:xfrm>
                    <a:off x="5900850" y="5916018"/>
                    <a:ext cx="27683" cy="15616"/>
                  </a:xfrm>
                  <a:custGeom>
                    <a:avLst/>
                    <a:gdLst>
                      <a:gd name="connsiteX0" fmla="*/ 0 w 27683"/>
                      <a:gd name="connsiteY0" fmla="*/ 0 h 15616"/>
                      <a:gd name="connsiteX1" fmla="*/ 0 w 27683"/>
                      <a:gd name="connsiteY1" fmla="*/ 15617 h 15616"/>
                      <a:gd name="connsiteX2" fmla="*/ 19876 w 27683"/>
                      <a:gd name="connsiteY2" fmla="*/ 15617 h 15616"/>
                      <a:gd name="connsiteX3" fmla="*/ 27684 w 27683"/>
                      <a:gd name="connsiteY3" fmla="*/ 7808 h 15616"/>
                      <a:gd name="connsiteX4" fmla="*/ 19876 w 27683"/>
                      <a:gd name="connsiteY4" fmla="*/ 0 h 15616"/>
                      <a:gd name="connsiteX5" fmla="*/ 0 w 27683"/>
                      <a:gd name="connsiteY5" fmla="*/ 0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3" h="15616">
                        <a:moveTo>
                          <a:pt x="0" y="0"/>
                        </a:moveTo>
                        <a:lnTo>
                          <a:pt x="0" y="15617"/>
                        </a:lnTo>
                        <a:lnTo>
                          <a:pt x="19876" y="15617"/>
                        </a:lnTo>
                        <a:cubicBezTo>
                          <a:pt x="24223" y="15617"/>
                          <a:pt x="27684" y="12156"/>
                          <a:pt x="27684" y="7808"/>
                        </a:cubicBezTo>
                        <a:cubicBezTo>
                          <a:pt x="27684" y="3460"/>
                          <a:pt x="24223" y="0"/>
                          <a:pt x="19876" y="0"/>
                        </a:cubicBezTo>
                        <a:lnTo>
                          <a:pt x="0" y="0"/>
                        </a:lnTo>
                        <a:close/>
                      </a:path>
                    </a:pathLst>
                  </a:custGeom>
                  <a:solidFill>
                    <a:srgbClr val="000532"/>
                  </a:solidFill>
                  <a:ln w="8731" cap="flat">
                    <a:noFill/>
                    <a:prstDash val="solid"/>
                    <a:miter/>
                  </a:ln>
                </p:spPr>
                <p:txBody>
                  <a:bodyPr rtlCol="0" anchor="ctr"/>
                  <a:lstStyle/>
                  <a:p>
                    <a:endParaRPr lang="pt-BR"/>
                  </a:p>
                </p:txBody>
              </p:sp>
              <p:sp>
                <p:nvSpPr>
                  <p:cNvPr id="128" name="Forma Livre: Forma 127">
                    <a:extLst>
                      <a:ext uri="{FF2B5EF4-FFF2-40B4-BE49-F238E27FC236}">
                        <a16:creationId xmlns:a16="http://schemas.microsoft.com/office/drawing/2014/main" id="{FEF7D043-0552-4F82-B176-2C56DEC92DD0}"/>
                      </a:ext>
                    </a:extLst>
                  </p:cNvPr>
                  <p:cNvSpPr/>
                  <p:nvPr/>
                </p:nvSpPr>
                <p:spPr>
                  <a:xfrm>
                    <a:off x="5900850" y="5982743"/>
                    <a:ext cx="27683" cy="15616"/>
                  </a:xfrm>
                  <a:custGeom>
                    <a:avLst/>
                    <a:gdLst>
                      <a:gd name="connsiteX0" fmla="*/ 27684 w 27683"/>
                      <a:gd name="connsiteY0" fmla="*/ 7808 h 15616"/>
                      <a:gd name="connsiteX1" fmla="*/ 19876 w 27683"/>
                      <a:gd name="connsiteY1" fmla="*/ 0 h 15616"/>
                      <a:gd name="connsiteX2" fmla="*/ 0 w 27683"/>
                      <a:gd name="connsiteY2" fmla="*/ 0 h 15616"/>
                      <a:gd name="connsiteX3" fmla="*/ 0 w 27683"/>
                      <a:gd name="connsiteY3" fmla="*/ 15617 h 15616"/>
                      <a:gd name="connsiteX4" fmla="*/ 19876 w 27683"/>
                      <a:gd name="connsiteY4" fmla="*/ 15617 h 15616"/>
                      <a:gd name="connsiteX5" fmla="*/ 27684 w 27683"/>
                      <a:gd name="connsiteY5" fmla="*/ 7808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3" h="15616">
                        <a:moveTo>
                          <a:pt x="27684" y="7808"/>
                        </a:moveTo>
                        <a:cubicBezTo>
                          <a:pt x="27684" y="3460"/>
                          <a:pt x="24223" y="0"/>
                          <a:pt x="19876" y="0"/>
                        </a:cubicBezTo>
                        <a:lnTo>
                          <a:pt x="0" y="0"/>
                        </a:lnTo>
                        <a:lnTo>
                          <a:pt x="0" y="15617"/>
                        </a:lnTo>
                        <a:lnTo>
                          <a:pt x="19876" y="15617"/>
                        </a:lnTo>
                        <a:cubicBezTo>
                          <a:pt x="24223" y="15617"/>
                          <a:pt x="27684" y="12156"/>
                          <a:pt x="27684" y="7808"/>
                        </a:cubicBezTo>
                        <a:close/>
                      </a:path>
                    </a:pathLst>
                  </a:custGeom>
                  <a:solidFill>
                    <a:srgbClr val="000532"/>
                  </a:solidFill>
                  <a:ln w="8731" cap="flat">
                    <a:noFill/>
                    <a:prstDash val="solid"/>
                    <a:miter/>
                  </a:ln>
                </p:spPr>
                <p:txBody>
                  <a:bodyPr rtlCol="0" anchor="ctr"/>
                  <a:lstStyle/>
                  <a:p>
                    <a:endParaRPr lang="pt-BR"/>
                  </a:p>
                </p:txBody>
              </p:sp>
            </p:grpSp>
            <p:grpSp>
              <p:nvGrpSpPr>
                <p:cNvPr id="129" name="Graphic 35">
                  <a:extLst>
                    <a:ext uri="{FF2B5EF4-FFF2-40B4-BE49-F238E27FC236}">
                      <a16:creationId xmlns:a16="http://schemas.microsoft.com/office/drawing/2014/main" id="{DA2B8A0C-1984-2B9C-80BE-06C8603550E1}"/>
                    </a:ext>
                  </a:extLst>
                </p:cNvPr>
                <p:cNvGrpSpPr/>
                <p:nvPr/>
              </p:nvGrpSpPr>
              <p:grpSpPr>
                <a:xfrm>
                  <a:off x="5712831" y="6104392"/>
                  <a:ext cx="82341" cy="27328"/>
                  <a:chOff x="5712831" y="6104392"/>
                  <a:chExt cx="82341" cy="27328"/>
                </a:xfrm>
                <a:solidFill>
                  <a:srgbClr val="000532"/>
                </a:solidFill>
              </p:grpSpPr>
              <p:sp>
                <p:nvSpPr>
                  <p:cNvPr id="130" name="Forma Livre: Forma 129">
                    <a:extLst>
                      <a:ext uri="{FF2B5EF4-FFF2-40B4-BE49-F238E27FC236}">
                        <a16:creationId xmlns:a16="http://schemas.microsoft.com/office/drawing/2014/main" id="{8B0D5F75-1C75-C37C-66B5-61959A8B0216}"/>
                      </a:ext>
                    </a:extLst>
                  </p:cNvPr>
                  <p:cNvSpPr/>
                  <p:nvPr/>
                </p:nvSpPr>
                <p:spPr>
                  <a:xfrm>
                    <a:off x="5712831" y="6104392"/>
                    <a:ext cx="15616" cy="27328"/>
                  </a:xfrm>
                  <a:custGeom>
                    <a:avLst/>
                    <a:gdLst>
                      <a:gd name="connsiteX0" fmla="*/ 0 w 15616"/>
                      <a:gd name="connsiteY0" fmla="*/ 0 h 27328"/>
                      <a:gd name="connsiteX1" fmla="*/ 0 w 15616"/>
                      <a:gd name="connsiteY1" fmla="*/ 19521 h 27328"/>
                      <a:gd name="connsiteX2" fmla="*/ 7808 w 15616"/>
                      <a:gd name="connsiteY2" fmla="*/ 27329 h 27328"/>
                      <a:gd name="connsiteX3" fmla="*/ 15617 w 15616"/>
                      <a:gd name="connsiteY3" fmla="*/ 19521 h 27328"/>
                      <a:gd name="connsiteX4" fmla="*/ 15617 w 15616"/>
                      <a:gd name="connsiteY4" fmla="*/ 0 h 27328"/>
                      <a:gd name="connsiteX5" fmla="*/ 0 w 15616"/>
                      <a:gd name="connsiteY5" fmla="*/ 0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0" y="0"/>
                        </a:moveTo>
                        <a:lnTo>
                          <a:pt x="0" y="19521"/>
                        </a:lnTo>
                        <a:cubicBezTo>
                          <a:pt x="0" y="23868"/>
                          <a:pt x="3460" y="27329"/>
                          <a:pt x="7808" y="27329"/>
                        </a:cubicBezTo>
                        <a:cubicBezTo>
                          <a:pt x="12156" y="27329"/>
                          <a:pt x="15617" y="23868"/>
                          <a:pt x="15617" y="19521"/>
                        </a:cubicBezTo>
                        <a:lnTo>
                          <a:pt x="15617" y="0"/>
                        </a:lnTo>
                        <a:lnTo>
                          <a:pt x="0" y="0"/>
                        </a:lnTo>
                        <a:close/>
                      </a:path>
                    </a:pathLst>
                  </a:custGeom>
                  <a:solidFill>
                    <a:srgbClr val="000532"/>
                  </a:solidFill>
                  <a:ln w="8731" cap="flat">
                    <a:noFill/>
                    <a:prstDash val="solid"/>
                    <a:miter/>
                  </a:ln>
                </p:spPr>
                <p:txBody>
                  <a:bodyPr rtlCol="0" anchor="ctr"/>
                  <a:lstStyle/>
                  <a:p>
                    <a:endParaRPr lang="pt-BR"/>
                  </a:p>
                </p:txBody>
              </p:sp>
              <p:sp>
                <p:nvSpPr>
                  <p:cNvPr id="131" name="Forma Livre: Forma 130">
                    <a:extLst>
                      <a:ext uri="{FF2B5EF4-FFF2-40B4-BE49-F238E27FC236}">
                        <a16:creationId xmlns:a16="http://schemas.microsoft.com/office/drawing/2014/main" id="{A79C08F9-D791-4645-B81A-A0D26332453B}"/>
                      </a:ext>
                    </a:extLst>
                  </p:cNvPr>
                  <p:cNvSpPr/>
                  <p:nvPr/>
                </p:nvSpPr>
                <p:spPr>
                  <a:xfrm>
                    <a:off x="5779556" y="6104392"/>
                    <a:ext cx="15616" cy="27328"/>
                  </a:xfrm>
                  <a:custGeom>
                    <a:avLst/>
                    <a:gdLst>
                      <a:gd name="connsiteX0" fmla="*/ 0 w 15616"/>
                      <a:gd name="connsiteY0" fmla="*/ 0 h 27328"/>
                      <a:gd name="connsiteX1" fmla="*/ 0 w 15616"/>
                      <a:gd name="connsiteY1" fmla="*/ 19521 h 27328"/>
                      <a:gd name="connsiteX2" fmla="*/ 7808 w 15616"/>
                      <a:gd name="connsiteY2" fmla="*/ 27329 h 27328"/>
                      <a:gd name="connsiteX3" fmla="*/ 15617 w 15616"/>
                      <a:gd name="connsiteY3" fmla="*/ 19521 h 27328"/>
                      <a:gd name="connsiteX4" fmla="*/ 15617 w 15616"/>
                      <a:gd name="connsiteY4" fmla="*/ 0 h 27328"/>
                      <a:gd name="connsiteX5" fmla="*/ 0 w 15616"/>
                      <a:gd name="connsiteY5" fmla="*/ 0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0" y="0"/>
                        </a:moveTo>
                        <a:lnTo>
                          <a:pt x="0" y="19521"/>
                        </a:lnTo>
                        <a:cubicBezTo>
                          <a:pt x="0" y="23868"/>
                          <a:pt x="3460" y="27329"/>
                          <a:pt x="7808" y="27329"/>
                        </a:cubicBezTo>
                        <a:cubicBezTo>
                          <a:pt x="12156" y="27329"/>
                          <a:pt x="15617" y="23868"/>
                          <a:pt x="15617" y="19521"/>
                        </a:cubicBezTo>
                        <a:lnTo>
                          <a:pt x="15617" y="0"/>
                        </a:lnTo>
                        <a:lnTo>
                          <a:pt x="0" y="0"/>
                        </a:lnTo>
                        <a:close/>
                      </a:path>
                    </a:pathLst>
                  </a:custGeom>
                  <a:solidFill>
                    <a:srgbClr val="000532"/>
                  </a:solidFill>
                  <a:ln w="8731" cap="flat">
                    <a:noFill/>
                    <a:prstDash val="solid"/>
                    <a:miter/>
                  </a:ln>
                </p:spPr>
                <p:txBody>
                  <a:bodyPr rtlCol="0" anchor="ctr"/>
                  <a:lstStyle/>
                  <a:p>
                    <a:endParaRPr lang="pt-BR"/>
                  </a:p>
                </p:txBody>
              </p:sp>
            </p:grpSp>
            <p:sp>
              <p:nvSpPr>
                <p:cNvPr id="132" name="Forma Livre: Forma 131">
                  <a:extLst>
                    <a:ext uri="{FF2B5EF4-FFF2-40B4-BE49-F238E27FC236}">
                      <a16:creationId xmlns:a16="http://schemas.microsoft.com/office/drawing/2014/main" id="{15D7B54B-57AF-40D5-02E4-4B6E38721182}"/>
                    </a:ext>
                  </a:extLst>
                </p:cNvPr>
                <p:cNvSpPr/>
                <p:nvPr/>
              </p:nvSpPr>
              <p:spPr>
                <a:xfrm>
                  <a:off x="5779556" y="5782656"/>
                  <a:ext cx="15616" cy="27328"/>
                </a:xfrm>
                <a:custGeom>
                  <a:avLst/>
                  <a:gdLst>
                    <a:gd name="connsiteX0" fmla="*/ 15617 w 15616"/>
                    <a:gd name="connsiteY0" fmla="*/ 27329 h 27328"/>
                    <a:gd name="connsiteX1" fmla="*/ 15617 w 15616"/>
                    <a:gd name="connsiteY1" fmla="*/ 7808 h 27328"/>
                    <a:gd name="connsiteX2" fmla="*/ 7808 w 15616"/>
                    <a:gd name="connsiteY2" fmla="*/ 0 h 27328"/>
                    <a:gd name="connsiteX3" fmla="*/ 0 w 15616"/>
                    <a:gd name="connsiteY3" fmla="*/ 7808 h 27328"/>
                    <a:gd name="connsiteX4" fmla="*/ 0 w 15616"/>
                    <a:gd name="connsiteY4" fmla="*/ 27329 h 27328"/>
                    <a:gd name="connsiteX5" fmla="*/ 15617 w 15616"/>
                    <a:gd name="connsiteY5" fmla="*/ 27329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15617" y="27329"/>
                      </a:moveTo>
                      <a:lnTo>
                        <a:pt x="15617" y="7808"/>
                      </a:lnTo>
                      <a:cubicBezTo>
                        <a:pt x="15617" y="3460"/>
                        <a:pt x="12156" y="0"/>
                        <a:pt x="7808" y="0"/>
                      </a:cubicBezTo>
                      <a:cubicBezTo>
                        <a:pt x="3460" y="0"/>
                        <a:pt x="0" y="3460"/>
                        <a:pt x="0" y="7808"/>
                      </a:cubicBezTo>
                      <a:lnTo>
                        <a:pt x="0" y="27329"/>
                      </a:lnTo>
                      <a:lnTo>
                        <a:pt x="15617" y="27329"/>
                      </a:lnTo>
                      <a:close/>
                    </a:path>
                  </a:pathLst>
                </a:custGeom>
                <a:solidFill>
                  <a:srgbClr val="000532"/>
                </a:solidFill>
                <a:ln w="8731" cap="flat">
                  <a:noFill/>
                  <a:prstDash val="solid"/>
                  <a:miter/>
                </a:ln>
              </p:spPr>
              <p:txBody>
                <a:bodyPr rtlCol="0" anchor="ctr"/>
                <a:lstStyle/>
                <a:p>
                  <a:endParaRPr lang="pt-BR"/>
                </a:p>
              </p:txBody>
            </p:sp>
            <p:sp>
              <p:nvSpPr>
                <p:cNvPr id="133" name="Forma Livre: Forma 132">
                  <a:extLst>
                    <a:ext uri="{FF2B5EF4-FFF2-40B4-BE49-F238E27FC236}">
                      <a16:creationId xmlns:a16="http://schemas.microsoft.com/office/drawing/2014/main" id="{D9EA03A3-163B-83EA-AD06-76673E63B5D5}"/>
                    </a:ext>
                  </a:extLst>
                </p:cNvPr>
                <p:cNvSpPr/>
                <p:nvPr/>
              </p:nvSpPr>
              <p:spPr>
                <a:xfrm>
                  <a:off x="5712831" y="5782656"/>
                  <a:ext cx="15616" cy="27328"/>
                </a:xfrm>
                <a:custGeom>
                  <a:avLst/>
                  <a:gdLst>
                    <a:gd name="connsiteX0" fmla="*/ 15617 w 15616"/>
                    <a:gd name="connsiteY0" fmla="*/ 27329 h 27328"/>
                    <a:gd name="connsiteX1" fmla="*/ 15617 w 15616"/>
                    <a:gd name="connsiteY1" fmla="*/ 7808 h 27328"/>
                    <a:gd name="connsiteX2" fmla="*/ 7808 w 15616"/>
                    <a:gd name="connsiteY2" fmla="*/ 0 h 27328"/>
                    <a:gd name="connsiteX3" fmla="*/ 0 w 15616"/>
                    <a:gd name="connsiteY3" fmla="*/ 7808 h 27328"/>
                    <a:gd name="connsiteX4" fmla="*/ 0 w 15616"/>
                    <a:gd name="connsiteY4" fmla="*/ 27329 h 27328"/>
                    <a:gd name="connsiteX5" fmla="*/ 15617 w 15616"/>
                    <a:gd name="connsiteY5" fmla="*/ 27329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15617" y="27329"/>
                      </a:moveTo>
                      <a:lnTo>
                        <a:pt x="15617" y="7808"/>
                      </a:lnTo>
                      <a:cubicBezTo>
                        <a:pt x="15617" y="3460"/>
                        <a:pt x="12156" y="0"/>
                        <a:pt x="7808" y="0"/>
                      </a:cubicBezTo>
                      <a:cubicBezTo>
                        <a:pt x="3460" y="0"/>
                        <a:pt x="0" y="3460"/>
                        <a:pt x="0" y="7808"/>
                      </a:cubicBezTo>
                      <a:lnTo>
                        <a:pt x="0" y="27329"/>
                      </a:lnTo>
                      <a:lnTo>
                        <a:pt x="15617" y="27329"/>
                      </a:lnTo>
                      <a:close/>
                    </a:path>
                  </a:pathLst>
                </a:custGeom>
                <a:solidFill>
                  <a:srgbClr val="000532"/>
                </a:solidFill>
                <a:ln w="8731" cap="flat">
                  <a:noFill/>
                  <a:prstDash val="solid"/>
                  <a:miter/>
                </a:ln>
              </p:spPr>
              <p:txBody>
                <a:bodyPr rtlCol="0" anchor="ctr"/>
                <a:lstStyle/>
                <a:p>
                  <a:endParaRPr lang="pt-BR"/>
                </a:p>
              </p:txBody>
            </p:sp>
            <p:sp>
              <p:nvSpPr>
                <p:cNvPr id="134" name="Forma Livre: Forma 133">
                  <a:extLst>
                    <a:ext uri="{FF2B5EF4-FFF2-40B4-BE49-F238E27FC236}">
                      <a16:creationId xmlns:a16="http://schemas.microsoft.com/office/drawing/2014/main" id="{0D921EC4-E99E-92C6-6DEB-D5A97974069A}"/>
                    </a:ext>
                  </a:extLst>
                </p:cNvPr>
                <p:cNvSpPr/>
                <p:nvPr/>
              </p:nvSpPr>
              <p:spPr>
                <a:xfrm>
                  <a:off x="5579469" y="5982743"/>
                  <a:ext cx="29192" cy="15616"/>
                </a:xfrm>
                <a:custGeom>
                  <a:avLst/>
                  <a:gdLst>
                    <a:gd name="connsiteX0" fmla="*/ 0 w 29192"/>
                    <a:gd name="connsiteY0" fmla="*/ 7808 h 15616"/>
                    <a:gd name="connsiteX1" fmla="*/ 7808 w 29192"/>
                    <a:gd name="connsiteY1" fmla="*/ 15617 h 15616"/>
                    <a:gd name="connsiteX2" fmla="*/ 29192 w 29192"/>
                    <a:gd name="connsiteY2" fmla="*/ 15617 h 15616"/>
                    <a:gd name="connsiteX3" fmla="*/ 29192 w 29192"/>
                    <a:gd name="connsiteY3" fmla="*/ 0 h 15616"/>
                    <a:gd name="connsiteX4" fmla="*/ 7808 w 29192"/>
                    <a:gd name="connsiteY4" fmla="*/ 0 h 15616"/>
                    <a:gd name="connsiteX5" fmla="*/ 0 w 29192"/>
                    <a:gd name="connsiteY5" fmla="*/ 7808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2" h="15616">
                      <a:moveTo>
                        <a:pt x="0" y="7808"/>
                      </a:moveTo>
                      <a:cubicBezTo>
                        <a:pt x="0" y="12156"/>
                        <a:pt x="3460" y="15617"/>
                        <a:pt x="7808" y="15617"/>
                      </a:cubicBezTo>
                      <a:lnTo>
                        <a:pt x="29192" y="15617"/>
                      </a:lnTo>
                      <a:lnTo>
                        <a:pt x="29192" y="0"/>
                      </a:lnTo>
                      <a:lnTo>
                        <a:pt x="7808" y="0"/>
                      </a:lnTo>
                      <a:cubicBezTo>
                        <a:pt x="3460" y="0"/>
                        <a:pt x="0" y="3460"/>
                        <a:pt x="0" y="7808"/>
                      </a:cubicBezTo>
                      <a:close/>
                    </a:path>
                  </a:pathLst>
                </a:custGeom>
                <a:solidFill>
                  <a:srgbClr val="000532"/>
                </a:solidFill>
                <a:ln w="8731" cap="flat">
                  <a:noFill/>
                  <a:prstDash val="solid"/>
                  <a:miter/>
                </a:ln>
              </p:spPr>
              <p:txBody>
                <a:bodyPr rtlCol="0" anchor="ctr"/>
                <a:lstStyle/>
                <a:p>
                  <a:endParaRPr lang="pt-BR"/>
                </a:p>
              </p:txBody>
            </p:sp>
            <p:sp>
              <p:nvSpPr>
                <p:cNvPr id="135" name="Forma Livre: Forma 134">
                  <a:extLst>
                    <a:ext uri="{FF2B5EF4-FFF2-40B4-BE49-F238E27FC236}">
                      <a16:creationId xmlns:a16="http://schemas.microsoft.com/office/drawing/2014/main" id="{26466CBA-99A2-DD91-FDF5-80AF6F5DFA4A}"/>
                    </a:ext>
                  </a:extLst>
                </p:cNvPr>
                <p:cNvSpPr/>
                <p:nvPr/>
              </p:nvSpPr>
              <p:spPr>
                <a:xfrm>
                  <a:off x="5579469" y="5916018"/>
                  <a:ext cx="29192" cy="15616"/>
                </a:xfrm>
                <a:custGeom>
                  <a:avLst/>
                  <a:gdLst>
                    <a:gd name="connsiteX0" fmla="*/ 0 w 29192"/>
                    <a:gd name="connsiteY0" fmla="*/ 7808 h 15616"/>
                    <a:gd name="connsiteX1" fmla="*/ 7808 w 29192"/>
                    <a:gd name="connsiteY1" fmla="*/ 15617 h 15616"/>
                    <a:gd name="connsiteX2" fmla="*/ 29192 w 29192"/>
                    <a:gd name="connsiteY2" fmla="*/ 15617 h 15616"/>
                    <a:gd name="connsiteX3" fmla="*/ 29192 w 29192"/>
                    <a:gd name="connsiteY3" fmla="*/ 0 h 15616"/>
                    <a:gd name="connsiteX4" fmla="*/ 7808 w 29192"/>
                    <a:gd name="connsiteY4" fmla="*/ 0 h 15616"/>
                    <a:gd name="connsiteX5" fmla="*/ 0 w 29192"/>
                    <a:gd name="connsiteY5" fmla="*/ 7808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2" h="15616">
                      <a:moveTo>
                        <a:pt x="0" y="7808"/>
                      </a:moveTo>
                      <a:cubicBezTo>
                        <a:pt x="0" y="12156"/>
                        <a:pt x="3460" y="15617"/>
                        <a:pt x="7808" y="15617"/>
                      </a:cubicBezTo>
                      <a:lnTo>
                        <a:pt x="29192" y="15617"/>
                      </a:lnTo>
                      <a:lnTo>
                        <a:pt x="29192" y="0"/>
                      </a:lnTo>
                      <a:lnTo>
                        <a:pt x="7808" y="0"/>
                      </a:lnTo>
                      <a:cubicBezTo>
                        <a:pt x="3460" y="0"/>
                        <a:pt x="0" y="3460"/>
                        <a:pt x="0" y="7808"/>
                      </a:cubicBezTo>
                      <a:close/>
                    </a:path>
                  </a:pathLst>
                </a:custGeom>
                <a:solidFill>
                  <a:srgbClr val="000532"/>
                </a:solidFill>
                <a:ln w="8731" cap="flat">
                  <a:noFill/>
                  <a:prstDash val="solid"/>
                  <a:miter/>
                </a:ln>
              </p:spPr>
              <p:txBody>
                <a:bodyPr rtlCol="0" anchor="ctr"/>
                <a:lstStyle/>
                <a:p>
                  <a:endParaRPr lang="pt-BR"/>
                </a:p>
              </p:txBody>
            </p:sp>
          </p:grpSp>
          <p:sp>
            <p:nvSpPr>
              <p:cNvPr id="136" name="Forma Livre: Forma 135">
                <a:extLst>
                  <a:ext uri="{FF2B5EF4-FFF2-40B4-BE49-F238E27FC236}">
                    <a16:creationId xmlns:a16="http://schemas.microsoft.com/office/drawing/2014/main" id="{707FA00A-953A-DBB9-9300-E94D9E17209D}"/>
                  </a:ext>
                </a:extLst>
              </p:cNvPr>
              <p:cNvSpPr/>
              <p:nvPr/>
            </p:nvSpPr>
            <p:spPr>
              <a:xfrm>
                <a:off x="6321617" y="3592160"/>
                <a:ext cx="165570" cy="182429"/>
              </a:xfrm>
              <a:custGeom>
                <a:avLst/>
                <a:gdLst>
                  <a:gd name="connsiteX0" fmla="*/ 165571 w 165570"/>
                  <a:gd name="connsiteY0" fmla="*/ 70363 h 182429"/>
                  <a:gd name="connsiteX1" fmla="*/ 136645 w 165570"/>
                  <a:gd name="connsiteY1" fmla="*/ 34960 h 182429"/>
                  <a:gd name="connsiteX2" fmla="*/ 137443 w 165570"/>
                  <a:gd name="connsiteY2" fmla="*/ 28660 h 182429"/>
                  <a:gd name="connsiteX3" fmla="*/ 106210 w 165570"/>
                  <a:gd name="connsiteY3" fmla="*/ 0 h 182429"/>
                  <a:gd name="connsiteX4" fmla="*/ 82785 w 165570"/>
                  <a:gd name="connsiteY4" fmla="*/ 9760 h 182429"/>
                  <a:gd name="connsiteX5" fmla="*/ 59361 w 165570"/>
                  <a:gd name="connsiteY5" fmla="*/ 0 h 182429"/>
                  <a:gd name="connsiteX6" fmla="*/ 28128 w 165570"/>
                  <a:gd name="connsiteY6" fmla="*/ 28660 h 182429"/>
                  <a:gd name="connsiteX7" fmla="*/ 28926 w 165570"/>
                  <a:gd name="connsiteY7" fmla="*/ 34960 h 182429"/>
                  <a:gd name="connsiteX8" fmla="*/ 0 w 165570"/>
                  <a:gd name="connsiteY8" fmla="*/ 70363 h 182429"/>
                  <a:gd name="connsiteX9" fmla="*/ 8252 w 165570"/>
                  <a:gd name="connsiteY9" fmla="*/ 92546 h 182429"/>
                  <a:gd name="connsiteX10" fmla="*/ 0 w 165570"/>
                  <a:gd name="connsiteY10" fmla="*/ 116237 h 182429"/>
                  <a:gd name="connsiteX11" fmla="*/ 18722 w 165570"/>
                  <a:gd name="connsiteY11" fmla="*/ 149599 h 182429"/>
                  <a:gd name="connsiteX12" fmla="*/ 18722 w 165570"/>
                  <a:gd name="connsiteY12" fmla="*/ 149599 h 182429"/>
                  <a:gd name="connsiteX13" fmla="*/ 54658 w 165570"/>
                  <a:gd name="connsiteY13" fmla="*/ 182430 h 182429"/>
                  <a:gd name="connsiteX14" fmla="*/ 82785 w 165570"/>
                  <a:gd name="connsiteY14" fmla="*/ 170007 h 182429"/>
                  <a:gd name="connsiteX15" fmla="*/ 110913 w 165570"/>
                  <a:gd name="connsiteY15" fmla="*/ 182430 h 182429"/>
                  <a:gd name="connsiteX16" fmla="*/ 146760 w 165570"/>
                  <a:gd name="connsiteY16" fmla="*/ 151640 h 182429"/>
                  <a:gd name="connsiteX17" fmla="*/ 165571 w 165570"/>
                  <a:gd name="connsiteY17" fmla="*/ 120407 h 182429"/>
                  <a:gd name="connsiteX18" fmla="*/ 154746 w 165570"/>
                  <a:gd name="connsiteY18" fmla="*/ 95385 h 182429"/>
                  <a:gd name="connsiteX19" fmla="*/ 165571 w 165570"/>
                  <a:gd name="connsiteY19" fmla="*/ 70363 h 182429"/>
                  <a:gd name="connsiteX20" fmla="*/ 137976 w 165570"/>
                  <a:gd name="connsiteY20" fmla="*/ 102306 h 182429"/>
                  <a:gd name="connsiteX21" fmla="*/ 149954 w 165570"/>
                  <a:gd name="connsiteY21" fmla="*/ 120407 h 182429"/>
                  <a:gd name="connsiteX22" fmla="*/ 143122 w 165570"/>
                  <a:gd name="connsiteY22" fmla="*/ 135048 h 182429"/>
                  <a:gd name="connsiteX23" fmla="*/ 122625 w 165570"/>
                  <a:gd name="connsiteY23" fmla="*/ 118544 h 182429"/>
                  <a:gd name="connsiteX24" fmla="*/ 112865 w 165570"/>
                  <a:gd name="connsiteY24" fmla="*/ 123690 h 182429"/>
                  <a:gd name="connsiteX25" fmla="*/ 118011 w 165570"/>
                  <a:gd name="connsiteY25" fmla="*/ 133450 h 182429"/>
                  <a:gd name="connsiteX26" fmla="*/ 131321 w 165570"/>
                  <a:gd name="connsiteY26" fmla="*/ 149599 h 182429"/>
                  <a:gd name="connsiteX27" fmla="*/ 111002 w 165570"/>
                  <a:gd name="connsiteY27" fmla="*/ 166813 h 182429"/>
                  <a:gd name="connsiteX28" fmla="*/ 90682 w 165570"/>
                  <a:gd name="connsiteY28" fmla="*/ 149599 h 182429"/>
                  <a:gd name="connsiteX29" fmla="*/ 90682 w 165570"/>
                  <a:gd name="connsiteY29" fmla="*/ 99555 h 182429"/>
                  <a:gd name="connsiteX30" fmla="*/ 111002 w 165570"/>
                  <a:gd name="connsiteY30" fmla="*/ 82342 h 182429"/>
                  <a:gd name="connsiteX31" fmla="*/ 118810 w 165570"/>
                  <a:gd name="connsiteY31" fmla="*/ 74533 h 182429"/>
                  <a:gd name="connsiteX32" fmla="*/ 111002 w 165570"/>
                  <a:gd name="connsiteY32" fmla="*/ 66725 h 182429"/>
                  <a:gd name="connsiteX33" fmla="*/ 90682 w 165570"/>
                  <a:gd name="connsiteY33" fmla="*/ 72493 h 182429"/>
                  <a:gd name="connsiteX34" fmla="*/ 90682 w 165570"/>
                  <a:gd name="connsiteY34" fmla="*/ 62555 h 182429"/>
                  <a:gd name="connsiteX35" fmla="*/ 82874 w 165570"/>
                  <a:gd name="connsiteY35" fmla="*/ 54747 h 182429"/>
                  <a:gd name="connsiteX36" fmla="*/ 75066 w 165570"/>
                  <a:gd name="connsiteY36" fmla="*/ 62555 h 182429"/>
                  <a:gd name="connsiteX37" fmla="*/ 75066 w 165570"/>
                  <a:gd name="connsiteY37" fmla="*/ 105855 h 182429"/>
                  <a:gd name="connsiteX38" fmla="*/ 66459 w 165570"/>
                  <a:gd name="connsiteY38" fmla="*/ 101862 h 182429"/>
                  <a:gd name="connsiteX39" fmla="*/ 56699 w 165570"/>
                  <a:gd name="connsiteY39" fmla="*/ 106920 h 182429"/>
                  <a:gd name="connsiteX40" fmla="*/ 61756 w 165570"/>
                  <a:gd name="connsiteY40" fmla="*/ 116680 h 182429"/>
                  <a:gd name="connsiteX41" fmla="*/ 75066 w 165570"/>
                  <a:gd name="connsiteY41" fmla="*/ 132829 h 182429"/>
                  <a:gd name="connsiteX42" fmla="*/ 75066 w 165570"/>
                  <a:gd name="connsiteY42" fmla="*/ 149511 h 182429"/>
                  <a:gd name="connsiteX43" fmla="*/ 54747 w 165570"/>
                  <a:gd name="connsiteY43" fmla="*/ 166724 h 182429"/>
                  <a:gd name="connsiteX44" fmla="*/ 34427 w 165570"/>
                  <a:gd name="connsiteY44" fmla="*/ 149511 h 182429"/>
                  <a:gd name="connsiteX45" fmla="*/ 39308 w 165570"/>
                  <a:gd name="connsiteY45" fmla="*/ 138419 h 182429"/>
                  <a:gd name="connsiteX46" fmla="*/ 39308 w 165570"/>
                  <a:gd name="connsiteY46" fmla="*/ 127417 h 182429"/>
                  <a:gd name="connsiteX47" fmla="*/ 28305 w 165570"/>
                  <a:gd name="connsiteY47" fmla="*/ 127417 h 182429"/>
                  <a:gd name="connsiteX48" fmla="*/ 23514 w 165570"/>
                  <a:gd name="connsiteY48" fmla="*/ 133450 h 182429"/>
                  <a:gd name="connsiteX49" fmla="*/ 15705 w 165570"/>
                  <a:gd name="connsiteY49" fmla="*/ 116237 h 182429"/>
                  <a:gd name="connsiteX50" fmla="*/ 37799 w 165570"/>
                  <a:gd name="connsiteY50" fmla="*/ 91570 h 182429"/>
                  <a:gd name="connsiteX51" fmla="*/ 43655 w 165570"/>
                  <a:gd name="connsiteY51" fmla="*/ 82253 h 182429"/>
                  <a:gd name="connsiteX52" fmla="*/ 34339 w 165570"/>
                  <a:gd name="connsiteY52" fmla="*/ 76397 h 182429"/>
                  <a:gd name="connsiteX53" fmla="*/ 20053 w 165570"/>
                  <a:gd name="connsiteY53" fmla="*/ 82253 h 182429"/>
                  <a:gd name="connsiteX54" fmla="*/ 15794 w 165570"/>
                  <a:gd name="connsiteY54" fmla="*/ 70452 h 182429"/>
                  <a:gd name="connsiteX55" fmla="*/ 40638 w 165570"/>
                  <a:gd name="connsiteY55" fmla="*/ 49068 h 182429"/>
                  <a:gd name="connsiteX56" fmla="*/ 40816 w 165570"/>
                  <a:gd name="connsiteY56" fmla="*/ 49068 h 182429"/>
                  <a:gd name="connsiteX57" fmla="*/ 45874 w 165570"/>
                  <a:gd name="connsiteY57" fmla="*/ 47205 h 182429"/>
                  <a:gd name="connsiteX58" fmla="*/ 47471 w 165570"/>
                  <a:gd name="connsiteY58" fmla="*/ 37178 h 182429"/>
                  <a:gd name="connsiteX59" fmla="*/ 47293 w 165570"/>
                  <a:gd name="connsiteY59" fmla="*/ 36912 h 182429"/>
                  <a:gd name="connsiteX60" fmla="*/ 47293 w 165570"/>
                  <a:gd name="connsiteY60" fmla="*/ 36734 h 182429"/>
                  <a:gd name="connsiteX61" fmla="*/ 46850 w 165570"/>
                  <a:gd name="connsiteY61" fmla="*/ 36202 h 182429"/>
                  <a:gd name="connsiteX62" fmla="*/ 46850 w 165570"/>
                  <a:gd name="connsiteY62" fmla="*/ 36202 h 182429"/>
                  <a:gd name="connsiteX63" fmla="*/ 44010 w 165570"/>
                  <a:gd name="connsiteY63" fmla="*/ 28749 h 182429"/>
                  <a:gd name="connsiteX64" fmla="*/ 59627 w 165570"/>
                  <a:gd name="connsiteY64" fmla="*/ 15705 h 182429"/>
                  <a:gd name="connsiteX65" fmla="*/ 75243 w 165570"/>
                  <a:gd name="connsiteY65" fmla="*/ 28749 h 182429"/>
                  <a:gd name="connsiteX66" fmla="*/ 83052 w 165570"/>
                  <a:gd name="connsiteY66" fmla="*/ 36557 h 182429"/>
                  <a:gd name="connsiteX67" fmla="*/ 90860 w 165570"/>
                  <a:gd name="connsiteY67" fmla="*/ 28749 h 182429"/>
                  <a:gd name="connsiteX68" fmla="*/ 106476 w 165570"/>
                  <a:gd name="connsiteY68" fmla="*/ 15705 h 182429"/>
                  <a:gd name="connsiteX69" fmla="*/ 122093 w 165570"/>
                  <a:gd name="connsiteY69" fmla="*/ 28749 h 182429"/>
                  <a:gd name="connsiteX70" fmla="*/ 120939 w 165570"/>
                  <a:gd name="connsiteY70" fmla="*/ 33629 h 182429"/>
                  <a:gd name="connsiteX71" fmla="*/ 108162 w 165570"/>
                  <a:gd name="connsiteY71" fmla="*/ 36823 h 182429"/>
                  <a:gd name="connsiteX72" fmla="*/ 103992 w 165570"/>
                  <a:gd name="connsiteY72" fmla="*/ 47027 h 182429"/>
                  <a:gd name="connsiteX73" fmla="*/ 114196 w 165570"/>
                  <a:gd name="connsiteY73" fmla="*/ 51197 h 182429"/>
                  <a:gd name="connsiteX74" fmla="*/ 125021 w 165570"/>
                  <a:gd name="connsiteY74" fmla="*/ 48979 h 182429"/>
                  <a:gd name="connsiteX75" fmla="*/ 125465 w 165570"/>
                  <a:gd name="connsiteY75" fmla="*/ 48979 h 182429"/>
                  <a:gd name="connsiteX76" fmla="*/ 150309 w 165570"/>
                  <a:gd name="connsiteY76" fmla="*/ 70363 h 182429"/>
                  <a:gd name="connsiteX77" fmla="*/ 138331 w 165570"/>
                  <a:gd name="connsiteY77" fmla="*/ 88464 h 182429"/>
                  <a:gd name="connsiteX78" fmla="*/ 134160 w 165570"/>
                  <a:gd name="connsiteY78" fmla="*/ 95385 h 182429"/>
                  <a:gd name="connsiteX79" fmla="*/ 138331 w 165570"/>
                  <a:gd name="connsiteY79" fmla="*/ 102306 h 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65570" h="182429">
                    <a:moveTo>
                      <a:pt x="165571" y="70363"/>
                    </a:moveTo>
                    <a:cubicBezTo>
                      <a:pt x="165571" y="53682"/>
                      <a:pt x="153415" y="39574"/>
                      <a:pt x="136645" y="34960"/>
                    </a:cubicBezTo>
                    <a:cubicBezTo>
                      <a:pt x="137177" y="32919"/>
                      <a:pt x="137443" y="30789"/>
                      <a:pt x="137443" y="28660"/>
                    </a:cubicBezTo>
                    <a:cubicBezTo>
                      <a:pt x="137443" y="12866"/>
                      <a:pt x="123424" y="0"/>
                      <a:pt x="106210" y="0"/>
                    </a:cubicBezTo>
                    <a:cubicBezTo>
                      <a:pt x="96894" y="0"/>
                      <a:pt x="88464" y="3815"/>
                      <a:pt x="82785" y="9760"/>
                    </a:cubicBezTo>
                    <a:cubicBezTo>
                      <a:pt x="77018" y="3815"/>
                      <a:pt x="68677" y="0"/>
                      <a:pt x="59361" y="0"/>
                    </a:cubicBezTo>
                    <a:cubicBezTo>
                      <a:pt x="42147" y="0"/>
                      <a:pt x="28128" y="12866"/>
                      <a:pt x="28128" y="28660"/>
                    </a:cubicBezTo>
                    <a:cubicBezTo>
                      <a:pt x="28128" y="30789"/>
                      <a:pt x="28394" y="32919"/>
                      <a:pt x="28926" y="34960"/>
                    </a:cubicBezTo>
                    <a:cubicBezTo>
                      <a:pt x="12245" y="39574"/>
                      <a:pt x="0" y="53682"/>
                      <a:pt x="0" y="70363"/>
                    </a:cubicBezTo>
                    <a:cubicBezTo>
                      <a:pt x="0" y="78526"/>
                      <a:pt x="2928" y="86246"/>
                      <a:pt x="8252" y="92546"/>
                    </a:cubicBezTo>
                    <a:cubicBezTo>
                      <a:pt x="3017" y="99289"/>
                      <a:pt x="0" y="107452"/>
                      <a:pt x="0" y="116237"/>
                    </a:cubicBezTo>
                    <a:cubicBezTo>
                      <a:pt x="0" y="129458"/>
                      <a:pt x="7098" y="141880"/>
                      <a:pt x="18722" y="149599"/>
                    </a:cubicBezTo>
                    <a:lnTo>
                      <a:pt x="18722" y="149599"/>
                    </a:lnTo>
                    <a:cubicBezTo>
                      <a:pt x="18722" y="167700"/>
                      <a:pt x="34871" y="182430"/>
                      <a:pt x="54658" y="182430"/>
                    </a:cubicBezTo>
                    <a:cubicBezTo>
                      <a:pt x="66015" y="182430"/>
                      <a:pt x="76219" y="177549"/>
                      <a:pt x="82785" y="170007"/>
                    </a:cubicBezTo>
                    <a:cubicBezTo>
                      <a:pt x="89351" y="177549"/>
                      <a:pt x="99555" y="182430"/>
                      <a:pt x="110913" y="182430"/>
                    </a:cubicBezTo>
                    <a:cubicBezTo>
                      <a:pt x="129990" y="182430"/>
                      <a:pt x="145607" y="168765"/>
                      <a:pt x="146760" y="151640"/>
                    </a:cubicBezTo>
                    <a:cubicBezTo>
                      <a:pt x="158384" y="144897"/>
                      <a:pt x="165571" y="133184"/>
                      <a:pt x="165571" y="120407"/>
                    </a:cubicBezTo>
                    <a:cubicBezTo>
                      <a:pt x="165571" y="111090"/>
                      <a:pt x="161578" y="102129"/>
                      <a:pt x="154746" y="95385"/>
                    </a:cubicBezTo>
                    <a:cubicBezTo>
                      <a:pt x="161578" y="88642"/>
                      <a:pt x="165571" y="79769"/>
                      <a:pt x="165571" y="70363"/>
                    </a:cubicBezTo>
                    <a:close/>
                    <a:moveTo>
                      <a:pt x="137976" y="102306"/>
                    </a:moveTo>
                    <a:cubicBezTo>
                      <a:pt x="145518" y="106299"/>
                      <a:pt x="149954" y="113042"/>
                      <a:pt x="149954" y="120407"/>
                    </a:cubicBezTo>
                    <a:cubicBezTo>
                      <a:pt x="149954" y="125908"/>
                      <a:pt x="147381" y="131143"/>
                      <a:pt x="143122" y="135048"/>
                    </a:cubicBezTo>
                    <a:cubicBezTo>
                      <a:pt x="139040" y="127417"/>
                      <a:pt x="131765" y="121383"/>
                      <a:pt x="122625" y="118544"/>
                    </a:cubicBezTo>
                    <a:cubicBezTo>
                      <a:pt x="118544" y="117213"/>
                      <a:pt x="114107" y="119520"/>
                      <a:pt x="112865" y="123690"/>
                    </a:cubicBezTo>
                    <a:cubicBezTo>
                      <a:pt x="111534" y="127772"/>
                      <a:pt x="113841" y="132208"/>
                      <a:pt x="118011" y="133450"/>
                    </a:cubicBezTo>
                    <a:cubicBezTo>
                      <a:pt x="125997" y="135935"/>
                      <a:pt x="131321" y="142412"/>
                      <a:pt x="131321" y="149599"/>
                    </a:cubicBezTo>
                    <a:cubicBezTo>
                      <a:pt x="131321" y="159094"/>
                      <a:pt x="122182" y="166813"/>
                      <a:pt x="111002" y="166813"/>
                    </a:cubicBezTo>
                    <a:cubicBezTo>
                      <a:pt x="99822" y="166813"/>
                      <a:pt x="90682" y="159094"/>
                      <a:pt x="90682" y="149599"/>
                    </a:cubicBezTo>
                    <a:lnTo>
                      <a:pt x="90682" y="99555"/>
                    </a:lnTo>
                    <a:cubicBezTo>
                      <a:pt x="90682" y="90061"/>
                      <a:pt x="99822" y="82342"/>
                      <a:pt x="111002" y="82342"/>
                    </a:cubicBezTo>
                    <a:cubicBezTo>
                      <a:pt x="115349" y="82342"/>
                      <a:pt x="118810" y="78881"/>
                      <a:pt x="118810" y="74533"/>
                    </a:cubicBezTo>
                    <a:cubicBezTo>
                      <a:pt x="118810" y="70186"/>
                      <a:pt x="115349" y="66725"/>
                      <a:pt x="111002" y="66725"/>
                    </a:cubicBezTo>
                    <a:cubicBezTo>
                      <a:pt x="103460" y="66725"/>
                      <a:pt x="96450" y="68855"/>
                      <a:pt x="90682" y="72493"/>
                    </a:cubicBezTo>
                    <a:lnTo>
                      <a:pt x="90682" y="62555"/>
                    </a:lnTo>
                    <a:cubicBezTo>
                      <a:pt x="90682" y="58207"/>
                      <a:pt x="87222" y="54747"/>
                      <a:pt x="82874" y="54747"/>
                    </a:cubicBezTo>
                    <a:cubicBezTo>
                      <a:pt x="78526" y="54747"/>
                      <a:pt x="75066" y="58207"/>
                      <a:pt x="75066" y="62555"/>
                    </a:cubicBezTo>
                    <a:lnTo>
                      <a:pt x="75066" y="105855"/>
                    </a:lnTo>
                    <a:cubicBezTo>
                      <a:pt x="72404" y="104169"/>
                      <a:pt x="69565" y="102838"/>
                      <a:pt x="66459" y="101862"/>
                    </a:cubicBezTo>
                    <a:cubicBezTo>
                      <a:pt x="62377" y="100531"/>
                      <a:pt x="57941" y="102838"/>
                      <a:pt x="56699" y="106920"/>
                    </a:cubicBezTo>
                    <a:cubicBezTo>
                      <a:pt x="55368" y="111002"/>
                      <a:pt x="57675" y="115438"/>
                      <a:pt x="61756" y="116680"/>
                    </a:cubicBezTo>
                    <a:cubicBezTo>
                      <a:pt x="69742" y="119165"/>
                      <a:pt x="75066" y="125642"/>
                      <a:pt x="75066" y="132829"/>
                    </a:cubicBezTo>
                    <a:lnTo>
                      <a:pt x="75066" y="149511"/>
                    </a:lnTo>
                    <a:cubicBezTo>
                      <a:pt x="75066" y="159005"/>
                      <a:pt x="65927" y="166724"/>
                      <a:pt x="54747" y="166724"/>
                    </a:cubicBezTo>
                    <a:cubicBezTo>
                      <a:pt x="43567" y="166724"/>
                      <a:pt x="34427" y="159005"/>
                      <a:pt x="34427" y="149511"/>
                    </a:cubicBezTo>
                    <a:cubicBezTo>
                      <a:pt x="34427" y="145429"/>
                      <a:pt x="36113" y="141525"/>
                      <a:pt x="39308" y="138419"/>
                    </a:cubicBezTo>
                    <a:cubicBezTo>
                      <a:pt x="42324" y="135402"/>
                      <a:pt x="42413" y="130434"/>
                      <a:pt x="39308" y="127417"/>
                    </a:cubicBezTo>
                    <a:cubicBezTo>
                      <a:pt x="36202" y="124400"/>
                      <a:pt x="31322" y="124311"/>
                      <a:pt x="28305" y="127417"/>
                    </a:cubicBezTo>
                    <a:cubicBezTo>
                      <a:pt x="26442" y="129280"/>
                      <a:pt x="24844" y="131321"/>
                      <a:pt x="23514" y="133450"/>
                    </a:cubicBezTo>
                    <a:cubicBezTo>
                      <a:pt x="18633" y="128748"/>
                      <a:pt x="15705" y="122625"/>
                      <a:pt x="15705" y="116237"/>
                    </a:cubicBezTo>
                    <a:cubicBezTo>
                      <a:pt x="15705" y="104702"/>
                      <a:pt x="24756" y="94498"/>
                      <a:pt x="37799" y="91570"/>
                    </a:cubicBezTo>
                    <a:cubicBezTo>
                      <a:pt x="41969" y="90594"/>
                      <a:pt x="44631" y="86423"/>
                      <a:pt x="43655" y="82253"/>
                    </a:cubicBezTo>
                    <a:cubicBezTo>
                      <a:pt x="42679" y="78083"/>
                      <a:pt x="38509" y="75421"/>
                      <a:pt x="34339" y="76397"/>
                    </a:cubicBezTo>
                    <a:cubicBezTo>
                      <a:pt x="29104" y="77639"/>
                      <a:pt x="24312" y="79591"/>
                      <a:pt x="20053" y="82253"/>
                    </a:cubicBezTo>
                    <a:cubicBezTo>
                      <a:pt x="17302" y="78793"/>
                      <a:pt x="15794" y="74711"/>
                      <a:pt x="15794" y="70452"/>
                    </a:cubicBezTo>
                    <a:cubicBezTo>
                      <a:pt x="15794" y="58739"/>
                      <a:pt x="26885" y="49157"/>
                      <a:pt x="40638" y="49068"/>
                    </a:cubicBezTo>
                    <a:lnTo>
                      <a:pt x="40816" y="49068"/>
                    </a:lnTo>
                    <a:cubicBezTo>
                      <a:pt x="42591" y="49068"/>
                      <a:pt x="44365" y="48447"/>
                      <a:pt x="45874" y="47205"/>
                    </a:cubicBezTo>
                    <a:cubicBezTo>
                      <a:pt x="48890" y="44631"/>
                      <a:pt x="49423" y="40372"/>
                      <a:pt x="47471" y="37178"/>
                    </a:cubicBezTo>
                    <a:cubicBezTo>
                      <a:pt x="47471" y="37089"/>
                      <a:pt x="47382" y="37001"/>
                      <a:pt x="47293" y="36912"/>
                    </a:cubicBezTo>
                    <a:lnTo>
                      <a:pt x="47293" y="36734"/>
                    </a:lnTo>
                    <a:cubicBezTo>
                      <a:pt x="47293" y="36734"/>
                      <a:pt x="46938" y="36379"/>
                      <a:pt x="46850" y="36202"/>
                    </a:cubicBezTo>
                    <a:lnTo>
                      <a:pt x="46850" y="36202"/>
                    </a:lnTo>
                    <a:cubicBezTo>
                      <a:pt x="45519" y="34694"/>
                      <a:pt x="44010" y="32120"/>
                      <a:pt x="44010" y="28749"/>
                    </a:cubicBezTo>
                    <a:cubicBezTo>
                      <a:pt x="44010" y="21561"/>
                      <a:pt x="51020" y="15705"/>
                      <a:pt x="59627" y="15705"/>
                    </a:cubicBezTo>
                    <a:cubicBezTo>
                      <a:pt x="68234" y="15705"/>
                      <a:pt x="75243" y="21561"/>
                      <a:pt x="75243" y="28749"/>
                    </a:cubicBezTo>
                    <a:cubicBezTo>
                      <a:pt x="75243" y="33096"/>
                      <a:pt x="78704" y="36557"/>
                      <a:pt x="83052" y="36557"/>
                    </a:cubicBezTo>
                    <a:cubicBezTo>
                      <a:pt x="87399" y="36557"/>
                      <a:pt x="90860" y="33096"/>
                      <a:pt x="90860" y="28749"/>
                    </a:cubicBezTo>
                    <a:cubicBezTo>
                      <a:pt x="90860" y="21561"/>
                      <a:pt x="97870" y="15705"/>
                      <a:pt x="106476" y="15705"/>
                    </a:cubicBezTo>
                    <a:cubicBezTo>
                      <a:pt x="115083" y="15705"/>
                      <a:pt x="122093" y="21561"/>
                      <a:pt x="122093" y="28749"/>
                    </a:cubicBezTo>
                    <a:cubicBezTo>
                      <a:pt x="122093" y="30701"/>
                      <a:pt x="121561" y="32298"/>
                      <a:pt x="120939" y="33629"/>
                    </a:cubicBezTo>
                    <a:cubicBezTo>
                      <a:pt x="116503" y="34072"/>
                      <a:pt x="112244" y="35137"/>
                      <a:pt x="108162" y="36823"/>
                    </a:cubicBezTo>
                    <a:cubicBezTo>
                      <a:pt x="104169" y="38509"/>
                      <a:pt x="102306" y="43034"/>
                      <a:pt x="103992" y="47027"/>
                    </a:cubicBezTo>
                    <a:cubicBezTo>
                      <a:pt x="105678" y="51020"/>
                      <a:pt x="110203" y="52883"/>
                      <a:pt x="114196" y="51197"/>
                    </a:cubicBezTo>
                    <a:cubicBezTo>
                      <a:pt x="117568" y="49778"/>
                      <a:pt x="121206" y="49068"/>
                      <a:pt x="125021" y="48979"/>
                    </a:cubicBezTo>
                    <a:lnTo>
                      <a:pt x="125465" y="48979"/>
                    </a:lnTo>
                    <a:cubicBezTo>
                      <a:pt x="139129" y="48979"/>
                      <a:pt x="150309" y="58651"/>
                      <a:pt x="150309" y="70363"/>
                    </a:cubicBezTo>
                    <a:cubicBezTo>
                      <a:pt x="150309" y="77728"/>
                      <a:pt x="145784" y="84471"/>
                      <a:pt x="138331" y="88464"/>
                    </a:cubicBezTo>
                    <a:cubicBezTo>
                      <a:pt x="135757" y="89795"/>
                      <a:pt x="134160" y="92457"/>
                      <a:pt x="134160" y="95385"/>
                    </a:cubicBezTo>
                    <a:cubicBezTo>
                      <a:pt x="134160" y="98313"/>
                      <a:pt x="135757" y="100975"/>
                      <a:pt x="138331" y="102306"/>
                    </a:cubicBezTo>
                    <a:close/>
                  </a:path>
                </a:pathLst>
              </a:custGeom>
              <a:solidFill>
                <a:schemeClr val="accent6"/>
              </a:solidFill>
              <a:ln w="8731" cap="flat">
                <a:noFill/>
                <a:prstDash val="solid"/>
                <a:miter/>
              </a:ln>
            </p:spPr>
            <p:txBody>
              <a:bodyPr rtlCol="0" anchor="ctr"/>
              <a:lstStyle/>
              <a:p>
                <a:endParaRPr lang="pt-BR"/>
              </a:p>
            </p:txBody>
          </p:sp>
          <p:sp>
            <p:nvSpPr>
              <p:cNvPr id="137" name="Forma Livre: Forma 136">
                <a:extLst>
                  <a:ext uri="{FF2B5EF4-FFF2-40B4-BE49-F238E27FC236}">
                    <a16:creationId xmlns:a16="http://schemas.microsoft.com/office/drawing/2014/main" id="{DA1C7D69-FA86-DD12-8A11-9CA28481B153}"/>
                  </a:ext>
                </a:extLst>
              </p:cNvPr>
              <p:cNvSpPr/>
              <p:nvPr/>
            </p:nvSpPr>
            <p:spPr>
              <a:xfrm>
                <a:off x="6551251" y="3517183"/>
                <a:ext cx="119342" cy="107363"/>
              </a:xfrm>
              <a:custGeom>
                <a:avLst/>
                <a:gdLst>
                  <a:gd name="connsiteX0" fmla="*/ 0 w 119342"/>
                  <a:gd name="connsiteY0" fmla="*/ 107275 h 107363"/>
                  <a:gd name="connsiteX1" fmla="*/ 9494 w 119342"/>
                  <a:gd name="connsiteY1" fmla="*/ 107275 h 107363"/>
                  <a:gd name="connsiteX2" fmla="*/ 32653 w 119342"/>
                  <a:gd name="connsiteY2" fmla="*/ 97692 h 107363"/>
                  <a:gd name="connsiteX3" fmla="*/ 83939 w 119342"/>
                  <a:gd name="connsiteY3" fmla="*/ 46406 h 107363"/>
                  <a:gd name="connsiteX4" fmla="*/ 94853 w 119342"/>
                  <a:gd name="connsiteY4" fmla="*/ 48979 h 107363"/>
                  <a:gd name="connsiteX5" fmla="*/ 112155 w 119342"/>
                  <a:gd name="connsiteY5" fmla="*/ 41792 h 107363"/>
                  <a:gd name="connsiteX6" fmla="*/ 119342 w 119342"/>
                  <a:gd name="connsiteY6" fmla="*/ 24490 h 107363"/>
                  <a:gd name="connsiteX7" fmla="*/ 112155 w 119342"/>
                  <a:gd name="connsiteY7" fmla="*/ 7187 h 107363"/>
                  <a:gd name="connsiteX8" fmla="*/ 94853 w 119342"/>
                  <a:gd name="connsiteY8" fmla="*/ 0 h 107363"/>
                  <a:gd name="connsiteX9" fmla="*/ 77550 w 119342"/>
                  <a:gd name="connsiteY9" fmla="*/ 7187 h 107363"/>
                  <a:gd name="connsiteX10" fmla="*/ 70363 w 119342"/>
                  <a:gd name="connsiteY10" fmla="*/ 24490 h 107363"/>
                  <a:gd name="connsiteX11" fmla="*/ 72936 w 119342"/>
                  <a:gd name="connsiteY11" fmla="*/ 35403 h 107363"/>
                  <a:gd name="connsiteX12" fmla="*/ 21650 w 119342"/>
                  <a:gd name="connsiteY12" fmla="*/ 86690 h 107363"/>
                  <a:gd name="connsiteX13" fmla="*/ 9494 w 119342"/>
                  <a:gd name="connsiteY13" fmla="*/ 91747 h 107363"/>
                  <a:gd name="connsiteX14" fmla="*/ 0 w 119342"/>
                  <a:gd name="connsiteY14" fmla="*/ 91747 h 107363"/>
                  <a:gd name="connsiteX15" fmla="*/ 0 w 119342"/>
                  <a:gd name="connsiteY15" fmla="*/ 107364 h 107363"/>
                  <a:gd name="connsiteX16" fmla="*/ 88553 w 119342"/>
                  <a:gd name="connsiteY16" fmla="*/ 18190 h 107363"/>
                  <a:gd name="connsiteX17" fmla="*/ 94853 w 119342"/>
                  <a:gd name="connsiteY17" fmla="*/ 15617 h 107363"/>
                  <a:gd name="connsiteX18" fmla="*/ 101153 w 119342"/>
                  <a:gd name="connsiteY18" fmla="*/ 18190 h 107363"/>
                  <a:gd name="connsiteX19" fmla="*/ 103726 w 119342"/>
                  <a:gd name="connsiteY19" fmla="*/ 24490 h 107363"/>
                  <a:gd name="connsiteX20" fmla="*/ 101153 w 119342"/>
                  <a:gd name="connsiteY20" fmla="*/ 30789 h 107363"/>
                  <a:gd name="connsiteX21" fmla="*/ 94853 w 119342"/>
                  <a:gd name="connsiteY21" fmla="*/ 33363 h 107363"/>
                  <a:gd name="connsiteX22" fmla="*/ 88553 w 119342"/>
                  <a:gd name="connsiteY22" fmla="*/ 30789 h 107363"/>
                  <a:gd name="connsiteX23" fmla="*/ 85980 w 119342"/>
                  <a:gd name="connsiteY23" fmla="*/ 24490 h 107363"/>
                  <a:gd name="connsiteX24" fmla="*/ 88553 w 119342"/>
                  <a:gd name="connsiteY24" fmla="*/ 18190 h 1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342" h="107363">
                    <a:moveTo>
                      <a:pt x="0" y="107275"/>
                    </a:moveTo>
                    <a:lnTo>
                      <a:pt x="9494" y="107275"/>
                    </a:lnTo>
                    <a:cubicBezTo>
                      <a:pt x="18278" y="107275"/>
                      <a:pt x="26530" y="103903"/>
                      <a:pt x="32653" y="97692"/>
                    </a:cubicBezTo>
                    <a:lnTo>
                      <a:pt x="83939" y="46406"/>
                    </a:lnTo>
                    <a:cubicBezTo>
                      <a:pt x="87311" y="48092"/>
                      <a:pt x="90949" y="48979"/>
                      <a:pt x="94853" y="48979"/>
                    </a:cubicBezTo>
                    <a:cubicBezTo>
                      <a:pt x="101419" y="48979"/>
                      <a:pt x="107541" y="46406"/>
                      <a:pt x="112155" y="41792"/>
                    </a:cubicBezTo>
                    <a:cubicBezTo>
                      <a:pt x="116769" y="37178"/>
                      <a:pt x="119342" y="31056"/>
                      <a:pt x="119342" y="24490"/>
                    </a:cubicBezTo>
                    <a:cubicBezTo>
                      <a:pt x="119342" y="17924"/>
                      <a:pt x="116769" y="11801"/>
                      <a:pt x="112155" y="7187"/>
                    </a:cubicBezTo>
                    <a:cubicBezTo>
                      <a:pt x="107541" y="2573"/>
                      <a:pt x="101419" y="0"/>
                      <a:pt x="94853" y="0"/>
                    </a:cubicBezTo>
                    <a:cubicBezTo>
                      <a:pt x="88287" y="0"/>
                      <a:pt x="82164" y="2573"/>
                      <a:pt x="77550" y="7187"/>
                    </a:cubicBezTo>
                    <a:cubicBezTo>
                      <a:pt x="72936" y="11801"/>
                      <a:pt x="70363" y="17924"/>
                      <a:pt x="70363" y="24490"/>
                    </a:cubicBezTo>
                    <a:cubicBezTo>
                      <a:pt x="70363" y="28305"/>
                      <a:pt x="71250" y="32032"/>
                      <a:pt x="72936" y="35403"/>
                    </a:cubicBezTo>
                    <a:lnTo>
                      <a:pt x="21650" y="86690"/>
                    </a:lnTo>
                    <a:cubicBezTo>
                      <a:pt x="18367" y="89973"/>
                      <a:pt x="14108" y="91747"/>
                      <a:pt x="9494" y="91747"/>
                    </a:cubicBezTo>
                    <a:lnTo>
                      <a:pt x="0" y="91747"/>
                    </a:lnTo>
                    <a:lnTo>
                      <a:pt x="0" y="107364"/>
                    </a:lnTo>
                    <a:close/>
                    <a:moveTo>
                      <a:pt x="88553" y="18190"/>
                    </a:moveTo>
                    <a:cubicBezTo>
                      <a:pt x="90239" y="16504"/>
                      <a:pt x="92457" y="15617"/>
                      <a:pt x="94853" y="15617"/>
                    </a:cubicBezTo>
                    <a:cubicBezTo>
                      <a:pt x="97248" y="15617"/>
                      <a:pt x="99467" y="16504"/>
                      <a:pt x="101153" y="18190"/>
                    </a:cubicBezTo>
                    <a:cubicBezTo>
                      <a:pt x="102838" y="19876"/>
                      <a:pt x="103726" y="22094"/>
                      <a:pt x="103726" y="24490"/>
                    </a:cubicBezTo>
                    <a:cubicBezTo>
                      <a:pt x="103726" y="26885"/>
                      <a:pt x="102838" y="29104"/>
                      <a:pt x="101153" y="30789"/>
                    </a:cubicBezTo>
                    <a:cubicBezTo>
                      <a:pt x="99467" y="32475"/>
                      <a:pt x="97248" y="33363"/>
                      <a:pt x="94853" y="33363"/>
                    </a:cubicBezTo>
                    <a:cubicBezTo>
                      <a:pt x="92457" y="33363"/>
                      <a:pt x="90239" y="32475"/>
                      <a:pt x="88553" y="30789"/>
                    </a:cubicBezTo>
                    <a:cubicBezTo>
                      <a:pt x="86867" y="29104"/>
                      <a:pt x="85980" y="26885"/>
                      <a:pt x="85980" y="24490"/>
                    </a:cubicBezTo>
                    <a:cubicBezTo>
                      <a:pt x="85980" y="22094"/>
                      <a:pt x="86867" y="19876"/>
                      <a:pt x="88553" y="18190"/>
                    </a:cubicBezTo>
                    <a:close/>
                  </a:path>
                </a:pathLst>
              </a:custGeom>
              <a:solidFill>
                <a:srgbClr val="000532"/>
              </a:solidFill>
              <a:ln w="8731" cap="flat">
                <a:noFill/>
                <a:prstDash val="solid"/>
                <a:miter/>
              </a:ln>
            </p:spPr>
            <p:txBody>
              <a:bodyPr rtlCol="0" anchor="ctr"/>
              <a:lstStyle/>
              <a:p>
                <a:endParaRPr lang="pt-BR"/>
              </a:p>
            </p:txBody>
          </p:sp>
          <p:sp>
            <p:nvSpPr>
              <p:cNvPr id="138" name="Forma Livre: Forma 137">
                <a:extLst>
                  <a:ext uri="{FF2B5EF4-FFF2-40B4-BE49-F238E27FC236}">
                    <a16:creationId xmlns:a16="http://schemas.microsoft.com/office/drawing/2014/main" id="{47BD2503-7832-FEB9-DD67-8B72217C81FC}"/>
                  </a:ext>
                </a:extLst>
              </p:cNvPr>
              <p:cNvSpPr/>
              <p:nvPr/>
            </p:nvSpPr>
            <p:spPr>
              <a:xfrm>
                <a:off x="6551251" y="3675566"/>
                <a:ext cx="119342" cy="15616"/>
              </a:xfrm>
              <a:custGeom>
                <a:avLst/>
                <a:gdLst>
                  <a:gd name="connsiteX0" fmla="*/ 111534 w 119342"/>
                  <a:gd name="connsiteY0" fmla="*/ 0 h 15616"/>
                  <a:gd name="connsiteX1" fmla="*/ 0 w 119342"/>
                  <a:gd name="connsiteY1" fmla="*/ 0 h 15616"/>
                  <a:gd name="connsiteX2" fmla="*/ 0 w 119342"/>
                  <a:gd name="connsiteY2" fmla="*/ 15617 h 15616"/>
                  <a:gd name="connsiteX3" fmla="*/ 111534 w 119342"/>
                  <a:gd name="connsiteY3" fmla="*/ 15617 h 15616"/>
                  <a:gd name="connsiteX4" fmla="*/ 119342 w 119342"/>
                  <a:gd name="connsiteY4" fmla="*/ 7808 h 15616"/>
                  <a:gd name="connsiteX5" fmla="*/ 111534 w 119342"/>
                  <a:gd name="connsiteY5" fmla="*/ 0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2" h="15616">
                    <a:moveTo>
                      <a:pt x="111534" y="0"/>
                    </a:moveTo>
                    <a:lnTo>
                      <a:pt x="0" y="0"/>
                    </a:lnTo>
                    <a:lnTo>
                      <a:pt x="0" y="15617"/>
                    </a:lnTo>
                    <a:lnTo>
                      <a:pt x="111534" y="15617"/>
                    </a:lnTo>
                    <a:cubicBezTo>
                      <a:pt x="115882" y="15617"/>
                      <a:pt x="119342" y="12156"/>
                      <a:pt x="119342" y="7808"/>
                    </a:cubicBezTo>
                    <a:cubicBezTo>
                      <a:pt x="119342" y="3460"/>
                      <a:pt x="115882" y="0"/>
                      <a:pt x="111534" y="0"/>
                    </a:cubicBezTo>
                    <a:close/>
                  </a:path>
                </a:pathLst>
              </a:custGeom>
              <a:solidFill>
                <a:srgbClr val="000532"/>
              </a:solidFill>
              <a:ln w="8731" cap="flat">
                <a:noFill/>
                <a:prstDash val="solid"/>
                <a:miter/>
              </a:ln>
            </p:spPr>
            <p:txBody>
              <a:bodyPr rtlCol="0" anchor="ctr"/>
              <a:lstStyle/>
              <a:p>
                <a:endParaRPr lang="pt-BR"/>
              </a:p>
            </p:txBody>
          </p:sp>
          <p:sp>
            <p:nvSpPr>
              <p:cNvPr id="139" name="Forma Livre: Forma 138">
                <a:extLst>
                  <a:ext uri="{FF2B5EF4-FFF2-40B4-BE49-F238E27FC236}">
                    <a16:creationId xmlns:a16="http://schemas.microsoft.com/office/drawing/2014/main" id="{F2297C09-4F8A-E880-F775-C62AF02AD231}"/>
                  </a:ext>
                </a:extLst>
              </p:cNvPr>
              <p:cNvSpPr/>
              <p:nvPr/>
            </p:nvSpPr>
            <p:spPr>
              <a:xfrm>
                <a:off x="6551251" y="3725610"/>
                <a:ext cx="102660" cy="48979"/>
              </a:xfrm>
              <a:custGeom>
                <a:avLst/>
                <a:gdLst>
                  <a:gd name="connsiteX0" fmla="*/ 78171 w 102660"/>
                  <a:gd name="connsiteY0" fmla="*/ 0 h 48979"/>
                  <a:gd name="connsiteX1" fmla="*/ 55013 w 102660"/>
                  <a:gd name="connsiteY1" fmla="*/ 16681 h 48979"/>
                  <a:gd name="connsiteX2" fmla="*/ 0 w 102660"/>
                  <a:gd name="connsiteY2" fmla="*/ 16681 h 48979"/>
                  <a:gd name="connsiteX3" fmla="*/ 0 w 102660"/>
                  <a:gd name="connsiteY3" fmla="*/ 32298 h 48979"/>
                  <a:gd name="connsiteX4" fmla="*/ 55013 w 102660"/>
                  <a:gd name="connsiteY4" fmla="*/ 32298 h 48979"/>
                  <a:gd name="connsiteX5" fmla="*/ 78171 w 102660"/>
                  <a:gd name="connsiteY5" fmla="*/ 48979 h 48979"/>
                  <a:gd name="connsiteX6" fmla="*/ 102661 w 102660"/>
                  <a:gd name="connsiteY6" fmla="*/ 24490 h 48979"/>
                  <a:gd name="connsiteX7" fmla="*/ 78171 w 102660"/>
                  <a:gd name="connsiteY7" fmla="*/ 0 h 48979"/>
                  <a:gd name="connsiteX8" fmla="*/ 78171 w 102660"/>
                  <a:gd name="connsiteY8" fmla="*/ 33363 h 48979"/>
                  <a:gd name="connsiteX9" fmla="*/ 69298 w 102660"/>
                  <a:gd name="connsiteY9" fmla="*/ 24490 h 48979"/>
                  <a:gd name="connsiteX10" fmla="*/ 78171 w 102660"/>
                  <a:gd name="connsiteY10" fmla="*/ 15617 h 48979"/>
                  <a:gd name="connsiteX11" fmla="*/ 87044 w 102660"/>
                  <a:gd name="connsiteY11" fmla="*/ 24490 h 48979"/>
                  <a:gd name="connsiteX12" fmla="*/ 78171 w 102660"/>
                  <a:gd name="connsiteY12" fmla="*/ 33363 h 4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660" h="48979">
                    <a:moveTo>
                      <a:pt x="78171" y="0"/>
                    </a:moveTo>
                    <a:cubicBezTo>
                      <a:pt x="67435" y="0"/>
                      <a:pt x="58207" y="7010"/>
                      <a:pt x="55013" y="16681"/>
                    </a:cubicBezTo>
                    <a:lnTo>
                      <a:pt x="0" y="16681"/>
                    </a:lnTo>
                    <a:lnTo>
                      <a:pt x="0" y="32298"/>
                    </a:lnTo>
                    <a:lnTo>
                      <a:pt x="55013" y="32298"/>
                    </a:lnTo>
                    <a:cubicBezTo>
                      <a:pt x="58296" y="41969"/>
                      <a:pt x="67435" y="48979"/>
                      <a:pt x="78171" y="48979"/>
                    </a:cubicBezTo>
                    <a:cubicBezTo>
                      <a:pt x="91658" y="48979"/>
                      <a:pt x="102661" y="37977"/>
                      <a:pt x="102661" y="24490"/>
                    </a:cubicBezTo>
                    <a:cubicBezTo>
                      <a:pt x="102661" y="11003"/>
                      <a:pt x="91658" y="0"/>
                      <a:pt x="78171" y="0"/>
                    </a:cubicBezTo>
                    <a:close/>
                    <a:moveTo>
                      <a:pt x="78171" y="33363"/>
                    </a:moveTo>
                    <a:cubicBezTo>
                      <a:pt x="73291" y="33363"/>
                      <a:pt x="69298" y="29370"/>
                      <a:pt x="69298" y="24490"/>
                    </a:cubicBezTo>
                    <a:cubicBezTo>
                      <a:pt x="69298" y="19609"/>
                      <a:pt x="73291" y="15617"/>
                      <a:pt x="78171" y="15617"/>
                    </a:cubicBezTo>
                    <a:cubicBezTo>
                      <a:pt x="83052" y="15617"/>
                      <a:pt x="87044" y="19609"/>
                      <a:pt x="87044" y="24490"/>
                    </a:cubicBezTo>
                    <a:cubicBezTo>
                      <a:pt x="87044" y="29370"/>
                      <a:pt x="83052" y="33363"/>
                      <a:pt x="78171" y="33363"/>
                    </a:cubicBezTo>
                    <a:close/>
                  </a:path>
                </a:pathLst>
              </a:custGeom>
              <a:solidFill>
                <a:srgbClr val="000532"/>
              </a:solidFill>
              <a:ln w="8731" cap="flat">
                <a:noFill/>
                <a:prstDash val="solid"/>
                <a:miter/>
              </a:ln>
            </p:spPr>
            <p:txBody>
              <a:bodyPr rtlCol="0" anchor="ctr"/>
              <a:lstStyle/>
              <a:p>
                <a:endParaRPr lang="pt-BR"/>
              </a:p>
            </p:txBody>
          </p:sp>
          <p:sp>
            <p:nvSpPr>
              <p:cNvPr id="140" name="Forma Livre: Forma 139">
                <a:extLst>
                  <a:ext uri="{FF2B5EF4-FFF2-40B4-BE49-F238E27FC236}">
                    <a16:creationId xmlns:a16="http://schemas.microsoft.com/office/drawing/2014/main" id="{8ABE8144-BBBB-70C3-2F27-8DA3E23F6D2A}"/>
                  </a:ext>
                </a:extLst>
              </p:cNvPr>
              <p:cNvSpPr/>
              <p:nvPr/>
            </p:nvSpPr>
            <p:spPr>
              <a:xfrm>
                <a:off x="6463231" y="3830578"/>
                <a:ext cx="107274" cy="118987"/>
              </a:xfrm>
              <a:custGeom>
                <a:avLst/>
                <a:gdLst>
                  <a:gd name="connsiteX0" fmla="*/ 100177 w 107274"/>
                  <a:gd name="connsiteY0" fmla="*/ 77195 h 118987"/>
                  <a:gd name="connsiteX1" fmla="*/ 71960 w 107274"/>
                  <a:gd name="connsiteY1" fmla="*/ 72581 h 118987"/>
                  <a:gd name="connsiteX2" fmla="*/ 20674 w 107274"/>
                  <a:gd name="connsiteY2" fmla="*/ 21295 h 118987"/>
                  <a:gd name="connsiteX3" fmla="*/ 15617 w 107274"/>
                  <a:gd name="connsiteY3" fmla="*/ 9139 h 118987"/>
                  <a:gd name="connsiteX4" fmla="*/ 15617 w 107274"/>
                  <a:gd name="connsiteY4" fmla="*/ 0 h 118987"/>
                  <a:gd name="connsiteX5" fmla="*/ 0 w 107274"/>
                  <a:gd name="connsiteY5" fmla="*/ 0 h 118987"/>
                  <a:gd name="connsiteX6" fmla="*/ 0 w 107274"/>
                  <a:gd name="connsiteY6" fmla="*/ 9139 h 118987"/>
                  <a:gd name="connsiteX7" fmla="*/ 9583 w 107274"/>
                  <a:gd name="connsiteY7" fmla="*/ 32298 h 118987"/>
                  <a:gd name="connsiteX8" fmla="*/ 60869 w 107274"/>
                  <a:gd name="connsiteY8" fmla="*/ 83584 h 118987"/>
                  <a:gd name="connsiteX9" fmla="*/ 65483 w 107274"/>
                  <a:gd name="connsiteY9" fmla="*/ 111800 h 118987"/>
                  <a:gd name="connsiteX10" fmla="*/ 82785 w 107274"/>
                  <a:gd name="connsiteY10" fmla="*/ 118987 h 118987"/>
                  <a:gd name="connsiteX11" fmla="*/ 100088 w 107274"/>
                  <a:gd name="connsiteY11" fmla="*/ 111800 h 118987"/>
                  <a:gd name="connsiteX12" fmla="*/ 100088 w 107274"/>
                  <a:gd name="connsiteY12" fmla="*/ 77195 h 118987"/>
                  <a:gd name="connsiteX13" fmla="*/ 89174 w 107274"/>
                  <a:gd name="connsiteY13" fmla="*/ 100798 h 118987"/>
                  <a:gd name="connsiteX14" fmla="*/ 76663 w 107274"/>
                  <a:gd name="connsiteY14" fmla="*/ 100798 h 118987"/>
                  <a:gd name="connsiteX15" fmla="*/ 76663 w 107274"/>
                  <a:gd name="connsiteY15" fmla="*/ 88287 h 118987"/>
                  <a:gd name="connsiteX16" fmla="*/ 82963 w 107274"/>
                  <a:gd name="connsiteY16" fmla="*/ 85714 h 118987"/>
                  <a:gd name="connsiteX17" fmla="*/ 89263 w 107274"/>
                  <a:gd name="connsiteY17" fmla="*/ 88287 h 118987"/>
                  <a:gd name="connsiteX18" fmla="*/ 89263 w 107274"/>
                  <a:gd name="connsiteY18" fmla="*/ 100798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274" h="118987">
                    <a:moveTo>
                      <a:pt x="100177" y="77195"/>
                    </a:moveTo>
                    <a:cubicBezTo>
                      <a:pt x="92546" y="69565"/>
                      <a:pt x="81188" y="68056"/>
                      <a:pt x="71960" y="72581"/>
                    </a:cubicBezTo>
                    <a:lnTo>
                      <a:pt x="20674" y="21295"/>
                    </a:lnTo>
                    <a:cubicBezTo>
                      <a:pt x="17391" y="18012"/>
                      <a:pt x="15617" y="13753"/>
                      <a:pt x="15617" y="9139"/>
                    </a:cubicBezTo>
                    <a:lnTo>
                      <a:pt x="15617" y="0"/>
                    </a:lnTo>
                    <a:lnTo>
                      <a:pt x="0" y="0"/>
                    </a:lnTo>
                    <a:lnTo>
                      <a:pt x="0" y="9139"/>
                    </a:lnTo>
                    <a:cubicBezTo>
                      <a:pt x="0" y="17924"/>
                      <a:pt x="3372" y="26175"/>
                      <a:pt x="9583" y="32298"/>
                    </a:cubicBezTo>
                    <a:lnTo>
                      <a:pt x="60869" y="83584"/>
                    </a:lnTo>
                    <a:cubicBezTo>
                      <a:pt x="56344" y="92723"/>
                      <a:pt x="57852" y="104169"/>
                      <a:pt x="65483" y="111800"/>
                    </a:cubicBezTo>
                    <a:cubicBezTo>
                      <a:pt x="70274" y="116592"/>
                      <a:pt x="76486" y="118987"/>
                      <a:pt x="82785" y="118987"/>
                    </a:cubicBezTo>
                    <a:cubicBezTo>
                      <a:pt x="89085" y="118987"/>
                      <a:pt x="95296" y="116592"/>
                      <a:pt x="100088" y="111800"/>
                    </a:cubicBezTo>
                    <a:cubicBezTo>
                      <a:pt x="109671" y="102217"/>
                      <a:pt x="109671" y="86778"/>
                      <a:pt x="100088" y="77195"/>
                    </a:cubicBezTo>
                    <a:close/>
                    <a:moveTo>
                      <a:pt x="89174" y="100798"/>
                    </a:moveTo>
                    <a:cubicBezTo>
                      <a:pt x="85714" y="104258"/>
                      <a:pt x="80123" y="104258"/>
                      <a:pt x="76663" y="100798"/>
                    </a:cubicBezTo>
                    <a:cubicBezTo>
                      <a:pt x="73203" y="97337"/>
                      <a:pt x="73203" y="91747"/>
                      <a:pt x="76663" y="88287"/>
                    </a:cubicBezTo>
                    <a:cubicBezTo>
                      <a:pt x="78349" y="86601"/>
                      <a:pt x="80656" y="85714"/>
                      <a:pt x="82963" y="85714"/>
                    </a:cubicBezTo>
                    <a:cubicBezTo>
                      <a:pt x="85270" y="85714"/>
                      <a:pt x="87488" y="86601"/>
                      <a:pt x="89263" y="88287"/>
                    </a:cubicBezTo>
                    <a:cubicBezTo>
                      <a:pt x="92723" y="91747"/>
                      <a:pt x="92723" y="97337"/>
                      <a:pt x="89263" y="100798"/>
                    </a:cubicBezTo>
                    <a:close/>
                  </a:path>
                </a:pathLst>
              </a:custGeom>
              <a:solidFill>
                <a:srgbClr val="000532"/>
              </a:solidFill>
              <a:ln w="8731" cap="flat">
                <a:noFill/>
                <a:prstDash val="solid"/>
                <a:miter/>
              </a:ln>
            </p:spPr>
            <p:txBody>
              <a:bodyPr rtlCol="0" anchor="ctr"/>
              <a:lstStyle/>
              <a:p>
                <a:endParaRPr lang="pt-BR"/>
              </a:p>
            </p:txBody>
          </p:sp>
          <p:sp>
            <p:nvSpPr>
              <p:cNvPr id="141" name="Forma Livre: Forma 140">
                <a:extLst>
                  <a:ext uri="{FF2B5EF4-FFF2-40B4-BE49-F238E27FC236}">
                    <a16:creationId xmlns:a16="http://schemas.microsoft.com/office/drawing/2014/main" id="{DFBCDB68-F5CE-57AD-314C-04E44F5F290F}"/>
                  </a:ext>
                </a:extLst>
              </p:cNvPr>
              <p:cNvSpPr/>
              <p:nvPr/>
            </p:nvSpPr>
            <p:spPr>
              <a:xfrm>
                <a:off x="6396594" y="3830578"/>
                <a:ext cx="15616" cy="118987"/>
              </a:xfrm>
              <a:custGeom>
                <a:avLst/>
                <a:gdLst>
                  <a:gd name="connsiteX0" fmla="*/ 0 w 15616"/>
                  <a:gd name="connsiteY0" fmla="*/ 0 h 118987"/>
                  <a:gd name="connsiteX1" fmla="*/ 0 w 15616"/>
                  <a:gd name="connsiteY1" fmla="*/ 111179 h 118987"/>
                  <a:gd name="connsiteX2" fmla="*/ 7808 w 15616"/>
                  <a:gd name="connsiteY2" fmla="*/ 118987 h 118987"/>
                  <a:gd name="connsiteX3" fmla="*/ 15617 w 15616"/>
                  <a:gd name="connsiteY3" fmla="*/ 111179 h 118987"/>
                  <a:gd name="connsiteX4" fmla="*/ 15617 w 15616"/>
                  <a:gd name="connsiteY4" fmla="*/ 0 h 118987"/>
                  <a:gd name="connsiteX5" fmla="*/ 0 w 15616"/>
                  <a:gd name="connsiteY5" fmla="*/ 0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118987">
                    <a:moveTo>
                      <a:pt x="0" y="0"/>
                    </a:moveTo>
                    <a:lnTo>
                      <a:pt x="0" y="111179"/>
                    </a:lnTo>
                    <a:cubicBezTo>
                      <a:pt x="0" y="115527"/>
                      <a:pt x="3460" y="118987"/>
                      <a:pt x="7808" y="118987"/>
                    </a:cubicBezTo>
                    <a:cubicBezTo>
                      <a:pt x="12156" y="118987"/>
                      <a:pt x="15617" y="115527"/>
                      <a:pt x="15617" y="111179"/>
                    </a:cubicBezTo>
                    <a:lnTo>
                      <a:pt x="15617" y="0"/>
                    </a:lnTo>
                    <a:lnTo>
                      <a:pt x="0" y="0"/>
                    </a:lnTo>
                    <a:close/>
                  </a:path>
                </a:pathLst>
              </a:custGeom>
              <a:solidFill>
                <a:srgbClr val="000532"/>
              </a:solidFill>
              <a:ln w="8731" cap="flat">
                <a:noFill/>
                <a:prstDash val="solid"/>
                <a:miter/>
              </a:ln>
            </p:spPr>
            <p:txBody>
              <a:bodyPr rtlCol="0" anchor="ctr"/>
              <a:lstStyle/>
              <a:p>
                <a:endParaRPr lang="pt-BR"/>
              </a:p>
            </p:txBody>
          </p:sp>
          <p:sp>
            <p:nvSpPr>
              <p:cNvPr id="142" name="Forma Livre: Forma 141">
                <a:extLst>
                  <a:ext uri="{FF2B5EF4-FFF2-40B4-BE49-F238E27FC236}">
                    <a16:creationId xmlns:a16="http://schemas.microsoft.com/office/drawing/2014/main" id="{A3232E4D-4577-EEBF-5A7B-A6DEC7BEF017}"/>
                  </a:ext>
                </a:extLst>
              </p:cNvPr>
              <p:cNvSpPr/>
              <p:nvPr/>
            </p:nvSpPr>
            <p:spPr>
              <a:xfrm>
                <a:off x="6313188" y="3830578"/>
                <a:ext cx="48979" cy="102306"/>
              </a:xfrm>
              <a:custGeom>
                <a:avLst/>
                <a:gdLst>
                  <a:gd name="connsiteX0" fmla="*/ 32298 w 48979"/>
                  <a:gd name="connsiteY0" fmla="*/ 54658 h 102306"/>
                  <a:gd name="connsiteX1" fmla="*/ 32298 w 48979"/>
                  <a:gd name="connsiteY1" fmla="*/ 0 h 102306"/>
                  <a:gd name="connsiteX2" fmla="*/ 16681 w 48979"/>
                  <a:gd name="connsiteY2" fmla="*/ 0 h 102306"/>
                  <a:gd name="connsiteX3" fmla="*/ 16681 w 48979"/>
                  <a:gd name="connsiteY3" fmla="*/ 54658 h 102306"/>
                  <a:gd name="connsiteX4" fmla="*/ 0 w 48979"/>
                  <a:gd name="connsiteY4" fmla="*/ 77817 h 102306"/>
                  <a:gd name="connsiteX5" fmla="*/ 24490 w 48979"/>
                  <a:gd name="connsiteY5" fmla="*/ 102306 h 102306"/>
                  <a:gd name="connsiteX6" fmla="*/ 48979 w 48979"/>
                  <a:gd name="connsiteY6" fmla="*/ 77817 h 102306"/>
                  <a:gd name="connsiteX7" fmla="*/ 32298 w 48979"/>
                  <a:gd name="connsiteY7" fmla="*/ 54658 h 102306"/>
                  <a:gd name="connsiteX8" fmla="*/ 24490 w 48979"/>
                  <a:gd name="connsiteY8" fmla="*/ 86690 h 102306"/>
                  <a:gd name="connsiteX9" fmla="*/ 15617 w 48979"/>
                  <a:gd name="connsiteY9" fmla="*/ 77817 h 102306"/>
                  <a:gd name="connsiteX10" fmla="*/ 24490 w 48979"/>
                  <a:gd name="connsiteY10" fmla="*/ 68943 h 102306"/>
                  <a:gd name="connsiteX11" fmla="*/ 33363 w 48979"/>
                  <a:gd name="connsiteY11" fmla="*/ 77817 h 102306"/>
                  <a:gd name="connsiteX12" fmla="*/ 24490 w 48979"/>
                  <a:gd name="connsiteY12" fmla="*/ 86690 h 1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979" h="102306">
                    <a:moveTo>
                      <a:pt x="32298" y="54658"/>
                    </a:moveTo>
                    <a:lnTo>
                      <a:pt x="32298" y="0"/>
                    </a:lnTo>
                    <a:lnTo>
                      <a:pt x="16681" y="0"/>
                    </a:lnTo>
                    <a:lnTo>
                      <a:pt x="16681" y="54658"/>
                    </a:lnTo>
                    <a:cubicBezTo>
                      <a:pt x="7010" y="57941"/>
                      <a:pt x="0" y="67080"/>
                      <a:pt x="0" y="77817"/>
                    </a:cubicBezTo>
                    <a:cubicBezTo>
                      <a:pt x="0" y="91304"/>
                      <a:pt x="11003" y="102306"/>
                      <a:pt x="24490" y="102306"/>
                    </a:cubicBezTo>
                    <a:cubicBezTo>
                      <a:pt x="37977" y="102306"/>
                      <a:pt x="48979" y="91304"/>
                      <a:pt x="48979" y="77817"/>
                    </a:cubicBezTo>
                    <a:cubicBezTo>
                      <a:pt x="48979" y="67080"/>
                      <a:pt x="41969" y="57852"/>
                      <a:pt x="32298" y="54658"/>
                    </a:cubicBezTo>
                    <a:close/>
                    <a:moveTo>
                      <a:pt x="24490" y="86690"/>
                    </a:moveTo>
                    <a:cubicBezTo>
                      <a:pt x="19609" y="86690"/>
                      <a:pt x="15617" y="82697"/>
                      <a:pt x="15617" y="77817"/>
                    </a:cubicBezTo>
                    <a:cubicBezTo>
                      <a:pt x="15617" y="72936"/>
                      <a:pt x="19609" y="68943"/>
                      <a:pt x="24490" y="68943"/>
                    </a:cubicBezTo>
                    <a:cubicBezTo>
                      <a:pt x="29370" y="68943"/>
                      <a:pt x="33363" y="72936"/>
                      <a:pt x="33363" y="77817"/>
                    </a:cubicBezTo>
                    <a:cubicBezTo>
                      <a:pt x="33363" y="82697"/>
                      <a:pt x="29370" y="86690"/>
                      <a:pt x="24490" y="86690"/>
                    </a:cubicBezTo>
                    <a:close/>
                  </a:path>
                </a:pathLst>
              </a:custGeom>
              <a:solidFill>
                <a:srgbClr val="000532"/>
              </a:solidFill>
              <a:ln w="8731" cap="flat">
                <a:noFill/>
                <a:prstDash val="solid"/>
                <a:miter/>
              </a:ln>
            </p:spPr>
            <p:txBody>
              <a:bodyPr rtlCol="0" anchor="ctr"/>
              <a:lstStyle/>
              <a:p>
                <a:endParaRPr lang="pt-BR"/>
              </a:p>
            </p:txBody>
          </p:sp>
          <p:sp>
            <p:nvSpPr>
              <p:cNvPr id="143" name="Forma Livre: Forma 142">
                <a:extLst>
                  <a:ext uri="{FF2B5EF4-FFF2-40B4-BE49-F238E27FC236}">
                    <a16:creationId xmlns:a16="http://schemas.microsoft.com/office/drawing/2014/main" id="{F1CFD5FF-138A-2581-7AD0-FDA110C3F6CD}"/>
                  </a:ext>
                </a:extLst>
              </p:cNvPr>
              <p:cNvSpPr/>
              <p:nvPr/>
            </p:nvSpPr>
            <p:spPr>
              <a:xfrm>
                <a:off x="6446638" y="3433865"/>
                <a:ext cx="48979" cy="102306"/>
              </a:xfrm>
              <a:custGeom>
                <a:avLst/>
                <a:gdLst>
                  <a:gd name="connsiteX0" fmla="*/ 16681 w 48979"/>
                  <a:gd name="connsiteY0" fmla="*/ 47648 h 102306"/>
                  <a:gd name="connsiteX1" fmla="*/ 16681 w 48979"/>
                  <a:gd name="connsiteY1" fmla="*/ 102306 h 102306"/>
                  <a:gd name="connsiteX2" fmla="*/ 32298 w 48979"/>
                  <a:gd name="connsiteY2" fmla="*/ 102306 h 102306"/>
                  <a:gd name="connsiteX3" fmla="*/ 32298 w 48979"/>
                  <a:gd name="connsiteY3" fmla="*/ 47648 h 102306"/>
                  <a:gd name="connsiteX4" fmla="*/ 48979 w 48979"/>
                  <a:gd name="connsiteY4" fmla="*/ 24490 h 102306"/>
                  <a:gd name="connsiteX5" fmla="*/ 24490 w 48979"/>
                  <a:gd name="connsiteY5" fmla="*/ 0 h 102306"/>
                  <a:gd name="connsiteX6" fmla="*/ 0 w 48979"/>
                  <a:gd name="connsiteY6" fmla="*/ 24490 h 102306"/>
                  <a:gd name="connsiteX7" fmla="*/ 16681 w 48979"/>
                  <a:gd name="connsiteY7" fmla="*/ 47648 h 102306"/>
                  <a:gd name="connsiteX8" fmla="*/ 24490 w 48979"/>
                  <a:gd name="connsiteY8" fmla="*/ 15617 h 102306"/>
                  <a:gd name="connsiteX9" fmla="*/ 33363 w 48979"/>
                  <a:gd name="connsiteY9" fmla="*/ 24490 h 102306"/>
                  <a:gd name="connsiteX10" fmla="*/ 24490 w 48979"/>
                  <a:gd name="connsiteY10" fmla="*/ 33363 h 102306"/>
                  <a:gd name="connsiteX11" fmla="*/ 15617 w 48979"/>
                  <a:gd name="connsiteY11" fmla="*/ 24490 h 102306"/>
                  <a:gd name="connsiteX12" fmla="*/ 24490 w 48979"/>
                  <a:gd name="connsiteY12" fmla="*/ 15617 h 1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979" h="102306">
                    <a:moveTo>
                      <a:pt x="16681" y="47648"/>
                    </a:moveTo>
                    <a:lnTo>
                      <a:pt x="16681" y="102306"/>
                    </a:lnTo>
                    <a:lnTo>
                      <a:pt x="32298" y="102306"/>
                    </a:lnTo>
                    <a:lnTo>
                      <a:pt x="32298" y="47648"/>
                    </a:lnTo>
                    <a:cubicBezTo>
                      <a:pt x="41969" y="44365"/>
                      <a:pt x="48979" y="35226"/>
                      <a:pt x="48979" y="24490"/>
                    </a:cubicBezTo>
                    <a:cubicBezTo>
                      <a:pt x="48979" y="11003"/>
                      <a:pt x="37977" y="0"/>
                      <a:pt x="24490" y="0"/>
                    </a:cubicBezTo>
                    <a:cubicBezTo>
                      <a:pt x="11003" y="0"/>
                      <a:pt x="0" y="11003"/>
                      <a:pt x="0" y="24490"/>
                    </a:cubicBezTo>
                    <a:cubicBezTo>
                      <a:pt x="0" y="35226"/>
                      <a:pt x="7010" y="44454"/>
                      <a:pt x="16681" y="47648"/>
                    </a:cubicBezTo>
                    <a:close/>
                    <a:moveTo>
                      <a:pt x="24490" y="15617"/>
                    </a:moveTo>
                    <a:cubicBezTo>
                      <a:pt x="29370" y="15617"/>
                      <a:pt x="33363" y="19609"/>
                      <a:pt x="33363" y="24490"/>
                    </a:cubicBezTo>
                    <a:cubicBezTo>
                      <a:pt x="33363" y="29370"/>
                      <a:pt x="29370" y="33363"/>
                      <a:pt x="24490" y="33363"/>
                    </a:cubicBezTo>
                    <a:cubicBezTo>
                      <a:pt x="19609" y="33363"/>
                      <a:pt x="15617" y="29370"/>
                      <a:pt x="15617" y="24490"/>
                    </a:cubicBezTo>
                    <a:cubicBezTo>
                      <a:pt x="15617" y="19609"/>
                      <a:pt x="19609" y="15617"/>
                      <a:pt x="24490" y="15617"/>
                    </a:cubicBezTo>
                    <a:close/>
                  </a:path>
                </a:pathLst>
              </a:custGeom>
              <a:solidFill>
                <a:srgbClr val="000532"/>
              </a:solidFill>
              <a:ln w="8731" cap="flat">
                <a:noFill/>
                <a:prstDash val="solid"/>
                <a:miter/>
              </a:ln>
            </p:spPr>
            <p:txBody>
              <a:bodyPr rtlCol="0" anchor="ctr"/>
              <a:lstStyle/>
              <a:p>
                <a:endParaRPr lang="pt-BR"/>
              </a:p>
            </p:txBody>
          </p:sp>
          <p:sp>
            <p:nvSpPr>
              <p:cNvPr id="144" name="Forma Livre: Forma 143">
                <a:extLst>
                  <a:ext uri="{FF2B5EF4-FFF2-40B4-BE49-F238E27FC236}">
                    <a16:creationId xmlns:a16="http://schemas.microsoft.com/office/drawing/2014/main" id="{FE1DB643-B039-930D-E63A-F7127BC1A291}"/>
                  </a:ext>
                </a:extLst>
              </p:cNvPr>
              <p:cNvSpPr/>
              <p:nvPr/>
            </p:nvSpPr>
            <p:spPr>
              <a:xfrm>
                <a:off x="6396594" y="3417184"/>
                <a:ext cx="15616" cy="118987"/>
              </a:xfrm>
              <a:custGeom>
                <a:avLst/>
                <a:gdLst>
                  <a:gd name="connsiteX0" fmla="*/ 15617 w 15616"/>
                  <a:gd name="connsiteY0" fmla="*/ 118987 h 118987"/>
                  <a:gd name="connsiteX1" fmla="*/ 15617 w 15616"/>
                  <a:gd name="connsiteY1" fmla="*/ 7808 h 118987"/>
                  <a:gd name="connsiteX2" fmla="*/ 7808 w 15616"/>
                  <a:gd name="connsiteY2" fmla="*/ 0 h 118987"/>
                  <a:gd name="connsiteX3" fmla="*/ 0 w 15616"/>
                  <a:gd name="connsiteY3" fmla="*/ 7808 h 118987"/>
                  <a:gd name="connsiteX4" fmla="*/ 0 w 15616"/>
                  <a:gd name="connsiteY4" fmla="*/ 118987 h 118987"/>
                  <a:gd name="connsiteX5" fmla="*/ 15617 w 15616"/>
                  <a:gd name="connsiteY5" fmla="*/ 118987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118987">
                    <a:moveTo>
                      <a:pt x="15617" y="118987"/>
                    </a:moveTo>
                    <a:lnTo>
                      <a:pt x="15617" y="7808"/>
                    </a:lnTo>
                    <a:cubicBezTo>
                      <a:pt x="15617" y="3460"/>
                      <a:pt x="12156" y="0"/>
                      <a:pt x="7808" y="0"/>
                    </a:cubicBezTo>
                    <a:cubicBezTo>
                      <a:pt x="3460" y="0"/>
                      <a:pt x="0" y="3460"/>
                      <a:pt x="0" y="7808"/>
                    </a:cubicBezTo>
                    <a:lnTo>
                      <a:pt x="0" y="118987"/>
                    </a:lnTo>
                    <a:lnTo>
                      <a:pt x="15617" y="118987"/>
                    </a:lnTo>
                    <a:close/>
                  </a:path>
                </a:pathLst>
              </a:custGeom>
              <a:solidFill>
                <a:srgbClr val="000532"/>
              </a:solidFill>
              <a:ln w="8731" cap="flat">
                <a:noFill/>
                <a:prstDash val="solid"/>
                <a:miter/>
              </a:ln>
            </p:spPr>
            <p:txBody>
              <a:bodyPr rtlCol="0" anchor="ctr"/>
              <a:lstStyle/>
              <a:p>
                <a:endParaRPr lang="pt-BR"/>
              </a:p>
            </p:txBody>
          </p:sp>
          <p:sp>
            <p:nvSpPr>
              <p:cNvPr id="145" name="Forma Livre: Forma 144">
                <a:extLst>
                  <a:ext uri="{FF2B5EF4-FFF2-40B4-BE49-F238E27FC236}">
                    <a16:creationId xmlns:a16="http://schemas.microsoft.com/office/drawing/2014/main" id="{6CBE2CC9-A334-55E9-CBD5-8080834BD9C6}"/>
                  </a:ext>
                </a:extLst>
              </p:cNvPr>
              <p:cNvSpPr/>
              <p:nvPr/>
            </p:nvSpPr>
            <p:spPr>
              <a:xfrm>
                <a:off x="6238299" y="3417183"/>
                <a:ext cx="107274" cy="118987"/>
              </a:xfrm>
              <a:custGeom>
                <a:avLst/>
                <a:gdLst>
                  <a:gd name="connsiteX0" fmla="*/ 91658 w 107274"/>
                  <a:gd name="connsiteY0" fmla="*/ 109848 h 118987"/>
                  <a:gd name="connsiteX1" fmla="*/ 91658 w 107274"/>
                  <a:gd name="connsiteY1" fmla="*/ 118987 h 118987"/>
                  <a:gd name="connsiteX2" fmla="*/ 107275 w 107274"/>
                  <a:gd name="connsiteY2" fmla="*/ 118987 h 118987"/>
                  <a:gd name="connsiteX3" fmla="*/ 107275 w 107274"/>
                  <a:gd name="connsiteY3" fmla="*/ 109848 h 118987"/>
                  <a:gd name="connsiteX4" fmla="*/ 97692 w 107274"/>
                  <a:gd name="connsiteY4" fmla="*/ 86690 h 118987"/>
                  <a:gd name="connsiteX5" fmla="*/ 46406 w 107274"/>
                  <a:gd name="connsiteY5" fmla="*/ 35403 h 118987"/>
                  <a:gd name="connsiteX6" fmla="*/ 41792 w 107274"/>
                  <a:gd name="connsiteY6" fmla="*/ 7187 h 118987"/>
                  <a:gd name="connsiteX7" fmla="*/ 7187 w 107274"/>
                  <a:gd name="connsiteY7" fmla="*/ 7187 h 118987"/>
                  <a:gd name="connsiteX8" fmla="*/ 7187 w 107274"/>
                  <a:gd name="connsiteY8" fmla="*/ 41792 h 118987"/>
                  <a:gd name="connsiteX9" fmla="*/ 24490 w 107274"/>
                  <a:gd name="connsiteY9" fmla="*/ 48979 h 118987"/>
                  <a:gd name="connsiteX10" fmla="*/ 35403 w 107274"/>
                  <a:gd name="connsiteY10" fmla="*/ 46406 h 118987"/>
                  <a:gd name="connsiteX11" fmla="*/ 86690 w 107274"/>
                  <a:gd name="connsiteY11" fmla="*/ 97692 h 118987"/>
                  <a:gd name="connsiteX12" fmla="*/ 91747 w 107274"/>
                  <a:gd name="connsiteY12" fmla="*/ 109848 h 118987"/>
                  <a:gd name="connsiteX13" fmla="*/ 30701 w 107274"/>
                  <a:gd name="connsiteY13" fmla="*/ 30701 h 118987"/>
                  <a:gd name="connsiteX14" fmla="*/ 18190 w 107274"/>
                  <a:gd name="connsiteY14" fmla="*/ 30701 h 118987"/>
                  <a:gd name="connsiteX15" fmla="*/ 18190 w 107274"/>
                  <a:gd name="connsiteY15" fmla="*/ 18190 h 118987"/>
                  <a:gd name="connsiteX16" fmla="*/ 24490 w 107274"/>
                  <a:gd name="connsiteY16" fmla="*/ 15617 h 118987"/>
                  <a:gd name="connsiteX17" fmla="*/ 30789 w 107274"/>
                  <a:gd name="connsiteY17" fmla="*/ 18190 h 118987"/>
                  <a:gd name="connsiteX18" fmla="*/ 30789 w 107274"/>
                  <a:gd name="connsiteY18" fmla="*/ 30701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274" h="118987">
                    <a:moveTo>
                      <a:pt x="91658" y="109848"/>
                    </a:moveTo>
                    <a:lnTo>
                      <a:pt x="91658" y="118987"/>
                    </a:lnTo>
                    <a:lnTo>
                      <a:pt x="107275" y="118987"/>
                    </a:lnTo>
                    <a:lnTo>
                      <a:pt x="107275" y="109848"/>
                    </a:lnTo>
                    <a:cubicBezTo>
                      <a:pt x="107275" y="101064"/>
                      <a:pt x="103903" y="92812"/>
                      <a:pt x="97692" y="86690"/>
                    </a:cubicBezTo>
                    <a:lnTo>
                      <a:pt x="46406" y="35403"/>
                    </a:lnTo>
                    <a:cubicBezTo>
                      <a:pt x="50931" y="26264"/>
                      <a:pt x="49423" y="14818"/>
                      <a:pt x="41792" y="7187"/>
                    </a:cubicBezTo>
                    <a:cubicBezTo>
                      <a:pt x="32209" y="-2396"/>
                      <a:pt x="16770" y="-2396"/>
                      <a:pt x="7187" y="7187"/>
                    </a:cubicBezTo>
                    <a:cubicBezTo>
                      <a:pt x="-2396" y="16770"/>
                      <a:pt x="-2396" y="32209"/>
                      <a:pt x="7187" y="41792"/>
                    </a:cubicBezTo>
                    <a:cubicBezTo>
                      <a:pt x="11979" y="46583"/>
                      <a:pt x="18190" y="48979"/>
                      <a:pt x="24490" y="48979"/>
                    </a:cubicBezTo>
                    <a:cubicBezTo>
                      <a:pt x="28216" y="48979"/>
                      <a:pt x="31943" y="48092"/>
                      <a:pt x="35403" y="46406"/>
                    </a:cubicBezTo>
                    <a:lnTo>
                      <a:pt x="86690" y="97692"/>
                    </a:lnTo>
                    <a:cubicBezTo>
                      <a:pt x="89973" y="100975"/>
                      <a:pt x="91747" y="105234"/>
                      <a:pt x="91747" y="109848"/>
                    </a:cubicBezTo>
                    <a:close/>
                    <a:moveTo>
                      <a:pt x="30701" y="30701"/>
                    </a:moveTo>
                    <a:cubicBezTo>
                      <a:pt x="27240" y="34161"/>
                      <a:pt x="21650" y="34161"/>
                      <a:pt x="18190" y="30701"/>
                    </a:cubicBezTo>
                    <a:cubicBezTo>
                      <a:pt x="14729" y="27240"/>
                      <a:pt x="14729" y="21650"/>
                      <a:pt x="18190" y="18190"/>
                    </a:cubicBezTo>
                    <a:cubicBezTo>
                      <a:pt x="19876" y="16504"/>
                      <a:pt x="22183" y="15617"/>
                      <a:pt x="24490" y="15617"/>
                    </a:cubicBezTo>
                    <a:cubicBezTo>
                      <a:pt x="26797" y="15617"/>
                      <a:pt x="29015" y="16504"/>
                      <a:pt x="30789" y="18190"/>
                    </a:cubicBezTo>
                    <a:cubicBezTo>
                      <a:pt x="34250" y="21650"/>
                      <a:pt x="34250" y="27240"/>
                      <a:pt x="30789" y="30701"/>
                    </a:cubicBezTo>
                    <a:close/>
                  </a:path>
                </a:pathLst>
              </a:custGeom>
              <a:solidFill>
                <a:srgbClr val="000532"/>
              </a:solidFill>
              <a:ln w="8731" cap="flat">
                <a:noFill/>
                <a:prstDash val="solid"/>
                <a:miter/>
              </a:ln>
            </p:spPr>
            <p:txBody>
              <a:bodyPr rtlCol="0" anchor="ctr"/>
              <a:lstStyle/>
              <a:p>
                <a:endParaRPr lang="pt-BR"/>
              </a:p>
            </p:txBody>
          </p:sp>
          <p:sp>
            <p:nvSpPr>
              <p:cNvPr id="146" name="Forma Livre: Forma 145">
                <a:extLst>
                  <a:ext uri="{FF2B5EF4-FFF2-40B4-BE49-F238E27FC236}">
                    <a16:creationId xmlns:a16="http://schemas.microsoft.com/office/drawing/2014/main" id="{348B65C7-66C0-0DA3-8AC3-6CA6E8ECDC6F}"/>
                  </a:ext>
                </a:extLst>
              </p:cNvPr>
              <p:cNvSpPr/>
              <p:nvPr/>
            </p:nvSpPr>
            <p:spPr>
              <a:xfrm>
                <a:off x="6138212" y="3742203"/>
                <a:ext cx="120850" cy="107363"/>
              </a:xfrm>
              <a:custGeom>
                <a:avLst/>
                <a:gdLst>
                  <a:gd name="connsiteX0" fmla="*/ 120851 w 120850"/>
                  <a:gd name="connsiteY0" fmla="*/ 89 h 107363"/>
                  <a:gd name="connsiteX1" fmla="*/ 109848 w 120850"/>
                  <a:gd name="connsiteY1" fmla="*/ 89 h 107363"/>
                  <a:gd name="connsiteX2" fmla="*/ 86690 w 120850"/>
                  <a:gd name="connsiteY2" fmla="*/ 9672 h 107363"/>
                  <a:gd name="connsiteX3" fmla="*/ 35403 w 120850"/>
                  <a:gd name="connsiteY3" fmla="*/ 60958 h 107363"/>
                  <a:gd name="connsiteX4" fmla="*/ 24490 w 120850"/>
                  <a:gd name="connsiteY4" fmla="*/ 58385 h 107363"/>
                  <a:gd name="connsiteX5" fmla="*/ 7187 w 120850"/>
                  <a:gd name="connsiteY5" fmla="*/ 65572 h 107363"/>
                  <a:gd name="connsiteX6" fmla="*/ 0 w 120850"/>
                  <a:gd name="connsiteY6" fmla="*/ 82874 h 107363"/>
                  <a:gd name="connsiteX7" fmla="*/ 7187 w 120850"/>
                  <a:gd name="connsiteY7" fmla="*/ 100177 h 107363"/>
                  <a:gd name="connsiteX8" fmla="*/ 24490 w 120850"/>
                  <a:gd name="connsiteY8" fmla="*/ 107364 h 107363"/>
                  <a:gd name="connsiteX9" fmla="*/ 41792 w 120850"/>
                  <a:gd name="connsiteY9" fmla="*/ 100177 h 107363"/>
                  <a:gd name="connsiteX10" fmla="*/ 48979 w 120850"/>
                  <a:gd name="connsiteY10" fmla="*/ 82874 h 107363"/>
                  <a:gd name="connsiteX11" fmla="*/ 46406 w 120850"/>
                  <a:gd name="connsiteY11" fmla="*/ 71960 h 107363"/>
                  <a:gd name="connsiteX12" fmla="*/ 97692 w 120850"/>
                  <a:gd name="connsiteY12" fmla="*/ 20674 h 107363"/>
                  <a:gd name="connsiteX13" fmla="*/ 109848 w 120850"/>
                  <a:gd name="connsiteY13" fmla="*/ 15617 h 107363"/>
                  <a:gd name="connsiteX14" fmla="*/ 120851 w 120850"/>
                  <a:gd name="connsiteY14" fmla="*/ 15617 h 107363"/>
                  <a:gd name="connsiteX15" fmla="*/ 120851 w 120850"/>
                  <a:gd name="connsiteY15" fmla="*/ 0 h 107363"/>
                  <a:gd name="connsiteX16" fmla="*/ 30701 w 120850"/>
                  <a:gd name="connsiteY16" fmla="*/ 89174 h 107363"/>
                  <a:gd name="connsiteX17" fmla="*/ 24401 w 120850"/>
                  <a:gd name="connsiteY17" fmla="*/ 91747 h 107363"/>
                  <a:gd name="connsiteX18" fmla="*/ 18101 w 120850"/>
                  <a:gd name="connsiteY18" fmla="*/ 89174 h 107363"/>
                  <a:gd name="connsiteX19" fmla="*/ 15528 w 120850"/>
                  <a:gd name="connsiteY19" fmla="*/ 82874 h 107363"/>
                  <a:gd name="connsiteX20" fmla="*/ 18101 w 120850"/>
                  <a:gd name="connsiteY20" fmla="*/ 76574 h 107363"/>
                  <a:gd name="connsiteX21" fmla="*/ 24401 w 120850"/>
                  <a:gd name="connsiteY21" fmla="*/ 74001 h 107363"/>
                  <a:gd name="connsiteX22" fmla="*/ 30701 w 120850"/>
                  <a:gd name="connsiteY22" fmla="*/ 76574 h 107363"/>
                  <a:gd name="connsiteX23" fmla="*/ 33274 w 120850"/>
                  <a:gd name="connsiteY23" fmla="*/ 82874 h 107363"/>
                  <a:gd name="connsiteX24" fmla="*/ 30701 w 120850"/>
                  <a:gd name="connsiteY24" fmla="*/ 89174 h 1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0850" h="107363">
                    <a:moveTo>
                      <a:pt x="120851" y="89"/>
                    </a:moveTo>
                    <a:lnTo>
                      <a:pt x="109848" y="89"/>
                    </a:lnTo>
                    <a:cubicBezTo>
                      <a:pt x="101064" y="89"/>
                      <a:pt x="92812" y="3460"/>
                      <a:pt x="86690" y="9672"/>
                    </a:cubicBezTo>
                    <a:lnTo>
                      <a:pt x="35403" y="60958"/>
                    </a:lnTo>
                    <a:cubicBezTo>
                      <a:pt x="32032" y="59272"/>
                      <a:pt x="28394" y="58385"/>
                      <a:pt x="24490" y="58385"/>
                    </a:cubicBezTo>
                    <a:cubicBezTo>
                      <a:pt x="17924" y="58385"/>
                      <a:pt x="11801" y="60958"/>
                      <a:pt x="7187" y="65572"/>
                    </a:cubicBezTo>
                    <a:cubicBezTo>
                      <a:pt x="2573" y="70186"/>
                      <a:pt x="0" y="76308"/>
                      <a:pt x="0" y="82874"/>
                    </a:cubicBezTo>
                    <a:cubicBezTo>
                      <a:pt x="0" y="89440"/>
                      <a:pt x="2573" y="95563"/>
                      <a:pt x="7187" y="100177"/>
                    </a:cubicBezTo>
                    <a:cubicBezTo>
                      <a:pt x="11801" y="104791"/>
                      <a:pt x="17924" y="107364"/>
                      <a:pt x="24490" y="107364"/>
                    </a:cubicBezTo>
                    <a:cubicBezTo>
                      <a:pt x="31056" y="107364"/>
                      <a:pt x="37178" y="104791"/>
                      <a:pt x="41792" y="100177"/>
                    </a:cubicBezTo>
                    <a:cubicBezTo>
                      <a:pt x="46406" y="95563"/>
                      <a:pt x="48979" y="89440"/>
                      <a:pt x="48979" y="82874"/>
                    </a:cubicBezTo>
                    <a:cubicBezTo>
                      <a:pt x="48979" y="79059"/>
                      <a:pt x="48092" y="75332"/>
                      <a:pt x="46406" y="71960"/>
                    </a:cubicBezTo>
                    <a:lnTo>
                      <a:pt x="97692" y="20674"/>
                    </a:lnTo>
                    <a:cubicBezTo>
                      <a:pt x="100975" y="17391"/>
                      <a:pt x="105234" y="15617"/>
                      <a:pt x="109848" y="15617"/>
                    </a:cubicBezTo>
                    <a:lnTo>
                      <a:pt x="120851" y="15617"/>
                    </a:lnTo>
                    <a:lnTo>
                      <a:pt x="120851" y="0"/>
                    </a:lnTo>
                    <a:close/>
                    <a:moveTo>
                      <a:pt x="30701" y="89174"/>
                    </a:moveTo>
                    <a:cubicBezTo>
                      <a:pt x="29015" y="90860"/>
                      <a:pt x="26797" y="91747"/>
                      <a:pt x="24401" y="91747"/>
                    </a:cubicBezTo>
                    <a:cubicBezTo>
                      <a:pt x="22005" y="91747"/>
                      <a:pt x="19787" y="90860"/>
                      <a:pt x="18101" y="89174"/>
                    </a:cubicBezTo>
                    <a:cubicBezTo>
                      <a:pt x="16415" y="87488"/>
                      <a:pt x="15528" y="85270"/>
                      <a:pt x="15528" y="82874"/>
                    </a:cubicBezTo>
                    <a:cubicBezTo>
                      <a:pt x="15528" y="80478"/>
                      <a:pt x="16415" y="78260"/>
                      <a:pt x="18101" y="76574"/>
                    </a:cubicBezTo>
                    <a:cubicBezTo>
                      <a:pt x="19787" y="74888"/>
                      <a:pt x="22005" y="74001"/>
                      <a:pt x="24401" y="74001"/>
                    </a:cubicBezTo>
                    <a:cubicBezTo>
                      <a:pt x="26797" y="74001"/>
                      <a:pt x="29015" y="74888"/>
                      <a:pt x="30701" y="76574"/>
                    </a:cubicBezTo>
                    <a:cubicBezTo>
                      <a:pt x="32387" y="78260"/>
                      <a:pt x="33274" y="80478"/>
                      <a:pt x="33274" y="82874"/>
                    </a:cubicBezTo>
                    <a:cubicBezTo>
                      <a:pt x="33274" y="85270"/>
                      <a:pt x="32387" y="87488"/>
                      <a:pt x="30701" y="89174"/>
                    </a:cubicBezTo>
                    <a:close/>
                  </a:path>
                </a:pathLst>
              </a:custGeom>
              <a:solidFill>
                <a:srgbClr val="000532"/>
              </a:solidFill>
              <a:ln w="8731" cap="flat">
                <a:noFill/>
                <a:prstDash val="solid"/>
                <a:miter/>
              </a:ln>
            </p:spPr>
            <p:txBody>
              <a:bodyPr rtlCol="0" anchor="ctr"/>
              <a:lstStyle/>
              <a:p>
                <a:endParaRPr lang="pt-BR"/>
              </a:p>
            </p:txBody>
          </p:sp>
          <p:sp>
            <p:nvSpPr>
              <p:cNvPr id="147" name="Forma Livre: Forma 146">
                <a:extLst>
                  <a:ext uri="{FF2B5EF4-FFF2-40B4-BE49-F238E27FC236}">
                    <a16:creationId xmlns:a16="http://schemas.microsoft.com/office/drawing/2014/main" id="{A837298D-CCA3-DAFE-0F53-0D7C763542EC}"/>
                  </a:ext>
                </a:extLst>
              </p:cNvPr>
              <p:cNvSpPr/>
              <p:nvPr/>
            </p:nvSpPr>
            <p:spPr>
              <a:xfrm>
                <a:off x="6154893" y="3592160"/>
                <a:ext cx="104169" cy="48979"/>
              </a:xfrm>
              <a:custGeom>
                <a:avLst/>
                <a:gdLst>
                  <a:gd name="connsiteX0" fmla="*/ 24490 w 104169"/>
                  <a:gd name="connsiteY0" fmla="*/ 48979 h 48979"/>
                  <a:gd name="connsiteX1" fmla="*/ 47648 w 104169"/>
                  <a:gd name="connsiteY1" fmla="*/ 32298 h 48979"/>
                  <a:gd name="connsiteX2" fmla="*/ 104169 w 104169"/>
                  <a:gd name="connsiteY2" fmla="*/ 32298 h 48979"/>
                  <a:gd name="connsiteX3" fmla="*/ 104169 w 104169"/>
                  <a:gd name="connsiteY3" fmla="*/ 16681 h 48979"/>
                  <a:gd name="connsiteX4" fmla="*/ 47648 w 104169"/>
                  <a:gd name="connsiteY4" fmla="*/ 16681 h 48979"/>
                  <a:gd name="connsiteX5" fmla="*/ 24490 w 104169"/>
                  <a:gd name="connsiteY5" fmla="*/ 0 h 48979"/>
                  <a:gd name="connsiteX6" fmla="*/ 0 w 104169"/>
                  <a:gd name="connsiteY6" fmla="*/ 24490 h 48979"/>
                  <a:gd name="connsiteX7" fmla="*/ 24490 w 104169"/>
                  <a:gd name="connsiteY7" fmla="*/ 48979 h 48979"/>
                  <a:gd name="connsiteX8" fmla="*/ 24490 w 104169"/>
                  <a:gd name="connsiteY8" fmla="*/ 15617 h 48979"/>
                  <a:gd name="connsiteX9" fmla="*/ 33363 w 104169"/>
                  <a:gd name="connsiteY9" fmla="*/ 24490 h 48979"/>
                  <a:gd name="connsiteX10" fmla="*/ 24490 w 104169"/>
                  <a:gd name="connsiteY10" fmla="*/ 33363 h 48979"/>
                  <a:gd name="connsiteX11" fmla="*/ 15617 w 104169"/>
                  <a:gd name="connsiteY11" fmla="*/ 24490 h 48979"/>
                  <a:gd name="connsiteX12" fmla="*/ 24490 w 104169"/>
                  <a:gd name="connsiteY12" fmla="*/ 15617 h 4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169" h="48979">
                    <a:moveTo>
                      <a:pt x="24490" y="48979"/>
                    </a:moveTo>
                    <a:cubicBezTo>
                      <a:pt x="35226" y="48979"/>
                      <a:pt x="44454" y="41969"/>
                      <a:pt x="47648" y="32298"/>
                    </a:cubicBezTo>
                    <a:lnTo>
                      <a:pt x="104169" y="32298"/>
                    </a:lnTo>
                    <a:lnTo>
                      <a:pt x="104169" y="16681"/>
                    </a:lnTo>
                    <a:lnTo>
                      <a:pt x="47648" y="16681"/>
                    </a:lnTo>
                    <a:cubicBezTo>
                      <a:pt x="44365" y="7010"/>
                      <a:pt x="35226" y="0"/>
                      <a:pt x="24490" y="0"/>
                    </a:cubicBezTo>
                    <a:cubicBezTo>
                      <a:pt x="11003" y="0"/>
                      <a:pt x="0" y="11003"/>
                      <a:pt x="0" y="24490"/>
                    </a:cubicBezTo>
                    <a:cubicBezTo>
                      <a:pt x="0" y="37977"/>
                      <a:pt x="11003" y="48979"/>
                      <a:pt x="24490" y="48979"/>
                    </a:cubicBezTo>
                    <a:close/>
                    <a:moveTo>
                      <a:pt x="24490" y="15617"/>
                    </a:moveTo>
                    <a:cubicBezTo>
                      <a:pt x="29370" y="15617"/>
                      <a:pt x="33363" y="19609"/>
                      <a:pt x="33363" y="24490"/>
                    </a:cubicBezTo>
                    <a:cubicBezTo>
                      <a:pt x="33363" y="29370"/>
                      <a:pt x="29370" y="33363"/>
                      <a:pt x="24490" y="33363"/>
                    </a:cubicBezTo>
                    <a:cubicBezTo>
                      <a:pt x="19609" y="33363"/>
                      <a:pt x="15617" y="29370"/>
                      <a:pt x="15617" y="24490"/>
                    </a:cubicBezTo>
                    <a:cubicBezTo>
                      <a:pt x="15617" y="19609"/>
                      <a:pt x="19609" y="15617"/>
                      <a:pt x="24490" y="15617"/>
                    </a:cubicBezTo>
                    <a:close/>
                  </a:path>
                </a:pathLst>
              </a:custGeom>
              <a:solidFill>
                <a:srgbClr val="000532"/>
              </a:solidFill>
              <a:ln w="8731" cap="flat">
                <a:noFill/>
                <a:prstDash val="solid"/>
                <a:miter/>
              </a:ln>
            </p:spPr>
            <p:txBody>
              <a:bodyPr rtlCol="0" anchor="ctr"/>
              <a:lstStyle/>
              <a:p>
                <a:endParaRPr lang="pt-BR"/>
              </a:p>
            </p:txBody>
          </p:sp>
          <p:sp>
            <p:nvSpPr>
              <p:cNvPr id="148" name="Forma Livre: Forma 147">
                <a:extLst>
                  <a:ext uri="{FF2B5EF4-FFF2-40B4-BE49-F238E27FC236}">
                    <a16:creationId xmlns:a16="http://schemas.microsoft.com/office/drawing/2014/main" id="{9CFAE2F7-16C7-6E9E-98E2-E7F6D44D81A5}"/>
                  </a:ext>
                </a:extLst>
              </p:cNvPr>
              <p:cNvSpPr/>
              <p:nvPr/>
            </p:nvSpPr>
            <p:spPr>
              <a:xfrm>
                <a:off x="6138212" y="3675566"/>
                <a:ext cx="120850" cy="15616"/>
              </a:xfrm>
              <a:custGeom>
                <a:avLst/>
                <a:gdLst>
                  <a:gd name="connsiteX0" fmla="*/ 7808 w 120850"/>
                  <a:gd name="connsiteY0" fmla="*/ 15617 h 15616"/>
                  <a:gd name="connsiteX1" fmla="*/ 120851 w 120850"/>
                  <a:gd name="connsiteY1" fmla="*/ 15617 h 15616"/>
                  <a:gd name="connsiteX2" fmla="*/ 120851 w 120850"/>
                  <a:gd name="connsiteY2" fmla="*/ 0 h 15616"/>
                  <a:gd name="connsiteX3" fmla="*/ 7808 w 120850"/>
                  <a:gd name="connsiteY3" fmla="*/ 0 h 15616"/>
                  <a:gd name="connsiteX4" fmla="*/ 0 w 120850"/>
                  <a:gd name="connsiteY4" fmla="*/ 7808 h 15616"/>
                  <a:gd name="connsiteX5" fmla="*/ 7808 w 120850"/>
                  <a:gd name="connsiteY5" fmla="*/ 15617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850" h="15616">
                    <a:moveTo>
                      <a:pt x="7808" y="15617"/>
                    </a:moveTo>
                    <a:lnTo>
                      <a:pt x="120851" y="15617"/>
                    </a:lnTo>
                    <a:lnTo>
                      <a:pt x="120851" y="0"/>
                    </a:lnTo>
                    <a:lnTo>
                      <a:pt x="7808" y="0"/>
                    </a:lnTo>
                    <a:cubicBezTo>
                      <a:pt x="3460" y="0"/>
                      <a:pt x="0" y="3460"/>
                      <a:pt x="0" y="7808"/>
                    </a:cubicBezTo>
                    <a:cubicBezTo>
                      <a:pt x="0" y="12156"/>
                      <a:pt x="3460" y="15617"/>
                      <a:pt x="7808" y="15617"/>
                    </a:cubicBezTo>
                    <a:close/>
                  </a:path>
                </a:pathLst>
              </a:custGeom>
              <a:solidFill>
                <a:srgbClr val="000532"/>
              </a:solidFill>
              <a:ln w="8731" cap="flat">
                <a:noFill/>
                <a:prstDash val="solid"/>
                <a:miter/>
              </a:ln>
            </p:spPr>
            <p:txBody>
              <a:bodyPr rtlCol="0" anchor="ctr"/>
              <a:lstStyle/>
              <a:p>
                <a:endParaRPr lang="pt-BR"/>
              </a:p>
            </p:txBody>
          </p:sp>
        </p:grpSp>
        <p:grpSp>
          <p:nvGrpSpPr>
            <p:cNvPr id="89" name="Agrupar 88">
              <a:extLst>
                <a:ext uri="{FF2B5EF4-FFF2-40B4-BE49-F238E27FC236}">
                  <a16:creationId xmlns:a16="http://schemas.microsoft.com/office/drawing/2014/main" id="{5273604E-8504-9D4A-C00A-35A85BC0D1EE}"/>
                </a:ext>
              </a:extLst>
            </p:cNvPr>
            <p:cNvGrpSpPr/>
            <p:nvPr/>
          </p:nvGrpSpPr>
          <p:grpSpPr>
            <a:xfrm>
              <a:off x="4321684" y="5774089"/>
              <a:ext cx="808992" cy="808992"/>
              <a:chOff x="4321684" y="5774089"/>
              <a:chExt cx="808992" cy="808992"/>
            </a:xfrm>
          </p:grpSpPr>
          <p:sp>
            <p:nvSpPr>
              <p:cNvPr id="25" name="Oval 11">
                <a:extLst>
                  <a:ext uri="{FF2B5EF4-FFF2-40B4-BE49-F238E27FC236}">
                    <a16:creationId xmlns:a16="http://schemas.microsoft.com/office/drawing/2014/main" id="{C19847E3-BF73-1401-CA0B-AB818F69C73F}"/>
                  </a:ext>
                </a:extLst>
              </p:cNvPr>
              <p:cNvSpPr/>
              <p:nvPr/>
            </p:nvSpPr>
            <p:spPr>
              <a:xfrm>
                <a:off x="4321684" y="5774089"/>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93" name="Forma Livre: Forma 92">
                <a:extLst>
                  <a:ext uri="{FF2B5EF4-FFF2-40B4-BE49-F238E27FC236}">
                    <a16:creationId xmlns:a16="http://schemas.microsoft.com/office/drawing/2014/main" id="{07E819D4-B520-A821-9687-96AD811CE8F7}"/>
                  </a:ext>
                </a:extLst>
              </p:cNvPr>
              <p:cNvSpPr/>
              <p:nvPr/>
            </p:nvSpPr>
            <p:spPr>
              <a:xfrm>
                <a:off x="4727496" y="5970898"/>
                <a:ext cx="163155" cy="155491"/>
              </a:xfrm>
              <a:custGeom>
                <a:avLst/>
                <a:gdLst>
                  <a:gd name="connsiteX0" fmla="*/ 128294 w 163155"/>
                  <a:gd name="connsiteY0" fmla="*/ 155491 h 155491"/>
                  <a:gd name="connsiteX1" fmla="*/ 125514 w 163155"/>
                  <a:gd name="connsiteY1" fmla="*/ 154796 h 155491"/>
                  <a:gd name="connsiteX2" fmla="*/ 81578 w 163155"/>
                  <a:gd name="connsiteY2" fmla="*/ 131708 h 155491"/>
                  <a:gd name="connsiteX3" fmla="*/ 37641 w 163155"/>
                  <a:gd name="connsiteY3" fmla="*/ 154796 h 155491"/>
                  <a:gd name="connsiteX4" fmla="*/ 31339 w 163155"/>
                  <a:gd name="connsiteY4" fmla="*/ 154341 h 155491"/>
                  <a:gd name="connsiteX5" fmla="*/ 28955 w 163155"/>
                  <a:gd name="connsiteY5" fmla="*/ 148482 h 155491"/>
                  <a:gd name="connsiteX6" fmla="*/ 37354 w 163155"/>
                  <a:gd name="connsiteY6" fmla="*/ 99561 h 155491"/>
                  <a:gd name="connsiteX7" fmla="*/ 1816 w 163155"/>
                  <a:gd name="connsiteY7" fmla="*/ 64922 h 155491"/>
                  <a:gd name="connsiteX8" fmla="*/ 295 w 163155"/>
                  <a:gd name="connsiteY8" fmla="*/ 58788 h 155491"/>
                  <a:gd name="connsiteX9" fmla="*/ 5123 w 163155"/>
                  <a:gd name="connsiteY9" fmla="*/ 54714 h 155491"/>
                  <a:gd name="connsiteX10" fmla="*/ 54248 w 163155"/>
                  <a:gd name="connsiteY10" fmla="*/ 47573 h 155491"/>
                  <a:gd name="connsiteX11" fmla="*/ 76210 w 163155"/>
                  <a:gd name="connsiteY11" fmla="*/ 3073 h 155491"/>
                  <a:gd name="connsiteX12" fmla="*/ 86946 w 163155"/>
                  <a:gd name="connsiteY12" fmla="*/ 3073 h 155491"/>
                  <a:gd name="connsiteX13" fmla="*/ 108908 w 163155"/>
                  <a:gd name="connsiteY13" fmla="*/ 47573 h 155491"/>
                  <a:gd name="connsiteX14" fmla="*/ 158032 w 163155"/>
                  <a:gd name="connsiteY14" fmla="*/ 54714 h 155491"/>
                  <a:gd name="connsiteX15" fmla="*/ 162861 w 163155"/>
                  <a:gd name="connsiteY15" fmla="*/ 58788 h 155491"/>
                  <a:gd name="connsiteX16" fmla="*/ 161339 w 163155"/>
                  <a:gd name="connsiteY16" fmla="*/ 64922 h 155491"/>
                  <a:gd name="connsiteX17" fmla="*/ 125802 w 163155"/>
                  <a:gd name="connsiteY17" fmla="*/ 99561 h 155491"/>
                  <a:gd name="connsiteX18" fmla="*/ 134201 w 163155"/>
                  <a:gd name="connsiteY18" fmla="*/ 148482 h 155491"/>
                  <a:gd name="connsiteX19" fmla="*/ 131817 w 163155"/>
                  <a:gd name="connsiteY19" fmla="*/ 154341 h 155491"/>
                  <a:gd name="connsiteX20" fmla="*/ 128294 w 163155"/>
                  <a:gd name="connsiteY20" fmla="*/ 155491 h 155491"/>
                  <a:gd name="connsiteX21" fmla="*/ 81578 w 163155"/>
                  <a:gd name="connsiteY21" fmla="*/ 118947 h 155491"/>
                  <a:gd name="connsiteX22" fmla="*/ 84358 w 163155"/>
                  <a:gd name="connsiteY22" fmla="*/ 119642 h 155491"/>
                  <a:gd name="connsiteX23" fmla="*/ 120338 w 163155"/>
                  <a:gd name="connsiteY23" fmla="*/ 138549 h 155491"/>
                  <a:gd name="connsiteX24" fmla="*/ 113461 w 163155"/>
                  <a:gd name="connsiteY24" fmla="*/ 98495 h 155491"/>
                  <a:gd name="connsiteX25" fmla="*/ 115198 w 163155"/>
                  <a:gd name="connsiteY25" fmla="*/ 93199 h 155491"/>
                  <a:gd name="connsiteX26" fmla="*/ 144302 w 163155"/>
                  <a:gd name="connsiteY26" fmla="*/ 64826 h 155491"/>
                  <a:gd name="connsiteX27" fmla="*/ 104079 w 163155"/>
                  <a:gd name="connsiteY27" fmla="*/ 58979 h 155491"/>
                  <a:gd name="connsiteX28" fmla="*/ 99574 w 163155"/>
                  <a:gd name="connsiteY28" fmla="*/ 55708 h 155491"/>
                  <a:gd name="connsiteX29" fmla="*/ 81578 w 163155"/>
                  <a:gd name="connsiteY29" fmla="*/ 19260 h 155491"/>
                  <a:gd name="connsiteX30" fmla="*/ 63593 w 163155"/>
                  <a:gd name="connsiteY30" fmla="*/ 55708 h 155491"/>
                  <a:gd name="connsiteX31" fmla="*/ 59088 w 163155"/>
                  <a:gd name="connsiteY31" fmla="*/ 58979 h 155491"/>
                  <a:gd name="connsiteX32" fmla="*/ 18866 w 163155"/>
                  <a:gd name="connsiteY32" fmla="*/ 64826 h 155491"/>
                  <a:gd name="connsiteX33" fmla="*/ 47958 w 163155"/>
                  <a:gd name="connsiteY33" fmla="*/ 93187 h 155491"/>
                  <a:gd name="connsiteX34" fmla="*/ 49695 w 163155"/>
                  <a:gd name="connsiteY34" fmla="*/ 98483 h 155491"/>
                  <a:gd name="connsiteX35" fmla="*/ 42817 w 163155"/>
                  <a:gd name="connsiteY35" fmla="*/ 138537 h 155491"/>
                  <a:gd name="connsiteX36" fmla="*/ 78798 w 163155"/>
                  <a:gd name="connsiteY36" fmla="*/ 119630 h 155491"/>
                  <a:gd name="connsiteX37" fmla="*/ 81578 w 163155"/>
                  <a:gd name="connsiteY37" fmla="*/ 118947 h 15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3155" h="155491">
                    <a:moveTo>
                      <a:pt x="128294" y="155491"/>
                    </a:moveTo>
                    <a:cubicBezTo>
                      <a:pt x="127336" y="155491"/>
                      <a:pt x="126389" y="155263"/>
                      <a:pt x="125514" y="154796"/>
                    </a:cubicBezTo>
                    <a:lnTo>
                      <a:pt x="81578" y="131708"/>
                    </a:lnTo>
                    <a:lnTo>
                      <a:pt x="37641" y="154796"/>
                    </a:lnTo>
                    <a:cubicBezTo>
                      <a:pt x="35628" y="155851"/>
                      <a:pt x="33184" y="155695"/>
                      <a:pt x="31339" y="154341"/>
                    </a:cubicBezTo>
                    <a:cubicBezTo>
                      <a:pt x="29494" y="152999"/>
                      <a:pt x="28571" y="150734"/>
                      <a:pt x="28955" y="148482"/>
                    </a:cubicBezTo>
                    <a:lnTo>
                      <a:pt x="37354" y="99561"/>
                    </a:lnTo>
                    <a:lnTo>
                      <a:pt x="1816" y="64922"/>
                    </a:lnTo>
                    <a:cubicBezTo>
                      <a:pt x="175" y="63329"/>
                      <a:pt x="-412" y="60944"/>
                      <a:pt x="295" y="58788"/>
                    </a:cubicBezTo>
                    <a:cubicBezTo>
                      <a:pt x="1002" y="56619"/>
                      <a:pt x="2883" y="55037"/>
                      <a:pt x="5123" y="54714"/>
                    </a:cubicBezTo>
                    <a:lnTo>
                      <a:pt x="54248" y="47573"/>
                    </a:lnTo>
                    <a:lnTo>
                      <a:pt x="76210" y="3073"/>
                    </a:lnTo>
                    <a:cubicBezTo>
                      <a:pt x="78223" y="-1024"/>
                      <a:pt x="84945" y="-1024"/>
                      <a:pt x="86946" y="3073"/>
                    </a:cubicBezTo>
                    <a:lnTo>
                      <a:pt x="108908" y="47573"/>
                    </a:lnTo>
                    <a:lnTo>
                      <a:pt x="158032" y="54714"/>
                    </a:lnTo>
                    <a:cubicBezTo>
                      <a:pt x="160285" y="55037"/>
                      <a:pt x="162166" y="56619"/>
                      <a:pt x="162861" y="58788"/>
                    </a:cubicBezTo>
                    <a:cubicBezTo>
                      <a:pt x="163568" y="60956"/>
                      <a:pt x="162981" y="63329"/>
                      <a:pt x="161339" y="64922"/>
                    </a:cubicBezTo>
                    <a:lnTo>
                      <a:pt x="125802" y="99561"/>
                    </a:lnTo>
                    <a:lnTo>
                      <a:pt x="134201" y="148482"/>
                    </a:lnTo>
                    <a:cubicBezTo>
                      <a:pt x="134584" y="150734"/>
                      <a:pt x="133662" y="152999"/>
                      <a:pt x="131817" y="154341"/>
                    </a:cubicBezTo>
                    <a:cubicBezTo>
                      <a:pt x="130774" y="155108"/>
                      <a:pt x="129540" y="155491"/>
                      <a:pt x="128294" y="155491"/>
                    </a:cubicBezTo>
                    <a:close/>
                    <a:moveTo>
                      <a:pt x="81578" y="118947"/>
                    </a:moveTo>
                    <a:cubicBezTo>
                      <a:pt x="82536" y="118947"/>
                      <a:pt x="83495" y="119175"/>
                      <a:pt x="84358" y="119642"/>
                    </a:cubicBezTo>
                    <a:lnTo>
                      <a:pt x="120338" y="138549"/>
                    </a:lnTo>
                    <a:lnTo>
                      <a:pt x="113461" y="98495"/>
                    </a:lnTo>
                    <a:cubicBezTo>
                      <a:pt x="113137" y="96554"/>
                      <a:pt x="113772" y="94565"/>
                      <a:pt x="115198" y="93199"/>
                    </a:cubicBezTo>
                    <a:lnTo>
                      <a:pt x="144302" y="64826"/>
                    </a:lnTo>
                    <a:lnTo>
                      <a:pt x="104079" y="58979"/>
                    </a:lnTo>
                    <a:cubicBezTo>
                      <a:pt x="102138" y="58704"/>
                      <a:pt x="100437" y="57470"/>
                      <a:pt x="99574" y="55708"/>
                    </a:cubicBezTo>
                    <a:lnTo>
                      <a:pt x="81578" y="19260"/>
                    </a:lnTo>
                    <a:lnTo>
                      <a:pt x="63593" y="55708"/>
                    </a:lnTo>
                    <a:cubicBezTo>
                      <a:pt x="62731" y="57470"/>
                      <a:pt x="61029" y="58704"/>
                      <a:pt x="59088" y="58979"/>
                    </a:cubicBezTo>
                    <a:lnTo>
                      <a:pt x="18866" y="64826"/>
                    </a:lnTo>
                    <a:lnTo>
                      <a:pt x="47958" y="93187"/>
                    </a:lnTo>
                    <a:cubicBezTo>
                      <a:pt x="49371" y="94565"/>
                      <a:pt x="50018" y="96542"/>
                      <a:pt x="49695" y="98483"/>
                    </a:cubicBezTo>
                    <a:lnTo>
                      <a:pt x="42817" y="138537"/>
                    </a:lnTo>
                    <a:lnTo>
                      <a:pt x="78798" y="119630"/>
                    </a:lnTo>
                    <a:cubicBezTo>
                      <a:pt x="79661" y="119175"/>
                      <a:pt x="80619" y="118947"/>
                      <a:pt x="81578" y="118947"/>
                    </a:cubicBezTo>
                    <a:close/>
                  </a:path>
                </a:pathLst>
              </a:custGeom>
              <a:solidFill>
                <a:schemeClr val="accent4"/>
              </a:solidFill>
              <a:ln w="11906" cap="flat">
                <a:noFill/>
                <a:prstDash val="solid"/>
                <a:miter/>
              </a:ln>
            </p:spPr>
            <p:txBody>
              <a:bodyPr rtlCol="0" anchor="ctr"/>
              <a:lstStyle/>
              <a:p>
                <a:endParaRPr lang="pt-BR"/>
              </a:p>
            </p:txBody>
          </p:sp>
          <p:sp>
            <p:nvSpPr>
              <p:cNvPr id="94" name="Forma Livre: Forma 93">
                <a:extLst>
                  <a:ext uri="{FF2B5EF4-FFF2-40B4-BE49-F238E27FC236}">
                    <a16:creationId xmlns:a16="http://schemas.microsoft.com/office/drawing/2014/main" id="{B2FCE730-F5CB-C088-ED27-25BE6ED96C9F}"/>
                  </a:ext>
                </a:extLst>
              </p:cNvPr>
              <p:cNvSpPr/>
              <p:nvPr/>
            </p:nvSpPr>
            <p:spPr>
              <a:xfrm>
                <a:off x="4845333" y="5986647"/>
                <a:ext cx="19021" cy="21675"/>
              </a:xfrm>
              <a:custGeom>
                <a:avLst/>
                <a:gdLst>
                  <a:gd name="connsiteX0" fmla="*/ 5988 w 19021"/>
                  <a:gd name="connsiteY0" fmla="*/ 21675 h 21675"/>
                  <a:gd name="connsiteX1" fmla="*/ 2466 w 19021"/>
                  <a:gd name="connsiteY1" fmla="*/ 20525 h 21675"/>
                  <a:gd name="connsiteX2" fmla="*/ 1148 w 19021"/>
                  <a:gd name="connsiteY2" fmla="*/ 12162 h 21675"/>
                  <a:gd name="connsiteX3" fmla="*/ 8193 w 19021"/>
                  <a:gd name="connsiteY3" fmla="*/ 2469 h 21675"/>
                  <a:gd name="connsiteX4" fmla="*/ 16556 w 19021"/>
                  <a:gd name="connsiteY4" fmla="*/ 1151 h 21675"/>
                  <a:gd name="connsiteX5" fmla="*/ 17874 w 19021"/>
                  <a:gd name="connsiteY5" fmla="*/ 9514 h 21675"/>
                  <a:gd name="connsiteX6" fmla="*/ 10841 w 19021"/>
                  <a:gd name="connsiteY6" fmla="*/ 19207 h 21675"/>
                  <a:gd name="connsiteX7" fmla="*/ 5988 w 19021"/>
                  <a:gd name="connsiteY7" fmla="*/ 21675 h 2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1" h="21675">
                    <a:moveTo>
                      <a:pt x="5988" y="21675"/>
                    </a:moveTo>
                    <a:cubicBezTo>
                      <a:pt x="4754" y="21675"/>
                      <a:pt x="3532" y="21304"/>
                      <a:pt x="2466" y="20525"/>
                    </a:cubicBezTo>
                    <a:cubicBezTo>
                      <a:pt x="-218" y="18584"/>
                      <a:pt x="-793" y="14834"/>
                      <a:pt x="1148" y="12162"/>
                    </a:cubicBezTo>
                    <a:lnTo>
                      <a:pt x="8193" y="2469"/>
                    </a:lnTo>
                    <a:cubicBezTo>
                      <a:pt x="10146" y="-227"/>
                      <a:pt x="13896" y="-790"/>
                      <a:pt x="16556" y="1151"/>
                    </a:cubicBezTo>
                    <a:cubicBezTo>
                      <a:pt x="19240" y="3092"/>
                      <a:pt x="19815" y="6842"/>
                      <a:pt x="17874" y="9514"/>
                    </a:cubicBezTo>
                    <a:lnTo>
                      <a:pt x="10841" y="19207"/>
                    </a:lnTo>
                    <a:cubicBezTo>
                      <a:pt x="9666" y="20825"/>
                      <a:pt x="7845" y="21675"/>
                      <a:pt x="5988" y="21675"/>
                    </a:cubicBezTo>
                    <a:close/>
                  </a:path>
                </a:pathLst>
              </a:custGeom>
              <a:solidFill>
                <a:schemeClr val="accent4"/>
              </a:solidFill>
              <a:ln w="11906" cap="flat">
                <a:noFill/>
                <a:prstDash val="solid"/>
                <a:miter/>
              </a:ln>
            </p:spPr>
            <p:txBody>
              <a:bodyPr rtlCol="0" anchor="ctr"/>
              <a:lstStyle/>
              <a:p>
                <a:endParaRPr lang="pt-BR"/>
              </a:p>
            </p:txBody>
          </p:sp>
          <p:sp>
            <p:nvSpPr>
              <p:cNvPr id="95" name="Forma Livre: Forma 94">
                <a:extLst>
                  <a:ext uri="{FF2B5EF4-FFF2-40B4-BE49-F238E27FC236}">
                    <a16:creationId xmlns:a16="http://schemas.microsoft.com/office/drawing/2014/main" id="{D2CB9A6C-D8EC-A712-619B-2B397CC4243A}"/>
                  </a:ext>
                </a:extLst>
              </p:cNvPr>
              <p:cNvSpPr/>
              <p:nvPr/>
            </p:nvSpPr>
            <p:spPr>
              <a:xfrm>
                <a:off x="4723317" y="6076713"/>
                <a:ext cx="23374" cy="15684"/>
              </a:xfrm>
              <a:custGeom>
                <a:avLst/>
                <a:gdLst>
                  <a:gd name="connsiteX0" fmla="*/ 5996 w 23374"/>
                  <a:gd name="connsiteY0" fmla="*/ 15684 h 15684"/>
                  <a:gd name="connsiteX1" fmla="*/ 293 w 23374"/>
                  <a:gd name="connsiteY1" fmla="*/ 11539 h 15684"/>
                  <a:gd name="connsiteX2" fmla="*/ 4139 w 23374"/>
                  <a:gd name="connsiteY2" fmla="*/ 3990 h 15684"/>
                  <a:gd name="connsiteX3" fmla="*/ 15533 w 23374"/>
                  <a:gd name="connsiteY3" fmla="*/ 288 h 15684"/>
                  <a:gd name="connsiteX4" fmla="*/ 23082 w 23374"/>
                  <a:gd name="connsiteY4" fmla="*/ 4134 h 15684"/>
                  <a:gd name="connsiteX5" fmla="*/ 19236 w 23374"/>
                  <a:gd name="connsiteY5" fmla="*/ 11683 h 15684"/>
                  <a:gd name="connsiteX6" fmla="*/ 7841 w 23374"/>
                  <a:gd name="connsiteY6" fmla="*/ 15385 h 15684"/>
                  <a:gd name="connsiteX7" fmla="*/ 5996 w 23374"/>
                  <a:gd name="connsiteY7" fmla="*/ 15684 h 1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74" h="15684">
                    <a:moveTo>
                      <a:pt x="5996" y="15684"/>
                    </a:moveTo>
                    <a:cubicBezTo>
                      <a:pt x="3468" y="15684"/>
                      <a:pt x="1119" y="14079"/>
                      <a:pt x="293" y="11539"/>
                    </a:cubicBezTo>
                    <a:cubicBezTo>
                      <a:pt x="-726" y="8400"/>
                      <a:pt x="1000" y="5021"/>
                      <a:pt x="4139" y="3990"/>
                    </a:cubicBezTo>
                    <a:lnTo>
                      <a:pt x="15533" y="288"/>
                    </a:lnTo>
                    <a:cubicBezTo>
                      <a:pt x="18672" y="-718"/>
                      <a:pt x="22075" y="995"/>
                      <a:pt x="23082" y="4134"/>
                    </a:cubicBezTo>
                    <a:cubicBezTo>
                      <a:pt x="24100" y="7273"/>
                      <a:pt x="22375" y="10652"/>
                      <a:pt x="19236" y="11683"/>
                    </a:cubicBezTo>
                    <a:lnTo>
                      <a:pt x="7841" y="15385"/>
                    </a:lnTo>
                    <a:cubicBezTo>
                      <a:pt x="7230" y="15589"/>
                      <a:pt x="6607" y="15684"/>
                      <a:pt x="5996" y="15684"/>
                    </a:cubicBezTo>
                    <a:close/>
                  </a:path>
                </a:pathLst>
              </a:custGeom>
              <a:solidFill>
                <a:schemeClr val="accent4"/>
              </a:solidFill>
              <a:ln w="11906" cap="flat">
                <a:noFill/>
                <a:prstDash val="solid"/>
                <a:miter/>
              </a:ln>
            </p:spPr>
            <p:txBody>
              <a:bodyPr rtlCol="0" anchor="ctr"/>
              <a:lstStyle/>
              <a:p>
                <a:endParaRPr lang="pt-BR"/>
              </a:p>
            </p:txBody>
          </p:sp>
          <p:sp>
            <p:nvSpPr>
              <p:cNvPr id="96" name="Forma Livre: Forma 95">
                <a:extLst>
                  <a:ext uri="{FF2B5EF4-FFF2-40B4-BE49-F238E27FC236}">
                    <a16:creationId xmlns:a16="http://schemas.microsoft.com/office/drawing/2014/main" id="{074CBC9E-F889-E5A3-24E9-6EF6F6417464}"/>
                  </a:ext>
                </a:extLst>
              </p:cNvPr>
              <p:cNvSpPr/>
              <p:nvPr/>
            </p:nvSpPr>
            <p:spPr>
              <a:xfrm>
                <a:off x="4871456" y="6076720"/>
                <a:ext cx="23376" cy="15677"/>
              </a:xfrm>
              <a:custGeom>
                <a:avLst/>
                <a:gdLst>
                  <a:gd name="connsiteX0" fmla="*/ 17379 w 23376"/>
                  <a:gd name="connsiteY0" fmla="*/ 15677 h 15677"/>
                  <a:gd name="connsiteX1" fmla="*/ 15534 w 23376"/>
                  <a:gd name="connsiteY1" fmla="*/ 15389 h 15677"/>
                  <a:gd name="connsiteX2" fmla="*/ 4140 w 23376"/>
                  <a:gd name="connsiteY2" fmla="*/ 11687 h 15677"/>
                  <a:gd name="connsiteX3" fmla="*/ 294 w 23376"/>
                  <a:gd name="connsiteY3" fmla="*/ 4139 h 15677"/>
                  <a:gd name="connsiteX4" fmla="*/ 7842 w 23376"/>
                  <a:gd name="connsiteY4" fmla="*/ 293 h 15677"/>
                  <a:gd name="connsiteX5" fmla="*/ 19237 w 23376"/>
                  <a:gd name="connsiteY5" fmla="*/ 3995 h 15677"/>
                  <a:gd name="connsiteX6" fmla="*/ 23083 w 23376"/>
                  <a:gd name="connsiteY6" fmla="*/ 11543 h 15677"/>
                  <a:gd name="connsiteX7" fmla="*/ 17379 w 23376"/>
                  <a:gd name="connsiteY7" fmla="*/ 15677 h 1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76" h="15677">
                    <a:moveTo>
                      <a:pt x="17379" y="15677"/>
                    </a:moveTo>
                    <a:cubicBezTo>
                      <a:pt x="16768" y="15677"/>
                      <a:pt x="16133" y="15581"/>
                      <a:pt x="15534" y="15389"/>
                    </a:cubicBezTo>
                    <a:lnTo>
                      <a:pt x="4140" y="11687"/>
                    </a:lnTo>
                    <a:cubicBezTo>
                      <a:pt x="989" y="10669"/>
                      <a:pt x="-725" y="7278"/>
                      <a:pt x="294" y="4139"/>
                    </a:cubicBezTo>
                    <a:cubicBezTo>
                      <a:pt x="1312" y="1000"/>
                      <a:pt x="4715" y="-726"/>
                      <a:pt x="7842" y="293"/>
                    </a:cubicBezTo>
                    <a:lnTo>
                      <a:pt x="19237" y="3995"/>
                    </a:lnTo>
                    <a:cubicBezTo>
                      <a:pt x="22388" y="5013"/>
                      <a:pt x="24101" y="8404"/>
                      <a:pt x="23083" y="11543"/>
                    </a:cubicBezTo>
                    <a:cubicBezTo>
                      <a:pt x="22256" y="14071"/>
                      <a:pt x="19908" y="15677"/>
                      <a:pt x="17379" y="15677"/>
                    </a:cubicBezTo>
                    <a:close/>
                  </a:path>
                </a:pathLst>
              </a:custGeom>
              <a:solidFill>
                <a:schemeClr val="accent4"/>
              </a:solidFill>
              <a:ln w="11906" cap="flat">
                <a:noFill/>
                <a:prstDash val="solid"/>
                <a:miter/>
              </a:ln>
            </p:spPr>
            <p:txBody>
              <a:bodyPr rtlCol="0" anchor="ctr"/>
              <a:lstStyle/>
              <a:p>
                <a:endParaRPr lang="pt-BR"/>
              </a:p>
            </p:txBody>
          </p:sp>
          <p:sp>
            <p:nvSpPr>
              <p:cNvPr id="97" name="Forma Livre: Forma 96">
                <a:extLst>
                  <a:ext uri="{FF2B5EF4-FFF2-40B4-BE49-F238E27FC236}">
                    <a16:creationId xmlns:a16="http://schemas.microsoft.com/office/drawing/2014/main" id="{ADBD82B0-987A-4AD6-13A9-B85FFA76796B}"/>
                  </a:ext>
                </a:extLst>
              </p:cNvPr>
              <p:cNvSpPr/>
              <p:nvPr/>
            </p:nvSpPr>
            <p:spPr>
              <a:xfrm>
                <a:off x="4753797" y="5986651"/>
                <a:ext cx="19014" cy="21672"/>
              </a:xfrm>
              <a:custGeom>
                <a:avLst/>
                <a:gdLst>
                  <a:gd name="connsiteX0" fmla="*/ 13030 w 19014"/>
                  <a:gd name="connsiteY0" fmla="*/ 21672 h 21672"/>
                  <a:gd name="connsiteX1" fmla="*/ 8189 w 19014"/>
                  <a:gd name="connsiteY1" fmla="*/ 19204 h 21672"/>
                  <a:gd name="connsiteX2" fmla="*/ 1144 w 19014"/>
                  <a:gd name="connsiteY2" fmla="*/ 9511 h 21672"/>
                  <a:gd name="connsiteX3" fmla="*/ 2462 w 19014"/>
                  <a:gd name="connsiteY3" fmla="*/ 1148 h 21672"/>
                  <a:gd name="connsiteX4" fmla="*/ 10825 w 19014"/>
                  <a:gd name="connsiteY4" fmla="*/ 2466 h 21672"/>
                  <a:gd name="connsiteX5" fmla="*/ 17870 w 19014"/>
                  <a:gd name="connsiteY5" fmla="*/ 12159 h 21672"/>
                  <a:gd name="connsiteX6" fmla="*/ 16552 w 19014"/>
                  <a:gd name="connsiteY6" fmla="*/ 20522 h 21672"/>
                  <a:gd name="connsiteX7" fmla="*/ 13030 w 19014"/>
                  <a:gd name="connsiteY7" fmla="*/ 21672 h 2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14" h="21672">
                    <a:moveTo>
                      <a:pt x="13030" y="21672"/>
                    </a:moveTo>
                    <a:cubicBezTo>
                      <a:pt x="11185" y="21672"/>
                      <a:pt x="9352" y="20821"/>
                      <a:pt x="8189" y="19204"/>
                    </a:cubicBezTo>
                    <a:lnTo>
                      <a:pt x="1144" y="9511"/>
                    </a:lnTo>
                    <a:cubicBezTo>
                      <a:pt x="-797" y="6827"/>
                      <a:pt x="-210" y="3089"/>
                      <a:pt x="2462" y="1148"/>
                    </a:cubicBezTo>
                    <a:cubicBezTo>
                      <a:pt x="5122" y="-793"/>
                      <a:pt x="8872" y="-218"/>
                      <a:pt x="10825" y="2466"/>
                    </a:cubicBezTo>
                    <a:lnTo>
                      <a:pt x="17870" y="12159"/>
                    </a:lnTo>
                    <a:cubicBezTo>
                      <a:pt x="19811" y="14843"/>
                      <a:pt x="19224" y="18581"/>
                      <a:pt x="16552" y="20522"/>
                    </a:cubicBezTo>
                    <a:cubicBezTo>
                      <a:pt x="15486" y="21301"/>
                      <a:pt x="14252" y="21672"/>
                      <a:pt x="13030" y="21672"/>
                    </a:cubicBezTo>
                    <a:close/>
                  </a:path>
                </a:pathLst>
              </a:custGeom>
              <a:solidFill>
                <a:schemeClr val="accent4"/>
              </a:solidFill>
              <a:ln w="11906" cap="flat">
                <a:noFill/>
                <a:prstDash val="solid"/>
                <a:miter/>
              </a:ln>
            </p:spPr>
            <p:txBody>
              <a:bodyPr rtlCol="0" anchor="ctr"/>
              <a:lstStyle/>
              <a:p>
                <a:endParaRPr lang="pt-BR"/>
              </a:p>
            </p:txBody>
          </p:sp>
          <p:sp>
            <p:nvSpPr>
              <p:cNvPr id="98" name="Forma Livre: Forma 97">
                <a:extLst>
                  <a:ext uri="{FF2B5EF4-FFF2-40B4-BE49-F238E27FC236}">
                    <a16:creationId xmlns:a16="http://schemas.microsoft.com/office/drawing/2014/main" id="{E8260645-69D8-88D1-A5F0-8EA48F85742C}"/>
                  </a:ext>
                </a:extLst>
              </p:cNvPr>
              <p:cNvSpPr/>
              <p:nvPr/>
            </p:nvSpPr>
            <p:spPr>
              <a:xfrm>
                <a:off x="4803083" y="6126389"/>
                <a:ext cx="11981" cy="23963"/>
              </a:xfrm>
              <a:custGeom>
                <a:avLst/>
                <a:gdLst>
                  <a:gd name="connsiteX0" fmla="*/ 5991 w 11981"/>
                  <a:gd name="connsiteY0" fmla="*/ 23963 h 23963"/>
                  <a:gd name="connsiteX1" fmla="*/ 0 w 11981"/>
                  <a:gd name="connsiteY1" fmla="*/ 17972 h 23963"/>
                  <a:gd name="connsiteX2" fmla="*/ 0 w 11981"/>
                  <a:gd name="connsiteY2" fmla="*/ 5991 h 23963"/>
                  <a:gd name="connsiteX3" fmla="*/ 5991 w 11981"/>
                  <a:gd name="connsiteY3" fmla="*/ 0 h 23963"/>
                  <a:gd name="connsiteX4" fmla="*/ 11982 w 11981"/>
                  <a:gd name="connsiteY4" fmla="*/ 5991 h 23963"/>
                  <a:gd name="connsiteX5" fmla="*/ 11982 w 11981"/>
                  <a:gd name="connsiteY5" fmla="*/ 17972 h 23963"/>
                  <a:gd name="connsiteX6" fmla="*/ 5991 w 11981"/>
                  <a:gd name="connsiteY6" fmla="*/ 23963 h 2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1" h="23963">
                    <a:moveTo>
                      <a:pt x="5991" y="23963"/>
                    </a:moveTo>
                    <a:cubicBezTo>
                      <a:pt x="2684" y="23963"/>
                      <a:pt x="0" y="21279"/>
                      <a:pt x="0" y="17972"/>
                    </a:cubicBezTo>
                    <a:lnTo>
                      <a:pt x="0" y="5991"/>
                    </a:lnTo>
                    <a:cubicBezTo>
                      <a:pt x="0" y="2684"/>
                      <a:pt x="2684" y="0"/>
                      <a:pt x="5991" y="0"/>
                    </a:cubicBezTo>
                    <a:cubicBezTo>
                      <a:pt x="9298" y="0"/>
                      <a:pt x="11982" y="2684"/>
                      <a:pt x="11982" y="5991"/>
                    </a:cubicBezTo>
                    <a:lnTo>
                      <a:pt x="11982" y="17972"/>
                    </a:lnTo>
                    <a:cubicBezTo>
                      <a:pt x="11982" y="21279"/>
                      <a:pt x="9298" y="23963"/>
                      <a:pt x="5991" y="23963"/>
                    </a:cubicBezTo>
                    <a:close/>
                  </a:path>
                </a:pathLst>
              </a:custGeom>
              <a:solidFill>
                <a:schemeClr val="accent4"/>
              </a:solidFill>
              <a:ln w="11906" cap="flat">
                <a:noFill/>
                <a:prstDash val="solid"/>
                <a:miter/>
              </a:ln>
            </p:spPr>
            <p:txBody>
              <a:bodyPr rtlCol="0" anchor="ctr"/>
              <a:lstStyle/>
              <a:p>
                <a:endParaRPr lang="pt-BR"/>
              </a:p>
            </p:txBody>
          </p:sp>
          <p:sp>
            <p:nvSpPr>
              <p:cNvPr id="99" name="Forma Livre: Forma 98">
                <a:extLst>
                  <a:ext uri="{FF2B5EF4-FFF2-40B4-BE49-F238E27FC236}">
                    <a16:creationId xmlns:a16="http://schemas.microsoft.com/office/drawing/2014/main" id="{FD116E84-F263-EC8A-E5F3-5B536B8C2EC6}"/>
                  </a:ext>
                </a:extLst>
              </p:cNvPr>
              <p:cNvSpPr/>
              <p:nvPr/>
            </p:nvSpPr>
            <p:spPr>
              <a:xfrm>
                <a:off x="4545479" y="6270168"/>
                <a:ext cx="23963" cy="23963"/>
              </a:xfrm>
              <a:custGeom>
                <a:avLst/>
                <a:gdLst>
                  <a:gd name="connsiteX0" fmla="*/ 23963 w 23963"/>
                  <a:gd name="connsiteY0" fmla="*/ 11982 h 23963"/>
                  <a:gd name="connsiteX1" fmla="*/ 11982 w 23963"/>
                  <a:gd name="connsiteY1" fmla="*/ 23963 h 23963"/>
                  <a:gd name="connsiteX2" fmla="*/ 0 w 23963"/>
                  <a:gd name="connsiteY2" fmla="*/ 11982 h 23963"/>
                  <a:gd name="connsiteX3" fmla="*/ 11982 w 23963"/>
                  <a:gd name="connsiteY3" fmla="*/ 0 h 23963"/>
                  <a:gd name="connsiteX4" fmla="*/ 23963 w 23963"/>
                  <a:gd name="connsiteY4" fmla="*/ 11982 h 23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3" h="23963">
                    <a:moveTo>
                      <a:pt x="23963" y="11982"/>
                    </a:moveTo>
                    <a:cubicBezTo>
                      <a:pt x="23963" y="18599"/>
                      <a:pt x="18599" y="23963"/>
                      <a:pt x="11982" y="23963"/>
                    </a:cubicBezTo>
                    <a:cubicBezTo>
                      <a:pt x="5364" y="23963"/>
                      <a:pt x="0" y="18599"/>
                      <a:pt x="0" y="11982"/>
                    </a:cubicBezTo>
                    <a:cubicBezTo>
                      <a:pt x="0" y="5364"/>
                      <a:pt x="5364" y="0"/>
                      <a:pt x="11982" y="0"/>
                    </a:cubicBezTo>
                    <a:cubicBezTo>
                      <a:pt x="18599" y="0"/>
                      <a:pt x="23963" y="5364"/>
                      <a:pt x="23963" y="11982"/>
                    </a:cubicBezTo>
                    <a:close/>
                  </a:path>
                </a:pathLst>
              </a:custGeom>
              <a:solidFill>
                <a:schemeClr val="tx1"/>
              </a:solidFill>
              <a:ln w="11906" cap="flat">
                <a:noFill/>
                <a:prstDash val="solid"/>
                <a:miter/>
              </a:ln>
            </p:spPr>
            <p:txBody>
              <a:bodyPr rtlCol="0" anchor="ctr"/>
              <a:lstStyle/>
              <a:p>
                <a:endParaRPr lang="pt-BR"/>
              </a:p>
            </p:txBody>
          </p:sp>
          <p:sp>
            <p:nvSpPr>
              <p:cNvPr id="100" name="Forma Livre: Forma 99">
                <a:extLst>
                  <a:ext uri="{FF2B5EF4-FFF2-40B4-BE49-F238E27FC236}">
                    <a16:creationId xmlns:a16="http://schemas.microsoft.com/office/drawing/2014/main" id="{768AA542-0EC2-EEA7-F807-CDA1EE010638}"/>
                  </a:ext>
                </a:extLst>
              </p:cNvPr>
              <p:cNvSpPr/>
              <p:nvPr/>
            </p:nvSpPr>
            <p:spPr>
              <a:xfrm>
                <a:off x="4569443" y="6150352"/>
                <a:ext cx="347467" cy="167742"/>
              </a:xfrm>
              <a:custGeom>
                <a:avLst/>
                <a:gdLst>
                  <a:gd name="connsiteX0" fmla="*/ 77879 w 347467"/>
                  <a:gd name="connsiteY0" fmla="*/ 167742 h 167742"/>
                  <a:gd name="connsiteX1" fmla="*/ 73638 w 347467"/>
                  <a:gd name="connsiteY1" fmla="*/ 165993 h 167742"/>
                  <a:gd name="connsiteX2" fmla="*/ 73638 w 347467"/>
                  <a:gd name="connsiteY2" fmla="*/ 157522 h 167742"/>
                  <a:gd name="connsiteX3" fmla="*/ 81030 w 347467"/>
                  <a:gd name="connsiteY3" fmla="*/ 150129 h 167742"/>
                  <a:gd name="connsiteX4" fmla="*/ 125266 w 347467"/>
                  <a:gd name="connsiteY4" fmla="*/ 131798 h 167742"/>
                  <a:gd name="connsiteX5" fmla="*/ 205028 w 347467"/>
                  <a:gd name="connsiteY5" fmla="*/ 131798 h 167742"/>
                  <a:gd name="connsiteX6" fmla="*/ 251037 w 347467"/>
                  <a:gd name="connsiteY6" fmla="*/ 114304 h 167742"/>
                  <a:gd name="connsiteX7" fmla="*/ 332332 w 347467"/>
                  <a:gd name="connsiteY7" fmla="*/ 42043 h 167742"/>
                  <a:gd name="connsiteX8" fmla="*/ 291942 w 347467"/>
                  <a:gd name="connsiteY8" fmla="*/ 41013 h 167742"/>
                  <a:gd name="connsiteX9" fmla="*/ 241045 w 347467"/>
                  <a:gd name="connsiteY9" fmla="*/ 72824 h 167742"/>
                  <a:gd name="connsiteX10" fmla="*/ 202524 w 347467"/>
                  <a:gd name="connsiteY10" fmla="*/ 83871 h 167742"/>
                  <a:gd name="connsiteX11" fmla="*/ 138782 w 347467"/>
                  <a:gd name="connsiteY11" fmla="*/ 83871 h 167742"/>
                  <a:gd name="connsiteX12" fmla="*/ 119815 w 347467"/>
                  <a:gd name="connsiteY12" fmla="*/ 64904 h 167742"/>
                  <a:gd name="connsiteX13" fmla="*/ 135655 w 347467"/>
                  <a:gd name="connsiteY13" fmla="*/ 46189 h 167742"/>
                  <a:gd name="connsiteX14" fmla="*/ 161259 w 347467"/>
                  <a:gd name="connsiteY14" fmla="*/ 41924 h 167742"/>
                  <a:gd name="connsiteX15" fmla="*/ 191213 w 347467"/>
                  <a:gd name="connsiteY15" fmla="*/ 11970 h 167742"/>
                  <a:gd name="connsiteX16" fmla="*/ 147852 w 347467"/>
                  <a:gd name="connsiteY16" fmla="*/ 11970 h 167742"/>
                  <a:gd name="connsiteX17" fmla="*/ 58313 w 347467"/>
                  <a:gd name="connsiteY17" fmla="*/ 55007 h 167742"/>
                  <a:gd name="connsiteX18" fmla="*/ 29665 w 347467"/>
                  <a:gd name="connsiteY18" fmla="*/ 81259 h 167742"/>
                  <a:gd name="connsiteX19" fmla="*/ 9309 w 347467"/>
                  <a:gd name="connsiteY19" fmla="*/ 94834 h 167742"/>
                  <a:gd name="connsiteX20" fmla="*/ 1005 w 347467"/>
                  <a:gd name="connsiteY20" fmla="*/ 93169 h 167742"/>
                  <a:gd name="connsiteX21" fmla="*/ 2671 w 347467"/>
                  <a:gd name="connsiteY21" fmla="*/ 84866 h 167742"/>
                  <a:gd name="connsiteX22" fmla="*/ 23028 w 347467"/>
                  <a:gd name="connsiteY22" fmla="*/ 71290 h 167742"/>
                  <a:gd name="connsiteX23" fmla="*/ 48956 w 347467"/>
                  <a:gd name="connsiteY23" fmla="*/ 47519 h 167742"/>
                  <a:gd name="connsiteX24" fmla="*/ 147852 w 347467"/>
                  <a:gd name="connsiteY24" fmla="*/ 0 h 167742"/>
                  <a:gd name="connsiteX25" fmla="*/ 197695 w 347467"/>
                  <a:gd name="connsiteY25" fmla="*/ 0 h 167742"/>
                  <a:gd name="connsiteX26" fmla="*/ 203686 w 347467"/>
                  <a:gd name="connsiteY26" fmla="*/ 5991 h 167742"/>
                  <a:gd name="connsiteX27" fmla="*/ 163224 w 347467"/>
                  <a:gd name="connsiteY27" fmla="*/ 53749 h 167742"/>
                  <a:gd name="connsiteX28" fmla="*/ 137620 w 347467"/>
                  <a:gd name="connsiteY28" fmla="*/ 58015 h 167742"/>
                  <a:gd name="connsiteX29" fmla="*/ 131796 w 347467"/>
                  <a:gd name="connsiteY29" fmla="*/ 64904 h 167742"/>
                  <a:gd name="connsiteX30" fmla="*/ 138782 w 347467"/>
                  <a:gd name="connsiteY30" fmla="*/ 71890 h 167742"/>
                  <a:gd name="connsiteX31" fmla="*/ 202524 w 347467"/>
                  <a:gd name="connsiteY31" fmla="*/ 71890 h 167742"/>
                  <a:gd name="connsiteX32" fmla="*/ 234706 w 347467"/>
                  <a:gd name="connsiteY32" fmla="*/ 62664 h 167742"/>
                  <a:gd name="connsiteX33" fmla="*/ 285604 w 347467"/>
                  <a:gd name="connsiteY33" fmla="*/ 30853 h 167742"/>
                  <a:gd name="connsiteX34" fmla="*/ 345716 w 347467"/>
                  <a:gd name="connsiteY34" fmla="*/ 37694 h 167742"/>
                  <a:gd name="connsiteX35" fmla="*/ 347465 w 347467"/>
                  <a:gd name="connsiteY35" fmla="*/ 42103 h 167742"/>
                  <a:gd name="connsiteX36" fmla="*/ 345452 w 347467"/>
                  <a:gd name="connsiteY36" fmla="*/ 46405 h 167742"/>
                  <a:gd name="connsiteX37" fmla="*/ 258993 w 347467"/>
                  <a:gd name="connsiteY37" fmla="*/ 123255 h 167742"/>
                  <a:gd name="connsiteX38" fmla="*/ 205028 w 347467"/>
                  <a:gd name="connsiteY38" fmla="*/ 143779 h 167742"/>
                  <a:gd name="connsiteX39" fmla="*/ 125266 w 347467"/>
                  <a:gd name="connsiteY39" fmla="*/ 143779 h 167742"/>
                  <a:gd name="connsiteX40" fmla="*/ 89513 w 347467"/>
                  <a:gd name="connsiteY40" fmla="*/ 158588 h 167742"/>
                  <a:gd name="connsiteX41" fmla="*/ 82121 w 347467"/>
                  <a:gd name="connsiteY41" fmla="*/ 165981 h 167742"/>
                  <a:gd name="connsiteX42" fmla="*/ 77879 w 347467"/>
                  <a:gd name="connsiteY42" fmla="*/ 167742 h 16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47467" h="167742">
                    <a:moveTo>
                      <a:pt x="77879" y="167742"/>
                    </a:moveTo>
                    <a:cubicBezTo>
                      <a:pt x="76346" y="167742"/>
                      <a:pt x="74812" y="167155"/>
                      <a:pt x="73638" y="165993"/>
                    </a:cubicBezTo>
                    <a:cubicBezTo>
                      <a:pt x="71301" y="163657"/>
                      <a:pt x="71301" y="159858"/>
                      <a:pt x="73638" y="157522"/>
                    </a:cubicBezTo>
                    <a:lnTo>
                      <a:pt x="81030" y="150129"/>
                    </a:lnTo>
                    <a:cubicBezTo>
                      <a:pt x="92856" y="138304"/>
                      <a:pt x="108576" y="131798"/>
                      <a:pt x="125266" y="131798"/>
                    </a:cubicBezTo>
                    <a:lnTo>
                      <a:pt x="205028" y="131798"/>
                    </a:lnTo>
                    <a:cubicBezTo>
                      <a:pt x="222006" y="131798"/>
                      <a:pt x="238337" y="125579"/>
                      <a:pt x="251037" y="114304"/>
                    </a:cubicBezTo>
                    <a:lnTo>
                      <a:pt x="332332" y="42043"/>
                    </a:lnTo>
                    <a:cubicBezTo>
                      <a:pt x="320459" y="33680"/>
                      <a:pt x="304631" y="33069"/>
                      <a:pt x="291942" y="41013"/>
                    </a:cubicBezTo>
                    <a:lnTo>
                      <a:pt x="241045" y="72824"/>
                    </a:lnTo>
                    <a:cubicBezTo>
                      <a:pt x="229482" y="80049"/>
                      <a:pt x="216171" y="83871"/>
                      <a:pt x="202524" y="83871"/>
                    </a:cubicBezTo>
                    <a:lnTo>
                      <a:pt x="138782" y="83871"/>
                    </a:lnTo>
                    <a:cubicBezTo>
                      <a:pt x="128322" y="83871"/>
                      <a:pt x="119815" y="75364"/>
                      <a:pt x="119815" y="64904"/>
                    </a:cubicBezTo>
                    <a:cubicBezTo>
                      <a:pt x="119815" y="55595"/>
                      <a:pt x="126477" y="47723"/>
                      <a:pt x="135655" y="46189"/>
                    </a:cubicBezTo>
                    <a:lnTo>
                      <a:pt x="161259" y="41924"/>
                    </a:lnTo>
                    <a:cubicBezTo>
                      <a:pt x="176895" y="39312"/>
                      <a:pt x="188721" y="27150"/>
                      <a:pt x="191213" y="11970"/>
                    </a:cubicBezTo>
                    <a:lnTo>
                      <a:pt x="147852" y="11970"/>
                    </a:lnTo>
                    <a:cubicBezTo>
                      <a:pt x="112830" y="11970"/>
                      <a:pt x="80204" y="27654"/>
                      <a:pt x="58313" y="55007"/>
                    </a:cubicBezTo>
                    <a:cubicBezTo>
                      <a:pt x="50154" y="65204"/>
                      <a:pt x="40521" y="74034"/>
                      <a:pt x="29665" y="81259"/>
                    </a:cubicBezTo>
                    <a:lnTo>
                      <a:pt x="9309" y="94834"/>
                    </a:lnTo>
                    <a:cubicBezTo>
                      <a:pt x="6565" y="96644"/>
                      <a:pt x="2851" y="95937"/>
                      <a:pt x="1005" y="93169"/>
                    </a:cubicBezTo>
                    <a:cubicBezTo>
                      <a:pt x="-828" y="90413"/>
                      <a:pt x="-85" y="86699"/>
                      <a:pt x="2671" y="84866"/>
                    </a:cubicBezTo>
                    <a:lnTo>
                      <a:pt x="23028" y="71290"/>
                    </a:lnTo>
                    <a:cubicBezTo>
                      <a:pt x="32840" y="64749"/>
                      <a:pt x="41575" y="56745"/>
                      <a:pt x="48956" y="47519"/>
                    </a:cubicBezTo>
                    <a:cubicBezTo>
                      <a:pt x="73135" y="17325"/>
                      <a:pt x="109163" y="0"/>
                      <a:pt x="147852" y="0"/>
                    </a:cubicBezTo>
                    <a:lnTo>
                      <a:pt x="197695" y="0"/>
                    </a:lnTo>
                    <a:cubicBezTo>
                      <a:pt x="201002" y="0"/>
                      <a:pt x="203686" y="2684"/>
                      <a:pt x="203686" y="5991"/>
                    </a:cubicBezTo>
                    <a:cubicBezTo>
                      <a:pt x="203686" y="29750"/>
                      <a:pt x="186672" y="49843"/>
                      <a:pt x="163224" y="53749"/>
                    </a:cubicBezTo>
                    <a:lnTo>
                      <a:pt x="137620" y="58015"/>
                    </a:lnTo>
                    <a:cubicBezTo>
                      <a:pt x="134253" y="58578"/>
                      <a:pt x="131796" y="61478"/>
                      <a:pt x="131796" y="64904"/>
                    </a:cubicBezTo>
                    <a:cubicBezTo>
                      <a:pt x="131796" y="68762"/>
                      <a:pt x="134936" y="71890"/>
                      <a:pt x="138782" y="71890"/>
                    </a:cubicBezTo>
                    <a:lnTo>
                      <a:pt x="202524" y="71890"/>
                    </a:lnTo>
                    <a:cubicBezTo>
                      <a:pt x="213918" y="71890"/>
                      <a:pt x="225037" y="68702"/>
                      <a:pt x="234706" y="62664"/>
                    </a:cubicBezTo>
                    <a:lnTo>
                      <a:pt x="285604" y="30853"/>
                    </a:lnTo>
                    <a:cubicBezTo>
                      <a:pt x="304895" y="18799"/>
                      <a:pt x="329625" y="21603"/>
                      <a:pt x="345716" y="37694"/>
                    </a:cubicBezTo>
                    <a:cubicBezTo>
                      <a:pt x="346890" y="38856"/>
                      <a:pt x="347513" y="40450"/>
                      <a:pt x="347465" y="42103"/>
                    </a:cubicBezTo>
                    <a:cubicBezTo>
                      <a:pt x="347417" y="43757"/>
                      <a:pt x="346698" y="45314"/>
                      <a:pt x="345452" y="46405"/>
                    </a:cubicBezTo>
                    <a:lnTo>
                      <a:pt x="258993" y="123255"/>
                    </a:lnTo>
                    <a:cubicBezTo>
                      <a:pt x="244112" y="136494"/>
                      <a:pt x="224941" y="143779"/>
                      <a:pt x="205028" y="143779"/>
                    </a:cubicBezTo>
                    <a:lnTo>
                      <a:pt x="125266" y="143779"/>
                    </a:lnTo>
                    <a:cubicBezTo>
                      <a:pt x="111763" y="143779"/>
                      <a:pt x="99063" y="149039"/>
                      <a:pt x="89513" y="158588"/>
                    </a:cubicBezTo>
                    <a:lnTo>
                      <a:pt x="82121" y="165981"/>
                    </a:lnTo>
                    <a:cubicBezTo>
                      <a:pt x="80947" y="167155"/>
                      <a:pt x="79413" y="167742"/>
                      <a:pt x="77879" y="167742"/>
                    </a:cubicBezTo>
                    <a:close/>
                  </a:path>
                </a:pathLst>
              </a:custGeom>
              <a:solidFill>
                <a:schemeClr val="tx1"/>
              </a:solidFill>
              <a:ln w="11906" cap="flat">
                <a:noFill/>
                <a:prstDash val="solid"/>
                <a:miter/>
              </a:ln>
            </p:spPr>
            <p:txBody>
              <a:bodyPr rtlCol="0" anchor="ctr"/>
              <a:lstStyle/>
              <a:p>
                <a:endParaRPr lang="pt-BR"/>
              </a:p>
            </p:txBody>
          </p:sp>
          <p:sp>
            <p:nvSpPr>
              <p:cNvPr id="101" name="Forma Livre: Forma 100">
                <a:extLst>
                  <a:ext uri="{FF2B5EF4-FFF2-40B4-BE49-F238E27FC236}">
                    <a16:creationId xmlns:a16="http://schemas.microsoft.com/office/drawing/2014/main" id="{63D43399-3D12-0199-3503-09875506C4BF}"/>
                  </a:ext>
                </a:extLst>
              </p:cNvPr>
              <p:cNvSpPr/>
              <p:nvPr/>
            </p:nvSpPr>
            <p:spPr>
              <a:xfrm>
                <a:off x="4533495" y="6227217"/>
                <a:ext cx="126825" cy="126822"/>
              </a:xfrm>
              <a:custGeom>
                <a:avLst/>
                <a:gdLst>
                  <a:gd name="connsiteX0" fmla="*/ 101847 w 126825"/>
                  <a:gd name="connsiteY0" fmla="*/ 126822 h 126822"/>
                  <a:gd name="connsiteX1" fmla="*/ 97605 w 126825"/>
                  <a:gd name="connsiteY1" fmla="*/ 125073 h 126822"/>
                  <a:gd name="connsiteX2" fmla="*/ 97605 w 126825"/>
                  <a:gd name="connsiteY2" fmla="*/ 116602 h 126822"/>
                  <a:gd name="connsiteX3" fmla="*/ 113097 w 126825"/>
                  <a:gd name="connsiteY3" fmla="*/ 101110 h 126822"/>
                  <a:gd name="connsiteX4" fmla="*/ 113097 w 126825"/>
                  <a:gd name="connsiteY4" fmla="*/ 92639 h 126822"/>
                  <a:gd name="connsiteX5" fmla="*/ 34186 w 126825"/>
                  <a:gd name="connsiteY5" fmla="*/ 13728 h 126822"/>
                  <a:gd name="connsiteX6" fmla="*/ 25715 w 126825"/>
                  <a:gd name="connsiteY6" fmla="*/ 13728 h 126822"/>
                  <a:gd name="connsiteX7" fmla="*/ 10223 w 126825"/>
                  <a:gd name="connsiteY7" fmla="*/ 29220 h 126822"/>
                  <a:gd name="connsiteX8" fmla="*/ 1752 w 126825"/>
                  <a:gd name="connsiteY8" fmla="*/ 29220 h 126822"/>
                  <a:gd name="connsiteX9" fmla="*/ 1752 w 126825"/>
                  <a:gd name="connsiteY9" fmla="*/ 20749 h 126822"/>
                  <a:gd name="connsiteX10" fmla="*/ 17245 w 126825"/>
                  <a:gd name="connsiteY10" fmla="*/ 5257 h 126822"/>
                  <a:gd name="connsiteX11" fmla="*/ 42657 w 126825"/>
                  <a:gd name="connsiteY11" fmla="*/ 5257 h 126822"/>
                  <a:gd name="connsiteX12" fmla="*/ 121568 w 126825"/>
                  <a:gd name="connsiteY12" fmla="*/ 84168 h 126822"/>
                  <a:gd name="connsiteX13" fmla="*/ 121568 w 126825"/>
                  <a:gd name="connsiteY13" fmla="*/ 109581 h 126822"/>
                  <a:gd name="connsiteX14" fmla="*/ 106076 w 126825"/>
                  <a:gd name="connsiteY14" fmla="*/ 125073 h 126822"/>
                  <a:gd name="connsiteX15" fmla="*/ 101847 w 126825"/>
                  <a:gd name="connsiteY15" fmla="*/ 126822 h 12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825" h="126822">
                    <a:moveTo>
                      <a:pt x="101847" y="126822"/>
                    </a:moveTo>
                    <a:cubicBezTo>
                      <a:pt x="100313" y="126822"/>
                      <a:pt x="98779" y="126235"/>
                      <a:pt x="97605" y="125073"/>
                    </a:cubicBezTo>
                    <a:cubicBezTo>
                      <a:pt x="95269" y="122736"/>
                      <a:pt x="95269" y="118938"/>
                      <a:pt x="97605" y="116602"/>
                    </a:cubicBezTo>
                    <a:lnTo>
                      <a:pt x="113097" y="101110"/>
                    </a:lnTo>
                    <a:cubicBezTo>
                      <a:pt x="115434" y="98773"/>
                      <a:pt x="115434" y="94975"/>
                      <a:pt x="113097" y="92639"/>
                    </a:cubicBezTo>
                    <a:lnTo>
                      <a:pt x="34186" y="13728"/>
                    </a:lnTo>
                    <a:cubicBezTo>
                      <a:pt x="31850" y="11391"/>
                      <a:pt x="28052" y="11391"/>
                      <a:pt x="25715" y="13728"/>
                    </a:cubicBezTo>
                    <a:lnTo>
                      <a:pt x="10223" y="29220"/>
                    </a:lnTo>
                    <a:cubicBezTo>
                      <a:pt x="7887" y="31557"/>
                      <a:pt x="4089" y="31557"/>
                      <a:pt x="1752" y="29220"/>
                    </a:cubicBezTo>
                    <a:cubicBezTo>
                      <a:pt x="-584" y="26884"/>
                      <a:pt x="-584" y="23086"/>
                      <a:pt x="1752" y="20749"/>
                    </a:cubicBezTo>
                    <a:lnTo>
                      <a:pt x="17245" y="5257"/>
                    </a:lnTo>
                    <a:cubicBezTo>
                      <a:pt x="24242" y="-1752"/>
                      <a:pt x="35660" y="-1752"/>
                      <a:pt x="42657" y="5257"/>
                    </a:cubicBezTo>
                    <a:lnTo>
                      <a:pt x="121568" y="84168"/>
                    </a:lnTo>
                    <a:cubicBezTo>
                      <a:pt x="128577" y="91177"/>
                      <a:pt x="128577" y="102571"/>
                      <a:pt x="121568" y="109581"/>
                    </a:cubicBezTo>
                    <a:lnTo>
                      <a:pt x="106076" y="125073"/>
                    </a:lnTo>
                    <a:cubicBezTo>
                      <a:pt x="104914" y="126235"/>
                      <a:pt x="103380" y="126822"/>
                      <a:pt x="101847" y="126822"/>
                    </a:cubicBezTo>
                    <a:close/>
                  </a:path>
                </a:pathLst>
              </a:custGeom>
              <a:solidFill>
                <a:schemeClr val="tx1"/>
              </a:solidFill>
              <a:ln w="11906" cap="flat">
                <a:noFill/>
                <a:prstDash val="solid"/>
                <a:miter/>
              </a:ln>
            </p:spPr>
            <p:txBody>
              <a:bodyPr rtlCol="0" anchor="ctr"/>
              <a:lstStyle/>
              <a:p>
                <a:endParaRPr lang="pt-BR"/>
              </a:p>
            </p:txBody>
          </p:sp>
        </p:grpSp>
        <p:grpSp>
          <p:nvGrpSpPr>
            <p:cNvPr id="30" name="Agrupar 29">
              <a:extLst>
                <a:ext uri="{FF2B5EF4-FFF2-40B4-BE49-F238E27FC236}">
                  <a16:creationId xmlns:a16="http://schemas.microsoft.com/office/drawing/2014/main" id="{16D1C435-2B9E-D094-2BE1-EDD7FB6C79DE}"/>
                </a:ext>
              </a:extLst>
            </p:cNvPr>
            <p:cNvGrpSpPr/>
            <p:nvPr/>
          </p:nvGrpSpPr>
          <p:grpSpPr>
            <a:xfrm>
              <a:off x="4103597" y="935114"/>
              <a:ext cx="808992" cy="808992"/>
              <a:chOff x="4103597" y="935114"/>
              <a:chExt cx="808992" cy="808992"/>
            </a:xfrm>
          </p:grpSpPr>
          <p:sp>
            <p:nvSpPr>
              <p:cNvPr id="26" name="Oval 11">
                <a:extLst>
                  <a:ext uri="{FF2B5EF4-FFF2-40B4-BE49-F238E27FC236}">
                    <a16:creationId xmlns:a16="http://schemas.microsoft.com/office/drawing/2014/main" id="{1C308205-A01C-A3E0-ACC7-22354FA7C33F}"/>
                  </a:ext>
                </a:extLst>
              </p:cNvPr>
              <p:cNvSpPr/>
              <p:nvPr/>
            </p:nvSpPr>
            <p:spPr>
              <a:xfrm>
                <a:off x="4103597" y="935114"/>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118" name="Gráfico 102">
                <a:extLst>
                  <a:ext uri="{FF2B5EF4-FFF2-40B4-BE49-F238E27FC236}">
                    <a16:creationId xmlns:a16="http://schemas.microsoft.com/office/drawing/2014/main" id="{76902856-1C79-A80C-DF42-8E6304005232}"/>
                  </a:ext>
                </a:extLst>
              </p:cNvPr>
              <p:cNvGrpSpPr/>
              <p:nvPr/>
            </p:nvGrpSpPr>
            <p:grpSpPr>
              <a:xfrm>
                <a:off x="4321684" y="1198085"/>
                <a:ext cx="357361" cy="284471"/>
                <a:chOff x="6383814" y="5116324"/>
                <a:chExt cx="357361" cy="284471"/>
              </a:xfrm>
              <a:solidFill>
                <a:srgbClr val="000000"/>
              </a:solidFill>
            </p:grpSpPr>
            <p:sp>
              <p:nvSpPr>
                <p:cNvPr id="119" name="Forma Livre: Forma 118">
                  <a:extLst>
                    <a:ext uri="{FF2B5EF4-FFF2-40B4-BE49-F238E27FC236}">
                      <a16:creationId xmlns:a16="http://schemas.microsoft.com/office/drawing/2014/main" id="{1F98520D-96FA-9B23-3833-BEF2FC47EEF3}"/>
                    </a:ext>
                  </a:extLst>
                </p:cNvPr>
                <p:cNvSpPr/>
                <p:nvPr/>
              </p:nvSpPr>
              <p:spPr>
                <a:xfrm>
                  <a:off x="6383814" y="5184252"/>
                  <a:ext cx="167590" cy="216535"/>
                </a:xfrm>
                <a:custGeom>
                  <a:avLst/>
                  <a:gdLst>
                    <a:gd name="connsiteX0" fmla="*/ 105318 w 167590"/>
                    <a:gd name="connsiteY0" fmla="*/ 84827 h 216535"/>
                    <a:gd name="connsiteX1" fmla="*/ 64675 w 167590"/>
                    <a:gd name="connsiteY1" fmla="*/ 82146 h 216535"/>
                    <a:gd name="connsiteX2" fmla="*/ 64675 w 167590"/>
                    <a:gd name="connsiteY2" fmla="*/ 56960 h 216535"/>
                    <a:gd name="connsiteX3" fmla="*/ 7715 w 167590"/>
                    <a:gd name="connsiteY3" fmla="*/ 0 h 216535"/>
                    <a:gd name="connsiteX4" fmla="*/ 0 w 167590"/>
                    <a:gd name="connsiteY4" fmla="*/ 7715 h 216535"/>
                    <a:gd name="connsiteX5" fmla="*/ 0 w 167590"/>
                    <a:gd name="connsiteY5" fmla="*/ 122715 h 216535"/>
                    <a:gd name="connsiteX6" fmla="*/ 9809 w 167590"/>
                    <a:gd name="connsiteY6" fmla="*/ 146367 h 216535"/>
                    <a:gd name="connsiteX7" fmla="*/ 54694 w 167590"/>
                    <a:gd name="connsiteY7" fmla="*/ 191247 h 216535"/>
                    <a:gd name="connsiteX8" fmla="*/ 56422 w 167590"/>
                    <a:gd name="connsiteY8" fmla="*/ 195427 h 216535"/>
                    <a:gd name="connsiteX9" fmla="*/ 56422 w 167590"/>
                    <a:gd name="connsiteY9" fmla="*/ 208820 h 216535"/>
                    <a:gd name="connsiteX10" fmla="*/ 64137 w 167590"/>
                    <a:gd name="connsiteY10" fmla="*/ 216535 h 216535"/>
                    <a:gd name="connsiteX11" fmla="*/ 64137 w 167590"/>
                    <a:gd name="connsiteY11" fmla="*/ 216535 h 216535"/>
                    <a:gd name="connsiteX12" fmla="*/ 159889 w 167590"/>
                    <a:gd name="connsiteY12" fmla="*/ 216399 h 216535"/>
                    <a:gd name="connsiteX13" fmla="*/ 167590 w 167590"/>
                    <a:gd name="connsiteY13" fmla="*/ 208683 h 216535"/>
                    <a:gd name="connsiteX14" fmla="*/ 167590 w 167590"/>
                    <a:gd name="connsiteY14" fmla="*/ 158178 h 216535"/>
                    <a:gd name="connsiteX15" fmla="*/ 159770 w 167590"/>
                    <a:gd name="connsiteY15" fmla="*/ 139269 h 216535"/>
                    <a:gd name="connsiteX16" fmla="*/ 152169 w 167590"/>
                    <a:gd name="connsiteY16" fmla="*/ 200986 h 216535"/>
                    <a:gd name="connsiteX17" fmla="*/ 71852 w 167590"/>
                    <a:gd name="connsiteY17" fmla="*/ 201100 h 216535"/>
                    <a:gd name="connsiteX18" fmla="*/ 71852 w 167590"/>
                    <a:gd name="connsiteY18" fmla="*/ 195435 h 216535"/>
                    <a:gd name="connsiteX19" fmla="*/ 65601 w 167590"/>
                    <a:gd name="connsiteY19" fmla="*/ 180349 h 216535"/>
                    <a:gd name="connsiteX20" fmla="*/ 20721 w 167590"/>
                    <a:gd name="connsiteY20" fmla="*/ 135465 h 216535"/>
                    <a:gd name="connsiteX21" fmla="*/ 15430 w 167590"/>
                    <a:gd name="connsiteY21" fmla="*/ 122715 h 216535"/>
                    <a:gd name="connsiteX22" fmla="*/ 15430 w 167590"/>
                    <a:gd name="connsiteY22" fmla="*/ 16167 h 216535"/>
                    <a:gd name="connsiteX23" fmla="*/ 49245 w 167590"/>
                    <a:gd name="connsiteY23" fmla="*/ 56960 h 216535"/>
                    <a:gd name="connsiteX24" fmla="*/ 49245 w 167590"/>
                    <a:gd name="connsiteY24" fmla="*/ 112985 h 216535"/>
                    <a:gd name="connsiteX25" fmla="*/ 51502 w 167590"/>
                    <a:gd name="connsiteY25" fmla="*/ 118443 h 216535"/>
                    <a:gd name="connsiteX26" fmla="*/ 62039 w 167590"/>
                    <a:gd name="connsiteY26" fmla="*/ 128979 h 216535"/>
                    <a:gd name="connsiteX27" fmla="*/ 62303 w 167590"/>
                    <a:gd name="connsiteY27" fmla="*/ 129248 h 216535"/>
                    <a:gd name="connsiteX28" fmla="*/ 88905 w 167590"/>
                    <a:gd name="connsiteY28" fmla="*/ 155846 h 216535"/>
                    <a:gd name="connsiteX29" fmla="*/ 99814 w 167590"/>
                    <a:gd name="connsiteY29" fmla="*/ 155654 h 216535"/>
                    <a:gd name="connsiteX30" fmla="*/ 99812 w 167590"/>
                    <a:gd name="connsiteY30" fmla="*/ 144934 h 216535"/>
                    <a:gd name="connsiteX31" fmla="*/ 73021 w 167590"/>
                    <a:gd name="connsiteY31" fmla="*/ 118152 h 216535"/>
                    <a:gd name="connsiteX32" fmla="*/ 71473 w 167590"/>
                    <a:gd name="connsiteY32" fmla="*/ 96893 h 216535"/>
                    <a:gd name="connsiteX33" fmla="*/ 93275 w 167590"/>
                    <a:gd name="connsiteY33" fmla="*/ 94731 h 216535"/>
                    <a:gd name="connsiteX34" fmla="*/ 94398 w 167590"/>
                    <a:gd name="connsiteY34" fmla="*/ 95747 h 216535"/>
                    <a:gd name="connsiteX35" fmla="*/ 148854 w 167590"/>
                    <a:gd name="connsiteY35" fmla="*/ 150176 h 216535"/>
                    <a:gd name="connsiteX36" fmla="*/ 152169 w 167590"/>
                    <a:gd name="connsiteY36" fmla="*/ 158178 h 21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7590" h="216535">
                      <a:moveTo>
                        <a:pt x="105318" y="84827"/>
                      </a:moveTo>
                      <a:cubicBezTo>
                        <a:pt x="94362" y="73862"/>
                        <a:pt x="76976" y="72715"/>
                        <a:pt x="64675" y="82146"/>
                      </a:cubicBezTo>
                      <a:lnTo>
                        <a:pt x="64675" y="56960"/>
                      </a:lnTo>
                      <a:cubicBezTo>
                        <a:pt x="64648" y="25513"/>
                        <a:pt x="39162" y="27"/>
                        <a:pt x="7715" y="0"/>
                      </a:cubicBezTo>
                      <a:cubicBezTo>
                        <a:pt x="3454" y="0"/>
                        <a:pt x="0" y="3454"/>
                        <a:pt x="0" y="7715"/>
                      </a:cubicBezTo>
                      <a:lnTo>
                        <a:pt x="0" y="122715"/>
                      </a:lnTo>
                      <a:cubicBezTo>
                        <a:pt x="-20" y="131592"/>
                        <a:pt x="3512" y="140109"/>
                        <a:pt x="9809" y="146367"/>
                      </a:cubicBezTo>
                      <a:lnTo>
                        <a:pt x="54694" y="191247"/>
                      </a:lnTo>
                      <a:cubicBezTo>
                        <a:pt x="55805" y="192354"/>
                        <a:pt x="56427" y="193858"/>
                        <a:pt x="56422" y="195427"/>
                      </a:cubicBezTo>
                      <a:lnTo>
                        <a:pt x="56422" y="208820"/>
                      </a:lnTo>
                      <a:cubicBezTo>
                        <a:pt x="56425" y="213080"/>
                        <a:pt x="59877" y="216533"/>
                        <a:pt x="64137" y="216535"/>
                      </a:cubicBezTo>
                      <a:lnTo>
                        <a:pt x="64137" y="216535"/>
                      </a:lnTo>
                      <a:lnTo>
                        <a:pt x="159889" y="216399"/>
                      </a:lnTo>
                      <a:cubicBezTo>
                        <a:pt x="164146" y="216394"/>
                        <a:pt x="167593" y="212940"/>
                        <a:pt x="167590" y="208683"/>
                      </a:cubicBezTo>
                      <a:lnTo>
                        <a:pt x="167590" y="158178"/>
                      </a:lnTo>
                      <a:cubicBezTo>
                        <a:pt x="167610" y="151084"/>
                        <a:pt x="164794" y="144277"/>
                        <a:pt x="159770" y="139269"/>
                      </a:cubicBezTo>
                      <a:close/>
                      <a:moveTo>
                        <a:pt x="152169" y="200986"/>
                      </a:moveTo>
                      <a:lnTo>
                        <a:pt x="71852" y="201100"/>
                      </a:lnTo>
                      <a:lnTo>
                        <a:pt x="71852" y="195435"/>
                      </a:lnTo>
                      <a:cubicBezTo>
                        <a:pt x="71869" y="189773"/>
                        <a:pt x="69617" y="184340"/>
                        <a:pt x="65601" y="180349"/>
                      </a:cubicBezTo>
                      <a:lnTo>
                        <a:pt x="20721" y="135465"/>
                      </a:lnTo>
                      <a:cubicBezTo>
                        <a:pt x="17323" y="132093"/>
                        <a:pt x="15418" y="127501"/>
                        <a:pt x="15430" y="122715"/>
                      </a:cubicBezTo>
                      <a:lnTo>
                        <a:pt x="15430" y="16167"/>
                      </a:lnTo>
                      <a:cubicBezTo>
                        <a:pt x="35027" y="19894"/>
                        <a:pt x="49216" y="37012"/>
                        <a:pt x="49245" y="56960"/>
                      </a:cubicBezTo>
                      <a:lnTo>
                        <a:pt x="49245" y="112985"/>
                      </a:lnTo>
                      <a:cubicBezTo>
                        <a:pt x="49244" y="115031"/>
                        <a:pt x="50056" y="116995"/>
                        <a:pt x="51502" y="118443"/>
                      </a:cubicBezTo>
                      <a:lnTo>
                        <a:pt x="62039" y="128979"/>
                      </a:lnTo>
                      <a:cubicBezTo>
                        <a:pt x="62122" y="129072"/>
                        <a:pt x="62215" y="129156"/>
                        <a:pt x="62303" y="129248"/>
                      </a:cubicBezTo>
                      <a:lnTo>
                        <a:pt x="88905" y="155846"/>
                      </a:lnTo>
                      <a:cubicBezTo>
                        <a:pt x="91970" y="158805"/>
                        <a:pt x="96855" y="158719"/>
                        <a:pt x="99814" y="155654"/>
                      </a:cubicBezTo>
                      <a:cubicBezTo>
                        <a:pt x="102701" y="152664"/>
                        <a:pt x="102700" y="147923"/>
                        <a:pt x="99812" y="144934"/>
                      </a:cubicBezTo>
                      <a:lnTo>
                        <a:pt x="73021" y="118152"/>
                      </a:lnTo>
                      <a:cubicBezTo>
                        <a:pt x="67228" y="112465"/>
                        <a:pt x="66565" y="103359"/>
                        <a:pt x="71473" y="96893"/>
                      </a:cubicBezTo>
                      <a:cubicBezTo>
                        <a:pt x="76897" y="90276"/>
                        <a:pt x="86657" y="89308"/>
                        <a:pt x="93275" y="94731"/>
                      </a:cubicBezTo>
                      <a:cubicBezTo>
                        <a:pt x="93666" y="95051"/>
                        <a:pt x="94041" y="95390"/>
                        <a:pt x="94398" y="95747"/>
                      </a:cubicBezTo>
                      <a:lnTo>
                        <a:pt x="148854" y="150176"/>
                      </a:lnTo>
                      <a:cubicBezTo>
                        <a:pt x="150984" y="152293"/>
                        <a:pt x="152178" y="155175"/>
                        <a:pt x="152169" y="158178"/>
                      </a:cubicBezTo>
                      <a:close/>
                    </a:path>
                  </a:pathLst>
                </a:custGeom>
                <a:solidFill>
                  <a:srgbClr val="000000"/>
                </a:solidFill>
                <a:ln w="4390" cap="flat">
                  <a:noFill/>
                  <a:prstDash val="solid"/>
                  <a:miter/>
                </a:ln>
              </p:spPr>
              <p:txBody>
                <a:bodyPr rtlCol="0" anchor="ctr"/>
                <a:lstStyle/>
                <a:p>
                  <a:endParaRPr lang="pt-BR"/>
                </a:p>
              </p:txBody>
            </p:sp>
            <p:sp>
              <p:nvSpPr>
                <p:cNvPr id="120" name="Forma Livre: Forma 119">
                  <a:extLst>
                    <a:ext uri="{FF2B5EF4-FFF2-40B4-BE49-F238E27FC236}">
                      <a16:creationId xmlns:a16="http://schemas.microsoft.com/office/drawing/2014/main" id="{453CAC7A-51CD-D6F4-C0C1-E07623B3C353}"/>
                    </a:ext>
                  </a:extLst>
                </p:cNvPr>
                <p:cNvSpPr/>
                <p:nvPr/>
              </p:nvSpPr>
              <p:spPr>
                <a:xfrm>
                  <a:off x="6573607" y="5184252"/>
                  <a:ext cx="167568" cy="216543"/>
                </a:xfrm>
                <a:custGeom>
                  <a:avLst/>
                  <a:gdLst>
                    <a:gd name="connsiteX0" fmla="*/ 159853 w 167568"/>
                    <a:gd name="connsiteY0" fmla="*/ 0 h 216543"/>
                    <a:gd name="connsiteX1" fmla="*/ 102911 w 167568"/>
                    <a:gd name="connsiteY1" fmla="*/ 56960 h 216543"/>
                    <a:gd name="connsiteX2" fmla="*/ 102911 w 167568"/>
                    <a:gd name="connsiteY2" fmla="*/ 82146 h 216543"/>
                    <a:gd name="connsiteX3" fmla="*/ 85594 w 167568"/>
                    <a:gd name="connsiteY3" fmla="*/ 75829 h 216543"/>
                    <a:gd name="connsiteX4" fmla="*/ 62259 w 167568"/>
                    <a:gd name="connsiteY4" fmla="*/ 84849 h 216543"/>
                    <a:gd name="connsiteX5" fmla="*/ 7817 w 167568"/>
                    <a:gd name="connsiteY5" fmla="*/ 139269 h 216543"/>
                    <a:gd name="connsiteX6" fmla="*/ 0 w 167568"/>
                    <a:gd name="connsiteY6" fmla="*/ 158178 h 216543"/>
                    <a:gd name="connsiteX7" fmla="*/ 0 w 167568"/>
                    <a:gd name="connsiteY7" fmla="*/ 208692 h 216543"/>
                    <a:gd name="connsiteX8" fmla="*/ 7711 w 167568"/>
                    <a:gd name="connsiteY8" fmla="*/ 216407 h 216543"/>
                    <a:gd name="connsiteX9" fmla="*/ 103449 w 167568"/>
                    <a:gd name="connsiteY9" fmla="*/ 216544 h 216543"/>
                    <a:gd name="connsiteX10" fmla="*/ 103449 w 167568"/>
                    <a:gd name="connsiteY10" fmla="*/ 216544 h 216543"/>
                    <a:gd name="connsiteX11" fmla="*/ 111164 w 167568"/>
                    <a:gd name="connsiteY11" fmla="*/ 208829 h 216543"/>
                    <a:gd name="connsiteX12" fmla="*/ 111164 w 167568"/>
                    <a:gd name="connsiteY12" fmla="*/ 195435 h 216543"/>
                    <a:gd name="connsiteX13" fmla="*/ 112897 w 167568"/>
                    <a:gd name="connsiteY13" fmla="*/ 191256 h 216543"/>
                    <a:gd name="connsiteX14" fmla="*/ 157772 w 167568"/>
                    <a:gd name="connsiteY14" fmla="*/ 146367 h 216543"/>
                    <a:gd name="connsiteX15" fmla="*/ 167568 w 167568"/>
                    <a:gd name="connsiteY15" fmla="*/ 122706 h 216543"/>
                    <a:gd name="connsiteX16" fmla="*/ 167568 w 167568"/>
                    <a:gd name="connsiteY16" fmla="*/ 7733 h 216543"/>
                    <a:gd name="connsiteX17" fmla="*/ 159871 w 167568"/>
                    <a:gd name="connsiteY17" fmla="*/ 0 h 216543"/>
                    <a:gd name="connsiteX18" fmla="*/ 159853 w 167568"/>
                    <a:gd name="connsiteY18" fmla="*/ 0 h 216543"/>
                    <a:gd name="connsiteX19" fmla="*/ 152138 w 167568"/>
                    <a:gd name="connsiteY19" fmla="*/ 122697 h 216543"/>
                    <a:gd name="connsiteX20" fmla="*/ 146848 w 167568"/>
                    <a:gd name="connsiteY20" fmla="*/ 135447 h 216543"/>
                    <a:gd name="connsiteX21" fmla="*/ 101972 w 167568"/>
                    <a:gd name="connsiteY21" fmla="*/ 180353 h 216543"/>
                    <a:gd name="connsiteX22" fmla="*/ 95725 w 167568"/>
                    <a:gd name="connsiteY22" fmla="*/ 195435 h 216543"/>
                    <a:gd name="connsiteX23" fmla="*/ 95725 w 167568"/>
                    <a:gd name="connsiteY23" fmla="*/ 201100 h 216543"/>
                    <a:gd name="connsiteX24" fmla="*/ 15430 w 167568"/>
                    <a:gd name="connsiteY24" fmla="*/ 200986 h 216543"/>
                    <a:gd name="connsiteX25" fmla="*/ 15430 w 167568"/>
                    <a:gd name="connsiteY25" fmla="*/ 158178 h 216543"/>
                    <a:gd name="connsiteX26" fmla="*/ 18741 w 167568"/>
                    <a:gd name="connsiteY26" fmla="*/ 150181 h 216543"/>
                    <a:gd name="connsiteX27" fmla="*/ 73184 w 167568"/>
                    <a:gd name="connsiteY27" fmla="*/ 95734 h 216543"/>
                    <a:gd name="connsiteX28" fmla="*/ 95092 w 167568"/>
                    <a:gd name="connsiteY28" fmla="*/ 95757 h 216543"/>
                    <a:gd name="connsiteX29" fmla="*/ 96109 w 167568"/>
                    <a:gd name="connsiteY29" fmla="*/ 96880 h 216543"/>
                    <a:gd name="connsiteX30" fmla="*/ 94367 w 167568"/>
                    <a:gd name="connsiteY30" fmla="*/ 118337 h 216543"/>
                    <a:gd name="connsiteX31" fmla="*/ 67765 w 167568"/>
                    <a:gd name="connsiteY31" fmla="*/ 144934 h 216543"/>
                    <a:gd name="connsiteX32" fmla="*/ 67765 w 167568"/>
                    <a:gd name="connsiteY32" fmla="*/ 155846 h 216543"/>
                    <a:gd name="connsiteX33" fmla="*/ 78677 w 167568"/>
                    <a:gd name="connsiteY33" fmla="*/ 155846 h 216543"/>
                    <a:gd name="connsiteX34" fmla="*/ 105274 w 167568"/>
                    <a:gd name="connsiteY34" fmla="*/ 129248 h 216543"/>
                    <a:gd name="connsiteX35" fmla="*/ 105274 w 167568"/>
                    <a:gd name="connsiteY35" fmla="*/ 129248 h 216543"/>
                    <a:gd name="connsiteX36" fmla="*/ 116062 w 167568"/>
                    <a:gd name="connsiteY36" fmla="*/ 118460 h 216543"/>
                    <a:gd name="connsiteX37" fmla="*/ 118324 w 167568"/>
                    <a:gd name="connsiteY37" fmla="*/ 113002 h 216543"/>
                    <a:gd name="connsiteX38" fmla="*/ 118324 w 167568"/>
                    <a:gd name="connsiteY38" fmla="*/ 56960 h 216543"/>
                    <a:gd name="connsiteX39" fmla="*/ 152121 w 167568"/>
                    <a:gd name="connsiteY39" fmla="*/ 16167 h 21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7568" h="216543">
                      <a:moveTo>
                        <a:pt x="159853" y="0"/>
                      </a:moveTo>
                      <a:cubicBezTo>
                        <a:pt x="128414" y="37"/>
                        <a:pt x="102938" y="25520"/>
                        <a:pt x="102911" y="56960"/>
                      </a:cubicBezTo>
                      <a:lnTo>
                        <a:pt x="102911" y="82146"/>
                      </a:lnTo>
                      <a:cubicBezTo>
                        <a:pt x="97914" y="78332"/>
                        <a:pt x="91874" y="76128"/>
                        <a:pt x="85594" y="75829"/>
                      </a:cubicBezTo>
                      <a:cubicBezTo>
                        <a:pt x="76886" y="75371"/>
                        <a:pt x="68395" y="78652"/>
                        <a:pt x="62259" y="84849"/>
                      </a:cubicBezTo>
                      <a:lnTo>
                        <a:pt x="7817" y="139269"/>
                      </a:lnTo>
                      <a:cubicBezTo>
                        <a:pt x="2791" y="144276"/>
                        <a:pt x="-23" y="151084"/>
                        <a:pt x="0" y="158178"/>
                      </a:cubicBezTo>
                      <a:lnTo>
                        <a:pt x="0" y="208692"/>
                      </a:lnTo>
                      <a:cubicBezTo>
                        <a:pt x="0" y="212951"/>
                        <a:pt x="3452" y="216405"/>
                        <a:pt x="7711" y="216407"/>
                      </a:cubicBezTo>
                      <a:lnTo>
                        <a:pt x="103449" y="216544"/>
                      </a:lnTo>
                      <a:lnTo>
                        <a:pt x="103449" y="216544"/>
                      </a:lnTo>
                      <a:cubicBezTo>
                        <a:pt x="107710" y="216544"/>
                        <a:pt x="111164" y="213090"/>
                        <a:pt x="111164" y="208829"/>
                      </a:cubicBezTo>
                      <a:lnTo>
                        <a:pt x="111164" y="195435"/>
                      </a:lnTo>
                      <a:cubicBezTo>
                        <a:pt x="111162" y="193867"/>
                        <a:pt x="111786" y="192363"/>
                        <a:pt x="112897" y="191256"/>
                      </a:cubicBezTo>
                      <a:lnTo>
                        <a:pt x="157772" y="146367"/>
                      </a:lnTo>
                      <a:cubicBezTo>
                        <a:pt x="164068" y="140105"/>
                        <a:pt x="167595" y="131585"/>
                        <a:pt x="167568" y="122706"/>
                      </a:cubicBezTo>
                      <a:lnTo>
                        <a:pt x="167568" y="7733"/>
                      </a:lnTo>
                      <a:cubicBezTo>
                        <a:pt x="167577" y="3472"/>
                        <a:pt x="164130" y="10"/>
                        <a:pt x="159871" y="0"/>
                      </a:cubicBezTo>
                      <a:cubicBezTo>
                        <a:pt x="159867" y="0"/>
                        <a:pt x="159858" y="0"/>
                        <a:pt x="159853" y="0"/>
                      </a:cubicBezTo>
                      <a:close/>
                      <a:moveTo>
                        <a:pt x="152138" y="122697"/>
                      </a:moveTo>
                      <a:cubicBezTo>
                        <a:pt x="152148" y="127483"/>
                        <a:pt x="150243" y="132074"/>
                        <a:pt x="146848" y="135447"/>
                      </a:cubicBezTo>
                      <a:lnTo>
                        <a:pt x="101972" y="180353"/>
                      </a:lnTo>
                      <a:cubicBezTo>
                        <a:pt x="97961" y="184346"/>
                        <a:pt x="95711" y="189776"/>
                        <a:pt x="95725" y="195435"/>
                      </a:cubicBezTo>
                      <a:lnTo>
                        <a:pt x="95725" y="201100"/>
                      </a:lnTo>
                      <a:lnTo>
                        <a:pt x="15430" y="200986"/>
                      </a:lnTo>
                      <a:lnTo>
                        <a:pt x="15430" y="158178"/>
                      </a:lnTo>
                      <a:cubicBezTo>
                        <a:pt x="15422" y="155177"/>
                        <a:pt x="16615" y="152298"/>
                        <a:pt x="18741" y="150181"/>
                      </a:cubicBezTo>
                      <a:lnTo>
                        <a:pt x="73184" y="95734"/>
                      </a:lnTo>
                      <a:cubicBezTo>
                        <a:pt x="79240" y="89690"/>
                        <a:pt x="89049" y="89701"/>
                        <a:pt x="95092" y="95757"/>
                      </a:cubicBezTo>
                      <a:cubicBezTo>
                        <a:pt x="95450" y="96115"/>
                        <a:pt x="95789" y="96489"/>
                        <a:pt x="96109" y="96880"/>
                      </a:cubicBezTo>
                      <a:cubicBezTo>
                        <a:pt x="101071" y="103434"/>
                        <a:pt x="100322" y="112669"/>
                        <a:pt x="94367" y="118337"/>
                      </a:cubicBezTo>
                      <a:lnTo>
                        <a:pt x="67765" y="144934"/>
                      </a:lnTo>
                      <a:cubicBezTo>
                        <a:pt x="64753" y="147948"/>
                        <a:pt x="64753" y="152833"/>
                        <a:pt x="67765" y="155846"/>
                      </a:cubicBezTo>
                      <a:cubicBezTo>
                        <a:pt x="70779" y="158859"/>
                        <a:pt x="75664" y="158859"/>
                        <a:pt x="78677" y="155846"/>
                      </a:cubicBezTo>
                      <a:lnTo>
                        <a:pt x="105274" y="129248"/>
                      </a:lnTo>
                      <a:lnTo>
                        <a:pt x="105274" y="129248"/>
                      </a:lnTo>
                      <a:lnTo>
                        <a:pt x="116062" y="118460"/>
                      </a:lnTo>
                      <a:cubicBezTo>
                        <a:pt x="117511" y="117014"/>
                        <a:pt x="118325" y="115050"/>
                        <a:pt x="118324" y="113002"/>
                      </a:cubicBezTo>
                      <a:lnTo>
                        <a:pt x="118324" y="56960"/>
                      </a:lnTo>
                      <a:cubicBezTo>
                        <a:pt x="118353" y="37018"/>
                        <a:pt x="132532" y="19904"/>
                        <a:pt x="152121" y="16167"/>
                      </a:cubicBezTo>
                      <a:close/>
                    </a:path>
                  </a:pathLst>
                </a:custGeom>
                <a:solidFill>
                  <a:srgbClr val="000000"/>
                </a:solidFill>
                <a:ln w="4390" cap="flat">
                  <a:noFill/>
                  <a:prstDash val="solid"/>
                  <a:miter/>
                </a:ln>
              </p:spPr>
              <p:txBody>
                <a:bodyPr rtlCol="0" anchor="ctr"/>
                <a:lstStyle/>
                <a:p>
                  <a:endParaRPr lang="pt-BR"/>
                </a:p>
              </p:txBody>
            </p:sp>
            <p:sp>
              <p:nvSpPr>
                <p:cNvPr id="121" name="Forma Livre: Forma 120">
                  <a:extLst>
                    <a:ext uri="{FF2B5EF4-FFF2-40B4-BE49-F238E27FC236}">
                      <a16:creationId xmlns:a16="http://schemas.microsoft.com/office/drawing/2014/main" id="{CF8C971F-0FC3-CEF2-6840-2E93DB248930}"/>
                    </a:ext>
                  </a:extLst>
                </p:cNvPr>
                <p:cNvSpPr/>
                <p:nvPr/>
              </p:nvSpPr>
              <p:spPr>
                <a:xfrm>
                  <a:off x="6487916" y="5116324"/>
                  <a:ext cx="149175" cy="151318"/>
                </a:xfrm>
                <a:custGeom>
                  <a:avLst/>
                  <a:gdLst>
                    <a:gd name="connsiteX0" fmla="*/ 97215 w 149175"/>
                    <a:gd name="connsiteY0" fmla="*/ 82301 h 151318"/>
                    <a:gd name="connsiteX1" fmla="*/ 149175 w 149175"/>
                    <a:gd name="connsiteY1" fmla="*/ 30345 h 151318"/>
                    <a:gd name="connsiteX2" fmla="*/ 149175 w 149175"/>
                    <a:gd name="connsiteY2" fmla="*/ 7715 h 151318"/>
                    <a:gd name="connsiteX3" fmla="*/ 141469 w 149175"/>
                    <a:gd name="connsiteY3" fmla="*/ 0 h 151318"/>
                    <a:gd name="connsiteX4" fmla="*/ 141460 w 149175"/>
                    <a:gd name="connsiteY4" fmla="*/ 0 h 151318"/>
                    <a:gd name="connsiteX5" fmla="*/ 118831 w 149175"/>
                    <a:gd name="connsiteY5" fmla="*/ 0 h 151318"/>
                    <a:gd name="connsiteX6" fmla="*/ 74586 w 149175"/>
                    <a:gd name="connsiteY6" fmla="*/ 24856 h 151318"/>
                    <a:gd name="connsiteX7" fmla="*/ 30340 w 149175"/>
                    <a:gd name="connsiteY7" fmla="*/ 0 h 151318"/>
                    <a:gd name="connsiteX8" fmla="*/ 7715 w 149175"/>
                    <a:gd name="connsiteY8" fmla="*/ 0 h 151318"/>
                    <a:gd name="connsiteX9" fmla="*/ 0 w 149175"/>
                    <a:gd name="connsiteY9" fmla="*/ 7706 h 151318"/>
                    <a:gd name="connsiteX10" fmla="*/ 0 w 149175"/>
                    <a:gd name="connsiteY10" fmla="*/ 7715 h 151318"/>
                    <a:gd name="connsiteX11" fmla="*/ 0 w 149175"/>
                    <a:gd name="connsiteY11" fmla="*/ 30345 h 151318"/>
                    <a:gd name="connsiteX12" fmla="*/ 51960 w 149175"/>
                    <a:gd name="connsiteY12" fmla="*/ 82301 h 151318"/>
                    <a:gd name="connsiteX13" fmla="*/ 66870 w 149175"/>
                    <a:gd name="connsiteY13" fmla="*/ 82301 h 151318"/>
                    <a:gd name="connsiteX14" fmla="*/ 66870 w 149175"/>
                    <a:gd name="connsiteY14" fmla="*/ 143603 h 151318"/>
                    <a:gd name="connsiteX15" fmla="*/ 74586 w 149175"/>
                    <a:gd name="connsiteY15" fmla="*/ 151318 h 151318"/>
                    <a:gd name="connsiteX16" fmla="*/ 82301 w 149175"/>
                    <a:gd name="connsiteY16" fmla="*/ 143603 h 151318"/>
                    <a:gd name="connsiteX17" fmla="*/ 82301 w 149175"/>
                    <a:gd name="connsiteY17" fmla="*/ 82301 h 151318"/>
                    <a:gd name="connsiteX18" fmla="*/ 118817 w 149175"/>
                    <a:gd name="connsiteY18" fmla="*/ 15430 h 151318"/>
                    <a:gd name="connsiteX19" fmla="*/ 133745 w 149175"/>
                    <a:gd name="connsiteY19" fmla="*/ 15430 h 151318"/>
                    <a:gd name="connsiteX20" fmla="*/ 133745 w 149175"/>
                    <a:gd name="connsiteY20" fmla="*/ 30345 h 151318"/>
                    <a:gd name="connsiteX21" fmla="*/ 97220 w 149175"/>
                    <a:gd name="connsiteY21" fmla="*/ 66870 h 151318"/>
                    <a:gd name="connsiteX22" fmla="*/ 82301 w 149175"/>
                    <a:gd name="connsiteY22" fmla="*/ 66870 h 151318"/>
                    <a:gd name="connsiteX23" fmla="*/ 82301 w 149175"/>
                    <a:gd name="connsiteY23" fmla="*/ 51960 h 151318"/>
                    <a:gd name="connsiteX24" fmla="*/ 118831 w 149175"/>
                    <a:gd name="connsiteY24" fmla="*/ 15430 h 151318"/>
                    <a:gd name="connsiteX25" fmla="*/ 15430 w 149175"/>
                    <a:gd name="connsiteY25" fmla="*/ 30345 h 151318"/>
                    <a:gd name="connsiteX26" fmla="*/ 15430 w 149175"/>
                    <a:gd name="connsiteY26" fmla="*/ 15430 h 151318"/>
                    <a:gd name="connsiteX27" fmla="*/ 30340 w 149175"/>
                    <a:gd name="connsiteY27" fmla="*/ 15430 h 151318"/>
                    <a:gd name="connsiteX28" fmla="*/ 66870 w 149175"/>
                    <a:gd name="connsiteY28" fmla="*/ 51960 h 151318"/>
                    <a:gd name="connsiteX29" fmla="*/ 66870 w 149175"/>
                    <a:gd name="connsiteY29" fmla="*/ 66870 h 151318"/>
                    <a:gd name="connsiteX30" fmla="*/ 51960 w 149175"/>
                    <a:gd name="connsiteY30" fmla="*/ 66870 h 151318"/>
                    <a:gd name="connsiteX31" fmla="*/ 15430 w 149175"/>
                    <a:gd name="connsiteY31" fmla="*/ 30345 h 15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9175" h="151318">
                      <a:moveTo>
                        <a:pt x="97215" y="82301"/>
                      </a:moveTo>
                      <a:cubicBezTo>
                        <a:pt x="125896" y="82267"/>
                        <a:pt x="149139" y="59026"/>
                        <a:pt x="149175" y="30345"/>
                      </a:cubicBezTo>
                      <a:lnTo>
                        <a:pt x="149175" y="7715"/>
                      </a:lnTo>
                      <a:cubicBezTo>
                        <a:pt x="149178" y="3457"/>
                        <a:pt x="145728" y="3"/>
                        <a:pt x="141469" y="0"/>
                      </a:cubicBezTo>
                      <a:cubicBezTo>
                        <a:pt x="141466" y="0"/>
                        <a:pt x="141463" y="0"/>
                        <a:pt x="141460" y="0"/>
                      </a:cubicBezTo>
                      <a:lnTo>
                        <a:pt x="118831" y="0"/>
                      </a:lnTo>
                      <a:cubicBezTo>
                        <a:pt x="100762" y="23"/>
                        <a:pt x="84005" y="9437"/>
                        <a:pt x="74586" y="24856"/>
                      </a:cubicBezTo>
                      <a:cubicBezTo>
                        <a:pt x="65166" y="9438"/>
                        <a:pt x="48409" y="24"/>
                        <a:pt x="30340" y="0"/>
                      </a:cubicBezTo>
                      <a:lnTo>
                        <a:pt x="7715" y="0"/>
                      </a:lnTo>
                      <a:cubicBezTo>
                        <a:pt x="3457" y="-3"/>
                        <a:pt x="3" y="3448"/>
                        <a:pt x="0" y="7706"/>
                      </a:cubicBezTo>
                      <a:cubicBezTo>
                        <a:pt x="0" y="7709"/>
                        <a:pt x="0" y="7712"/>
                        <a:pt x="0" y="7715"/>
                      </a:cubicBezTo>
                      <a:lnTo>
                        <a:pt x="0" y="30345"/>
                      </a:lnTo>
                      <a:cubicBezTo>
                        <a:pt x="37" y="59026"/>
                        <a:pt x="23279" y="82267"/>
                        <a:pt x="51960" y="82301"/>
                      </a:cubicBezTo>
                      <a:lnTo>
                        <a:pt x="66870" y="82301"/>
                      </a:lnTo>
                      <a:lnTo>
                        <a:pt x="66870" y="143603"/>
                      </a:lnTo>
                      <a:cubicBezTo>
                        <a:pt x="66870" y="147864"/>
                        <a:pt x="70325" y="151318"/>
                        <a:pt x="74586" y="151318"/>
                      </a:cubicBezTo>
                      <a:cubicBezTo>
                        <a:pt x="78846" y="151318"/>
                        <a:pt x="82301" y="147864"/>
                        <a:pt x="82301" y="143603"/>
                      </a:cubicBezTo>
                      <a:lnTo>
                        <a:pt x="82301" y="82301"/>
                      </a:lnTo>
                      <a:close/>
                      <a:moveTo>
                        <a:pt x="118817" y="15430"/>
                      </a:moveTo>
                      <a:lnTo>
                        <a:pt x="133745" y="15430"/>
                      </a:lnTo>
                      <a:lnTo>
                        <a:pt x="133745" y="30345"/>
                      </a:lnTo>
                      <a:cubicBezTo>
                        <a:pt x="133709" y="50502"/>
                        <a:pt x="117377" y="66834"/>
                        <a:pt x="97220" y="66870"/>
                      </a:cubicBezTo>
                      <a:lnTo>
                        <a:pt x="82301" y="66870"/>
                      </a:lnTo>
                      <a:lnTo>
                        <a:pt x="82301" y="51960"/>
                      </a:lnTo>
                      <a:cubicBezTo>
                        <a:pt x="82335" y="31800"/>
                        <a:pt x="98670" y="15464"/>
                        <a:pt x="118831" y="15430"/>
                      </a:cubicBezTo>
                      <a:close/>
                      <a:moveTo>
                        <a:pt x="15430" y="30345"/>
                      </a:moveTo>
                      <a:lnTo>
                        <a:pt x="15430" y="15430"/>
                      </a:lnTo>
                      <a:lnTo>
                        <a:pt x="30340" y="15430"/>
                      </a:lnTo>
                      <a:cubicBezTo>
                        <a:pt x="50501" y="15464"/>
                        <a:pt x="66836" y="31800"/>
                        <a:pt x="66870" y="51960"/>
                      </a:cubicBezTo>
                      <a:lnTo>
                        <a:pt x="66870" y="66870"/>
                      </a:lnTo>
                      <a:lnTo>
                        <a:pt x="51960" y="66870"/>
                      </a:lnTo>
                      <a:cubicBezTo>
                        <a:pt x="31801" y="66836"/>
                        <a:pt x="15467" y="50504"/>
                        <a:pt x="15430" y="30345"/>
                      </a:cubicBezTo>
                      <a:close/>
                    </a:path>
                  </a:pathLst>
                </a:custGeom>
                <a:solidFill>
                  <a:schemeClr val="accent2"/>
                </a:solidFill>
                <a:ln w="4390" cap="flat">
                  <a:noFill/>
                  <a:prstDash val="solid"/>
                  <a:miter/>
                </a:ln>
              </p:spPr>
              <p:txBody>
                <a:bodyPr rtlCol="0" anchor="ctr"/>
                <a:lstStyle/>
                <a:p>
                  <a:endParaRPr lang="pt-BR"/>
                </a:p>
              </p:txBody>
            </p:sp>
          </p:grpSp>
        </p:grpSp>
        <p:grpSp>
          <p:nvGrpSpPr>
            <p:cNvPr id="87" name="Agrupar 86">
              <a:extLst>
                <a:ext uri="{FF2B5EF4-FFF2-40B4-BE49-F238E27FC236}">
                  <a16:creationId xmlns:a16="http://schemas.microsoft.com/office/drawing/2014/main" id="{6EF94614-958E-6450-736F-2EE9C028F469}"/>
                </a:ext>
              </a:extLst>
            </p:cNvPr>
            <p:cNvGrpSpPr/>
            <p:nvPr/>
          </p:nvGrpSpPr>
          <p:grpSpPr>
            <a:xfrm>
              <a:off x="5832338" y="4286517"/>
              <a:ext cx="808992" cy="808992"/>
              <a:chOff x="5832338" y="4286517"/>
              <a:chExt cx="808992" cy="808992"/>
            </a:xfrm>
          </p:grpSpPr>
          <p:sp>
            <p:nvSpPr>
              <p:cNvPr id="5" name="Oval 11">
                <a:extLst>
                  <a:ext uri="{FF2B5EF4-FFF2-40B4-BE49-F238E27FC236}">
                    <a16:creationId xmlns:a16="http://schemas.microsoft.com/office/drawing/2014/main" id="{F19C5414-7923-9BA7-F6D2-66BC086DDB8A}"/>
                  </a:ext>
                </a:extLst>
              </p:cNvPr>
              <p:cNvSpPr/>
              <p:nvPr/>
            </p:nvSpPr>
            <p:spPr>
              <a:xfrm>
                <a:off x="5832338" y="4286517"/>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7" name="Forma Livre: Forma 104">
                <a:extLst>
                  <a:ext uri="{FF2B5EF4-FFF2-40B4-BE49-F238E27FC236}">
                    <a16:creationId xmlns:a16="http://schemas.microsoft.com/office/drawing/2014/main" id="{C5D28AE1-D7A5-9D78-EB05-92629792B1D5}"/>
                  </a:ext>
                </a:extLst>
              </p:cNvPr>
              <p:cNvSpPr/>
              <p:nvPr/>
            </p:nvSpPr>
            <p:spPr>
              <a:xfrm>
                <a:off x="6027075" y="4516964"/>
                <a:ext cx="49079" cy="49079"/>
              </a:xfrm>
              <a:custGeom>
                <a:avLst/>
                <a:gdLst>
                  <a:gd name="connsiteX0" fmla="*/ 32720 w 49079"/>
                  <a:gd name="connsiteY0" fmla="*/ 16360 h 49079"/>
                  <a:gd name="connsiteX1" fmla="*/ 32720 w 49079"/>
                  <a:gd name="connsiteY1" fmla="*/ 0 h 49079"/>
                  <a:gd name="connsiteX2" fmla="*/ 16360 w 49079"/>
                  <a:gd name="connsiteY2" fmla="*/ 0 h 49079"/>
                  <a:gd name="connsiteX3" fmla="*/ 16360 w 49079"/>
                  <a:gd name="connsiteY3" fmla="*/ 16360 h 49079"/>
                  <a:gd name="connsiteX4" fmla="*/ 0 w 49079"/>
                  <a:gd name="connsiteY4" fmla="*/ 16360 h 49079"/>
                  <a:gd name="connsiteX5" fmla="*/ 0 w 49079"/>
                  <a:gd name="connsiteY5" fmla="*/ 32720 h 49079"/>
                  <a:gd name="connsiteX6" fmla="*/ 16360 w 49079"/>
                  <a:gd name="connsiteY6" fmla="*/ 32720 h 49079"/>
                  <a:gd name="connsiteX7" fmla="*/ 16360 w 49079"/>
                  <a:gd name="connsiteY7" fmla="*/ 49080 h 49079"/>
                  <a:gd name="connsiteX8" fmla="*/ 32720 w 49079"/>
                  <a:gd name="connsiteY8" fmla="*/ 49080 h 49079"/>
                  <a:gd name="connsiteX9" fmla="*/ 32720 w 49079"/>
                  <a:gd name="connsiteY9" fmla="*/ 32720 h 49079"/>
                  <a:gd name="connsiteX10" fmla="*/ 49080 w 49079"/>
                  <a:gd name="connsiteY10" fmla="*/ 32720 h 49079"/>
                  <a:gd name="connsiteX11" fmla="*/ 49080 w 49079"/>
                  <a:gd name="connsiteY11" fmla="*/ 16360 h 49079"/>
                  <a:gd name="connsiteX12" fmla="*/ 32720 w 49079"/>
                  <a:gd name="connsiteY12" fmla="*/ 16360 h 4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79" h="49079">
                    <a:moveTo>
                      <a:pt x="32720" y="16360"/>
                    </a:moveTo>
                    <a:lnTo>
                      <a:pt x="32720" y="0"/>
                    </a:lnTo>
                    <a:lnTo>
                      <a:pt x="16360" y="0"/>
                    </a:lnTo>
                    <a:lnTo>
                      <a:pt x="16360" y="16360"/>
                    </a:lnTo>
                    <a:lnTo>
                      <a:pt x="0" y="16360"/>
                    </a:lnTo>
                    <a:lnTo>
                      <a:pt x="0" y="32720"/>
                    </a:lnTo>
                    <a:lnTo>
                      <a:pt x="16360" y="32720"/>
                    </a:lnTo>
                    <a:lnTo>
                      <a:pt x="16360" y="49080"/>
                    </a:lnTo>
                    <a:lnTo>
                      <a:pt x="32720" y="49080"/>
                    </a:lnTo>
                    <a:lnTo>
                      <a:pt x="32720" y="32720"/>
                    </a:lnTo>
                    <a:lnTo>
                      <a:pt x="49080" y="32720"/>
                    </a:lnTo>
                    <a:lnTo>
                      <a:pt x="49080" y="16360"/>
                    </a:lnTo>
                    <a:lnTo>
                      <a:pt x="32720" y="16360"/>
                    </a:lnTo>
                    <a:close/>
                  </a:path>
                </a:pathLst>
              </a:custGeom>
              <a:solidFill>
                <a:srgbClr val="000532"/>
              </a:solidFill>
              <a:ln w="8096" cap="flat">
                <a:noFill/>
                <a:prstDash val="solid"/>
                <a:miter/>
              </a:ln>
            </p:spPr>
            <p:txBody>
              <a:bodyPr rtlCol="0" anchor="ctr"/>
              <a:lstStyle/>
              <a:p>
                <a:endParaRPr lang="pt-BR"/>
              </a:p>
            </p:txBody>
          </p:sp>
          <p:sp>
            <p:nvSpPr>
              <p:cNvPr id="9" name="Forma Livre: Forma 105">
                <a:extLst>
                  <a:ext uri="{FF2B5EF4-FFF2-40B4-BE49-F238E27FC236}">
                    <a16:creationId xmlns:a16="http://schemas.microsoft.com/office/drawing/2014/main" id="{FABDB61F-16BE-854A-373E-AAB8EBFB4D4B}"/>
                  </a:ext>
                </a:extLst>
              </p:cNvPr>
              <p:cNvSpPr/>
              <p:nvPr/>
            </p:nvSpPr>
            <p:spPr>
              <a:xfrm>
                <a:off x="5999713" y="4623261"/>
                <a:ext cx="176073" cy="220899"/>
              </a:xfrm>
              <a:custGeom>
                <a:avLst/>
                <a:gdLst>
                  <a:gd name="connsiteX0" fmla="*/ 132638 w 176073"/>
                  <a:gd name="connsiteY0" fmla="*/ 216728 h 220899"/>
                  <a:gd name="connsiteX1" fmla="*/ 132557 w 176073"/>
                  <a:gd name="connsiteY1" fmla="*/ 208466 h 220899"/>
                  <a:gd name="connsiteX2" fmla="*/ 108017 w 176073"/>
                  <a:gd name="connsiteY2" fmla="*/ 167567 h 220899"/>
                  <a:gd name="connsiteX3" fmla="*/ 103845 w 176073"/>
                  <a:gd name="connsiteY3" fmla="*/ 164131 h 220899"/>
                  <a:gd name="connsiteX4" fmla="*/ 66954 w 176073"/>
                  <a:gd name="connsiteY4" fmla="*/ 150307 h 220899"/>
                  <a:gd name="connsiteX5" fmla="*/ 85931 w 176073"/>
                  <a:gd name="connsiteY5" fmla="*/ 147117 h 220899"/>
                  <a:gd name="connsiteX6" fmla="*/ 91821 w 176073"/>
                  <a:gd name="connsiteY6" fmla="*/ 142945 h 220899"/>
                  <a:gd name="connsiteX7" fmla="*/ 92066 w 176073"/>
                  <a:gd name="connsiteY7" fmla="*/ 135747 h 220899"/>
                  <a:gd name="connsiteX8" fmla="*/ 73007 w 176073"/>
                  <a:gd name="connsiteY8" fmla="*/ 92802 h 220899"/>
                  <a:gd name="connsiteX9" fmla="*/ 87649 w 176073"/>
                  <a:gd name="connsiteY9" fmla="*/ 104581 h 220899"/>
                  <a:gd name="connsiteX10" fmla="*/ 98528 w 176073"/>
                  <a:gd name="connsiteY10" fmla="*/ 104009 h 220899"/>
                  <a:gd name="connsiteX11" fmla="*/ 109080 w 176073"/>
                  <a:gd name="connsiteY11" fmla="*/ 93457 h 220899"/>
                  <a:gd name="connsiteX12" fmla="*/ 109080 w 176073"/>
                  <a:gd name="connsiteY12" fmla="*/ 139182 h 220899"/>
                  <a:gd name="connsiteX13" fmla="*/ 110307 w 176073"/>
                  <a:gd name="connsiteY13" fmla="*/ 143518 h 220899"/>
                  <a:gd name="connsiteX14" fmla="*/ 140164 w 176073"/>
                  <a:gd name="connsiteY14" fmla="*/ 191289 h 220899"/>
                  <a:gd name="connsiteX15" fmla="*/ 148426 w 176073"/>
                  <a:gd name="connsiteY15" fmla="*/ 173702 h 220899"/>
                  <a:gd name="connsiteX16" fmla="*/ 125358 w 176073"/>
                  <a:gd name="connsiteY16" fmla="*/ 136892 h 220899"/>
                  <a:gd name="connsiteX17" fmla="*/ 125358 w 176073"/>
                  <a:gd name="connsiteY17" fmla="*/ 73825 h 220899"/>
                  <a:gd name="connsiteX18" fmla="*/ 120287 w 176073"/>
                  <a:gd name="connsiteY18" fmla="*/ 66299 h 220899"/>
                  <a:gd name="connsiteX19" fmla="*/ 111371 w 176073"/>
                  <a:gd name="connsiteY19" fmla="*/ 68099 h 220899"/>
                  <a:gd name="connsiteX20" fmla="*/ 91984 w 176073"/>
                  <a:gd name="connsiteY20" fmla="*/ 87485 h 220899"/>
                  <a:gd name="connsiteX21" fmla="*/ 56811 w 176073"/>
                  <a:gd name="connsiteY21" fmla="*/ 59346 h 220899"/>
                  <a:gd name="connsiteX22" fmla="*/ 46667 w 176073"/>
                  <a:gd name="connsiteY22" fmla="*/ 59265 h 220899"/>
                  <a:gd name="connsiteX23" fmla="*/ 44213 w 176073"/>
                  <a:gd name="connsiteY23" fmla="*/ 69081 h 220899"/>
                  <a:gd name="connsiteX24" fmla="*/ 72680 w 176073"/>
                  <a:gd name="connsiteY24" fmla="*/ 133047 h 220899"/>
                  <a:gd name="connsiteX25" fmla="*/ 33989 w 176073"/>
                  <a:gd name="connsiteY25" fmla="*/ 139510 h 220899"/>
                  <a:gd name="connsiteX26" fmla="*/ 27199 w 176073"/>
                  <a:gd name="connsiteY26" fmla="*/ 146790 h 220899"/>
                  <a:gd name="connsiteX27" fmla="*/ 32434 w 176073"/>
                  <a:gd name="connsiteY27" fmla="*/ 155215 h 220899"/>
                  <a:gd name="connsiteX28" fmla="*/ 95174 w 176073"/>
                  <a:gd name="connsiteY28" fmla="*/ 178773 h 220899"/>
                  <a:gd name="connsiteX29" fmla="*/ 110062 w 176073"/>
                  <a:gd name="connsiteY29" fmla="*/ 203640 h 220899"/>
                  <a:gd name="connsiteX30" fmla="*/ 26381 w 176073"/>
                  <a:gd name="connsiteY30" fmla="*/ 152516 h 220899"/>
                  <a:gd name="connsiteX31" fmla="*/ 25072 w 176073"/>
                  <a:gd name="connsiteY31" fmla="*/ 17547 h 220899"/>
                  <a:gd name="connsiteX32" fmla="*/ 143109 w 176073"/>
                  <a:gd name="connsiteY32" fmla="*/ 78651 h 220899"/>
                  <a:gd name="connsiteX33" fmla="*/ 162004 w 176073"/>
                  <a:gd name="connsiteY33" fmla="*/ 144745 h 220899"/>
                  <a:gd name="connsiteX34" fmla="*/ 176074 w 176073"/>
                  <a:gd name="connsiteY34" fmla="*/ 115542 h 220899"/>
                  <a:gd name="connsiteX35" fmla="*/ 156442 w 176073"/>
                  <a:gd name="connsiteY35" fmla="*/ 69162 h 220899"/>
                  <a:gd name="connsiteX36" fmla="*/ 19919 w 176073"/>
                  <a:gd name="connsiteY36" fmla="*/ 42 h 220899"/>
                  <a:gd name="connsiteX37" fmla="*/ 11248 w 176073"/>
                  <a:gd name="connsiteY37" fmla="*/ 6013 h 220899"/>
                  <a:gd name="connsiteX38" fmla="*/ 11657 w 176073"/>
                  <a:gd name="connsiteY38" fmla="*/ 158651 h 220899"/>
                  <a:gd name="connsiteX39" fmla="*/ 125522 w 176073"/>
                  <a:gd name="connsiteY39" fmla="*/ 220900 h 220899"/>
                  <a:gd name="connsiteX40" fmla="*/ 132638 w 176073"/>
                  <a:gd name="connsiteY40" fmla="*/ 216728 h 22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073" h="220899">
                    <a:moveTo>
                      <a:pt x="132638" y="216728"/>
                    </a:moveTo>
                    <a:cubicBezTo>
                      <a:pt x="134111" y="214192"/>
                      <a:pt x="134029" y="211002"/>
                      <a:pt x="132557" y="208466"/>
                    </a:cubicBezTo>
                    <a:lnTo>
                      <a:pt x="108017" y="167567"/>
                    </a:lnTo>
                    <a:cubicBezTo>
                      <a:pt x="107035" y="166013"/>
                      <a:pt x="105645" y="164786"/>
                      <a:pt x="103845" y="164131"/>
                    </a:cubicBezTo>
                    <a:lnTo>
                      <a:pt x="66954" y="150307"/>
                    </a:lnTo>
                    <a:lnTo>
                      <a:pt x="85931" y="147117"/>
                    </a:lnTo>
                    <a:cubicBezTo>
                      <a:pt x="88467" y="146708"/>
                      <a:pt x="90594" y="145154"/>
                      <a:pt x="91821" y="142945"/>
                    </a:cubicBezTo>
                    <a:cubicBezTo>
                      <a:pt x="93048" y="140737"/>
                      <a:pt x="93129" y="138037"/>
                      <a:pt x="92066" y="135747"/>
                    </a:cubicBezTo>
                    <a:lnTo>
                      <a:pt x="73007" y="92802"/>
                    </a:lnTo>
                    <a:lnTo>
                      <a:pt x="87649" y="104581"/>
                    </a:lnTo>
                    <a:cubicBezTo>
                      <a:pt x="90921" y="107199"/>
                      <a:pt x="95583" y="106954"/>
                      <a:pt x="98528" y="104009"/>
                    </a:cubicBezTo>
                    <a:lnTo>
                      <a:pt x="109080" y="93457"/>
                    </a:lnTo>
                    <a:lnTo>
                      <a:pt x="109080" y="139182"/>
                    </a:lnTo>
                    <a:cubicBezTo>
                      <a:pt x="109080" y="140737"/>
                      <a:pt x="109489" y="142209"/>
                      <a:pt x="110307" y="143518"/>
                    </a:cubicBezTo>
                    <a:lnTo>
                      <a:pt x="140164" y="191289"/>
                    </a:lnTo>
                    <a:cubicBezTo>
                      <a:pt x="142454" y="186462"/>
                      <a:pt x="145317" y="180409"/>
                      <a:pt x="148426" y="173702"/>
                    </a:cubicBezTo>
                    <a:lnTo>
                      <a:pt x="125358" y="136892"/>
                    </a:lnTo>
                    <a:lnTo>
                      <a:pt x="125358" y="73825"/>
                    </a:lnTo>
                    <a:cubicBezTo>
                      <a:pt x="125358" y="70553"/>
                      <a:pt x="123395" y="67526"/>
                      <a:pt x="120287" y="66299"/>
                    </a:cubicBezTo>
                    <a:cubicBezTo>
                      <a:pt x="117260" y="64991"/>
                      <a:pt x="113743" y="65727"/>
                      <a:pt x="111371" y="68099"/>
                    </a:cubicBezTo>
                    <a:lnTo>
                      <a:pt x="91984" y="87485"/>
                    </a:lnTo>
                    <a:lnTo>
                      <a:pt x="56811" y="59346"/>
                    </a:lnTo>
                    <a:cubicBezTo>
                      <a:pt x="53866" y="56974"/>
                      <a:pt x="49694" y="56974"/>
                      <a:pt x="46667" y="59265"/>
                    </a:cubicBezTo>
                    <a:cubicBezTo>
                      <a:pt x="43723" y="61555"/>
                      <a:pt x="42659" y="65645"/>
                      <a:pt x="44213" y="69081"/>
                    </a:cubicBezTo>
                    <a:lnTo>
                      <a:pt x="72680" y="133047"/>
                    </a:lnTo>
                    <a:lnTo>
                      <a:pt x="33989" y="139510"/>
                    </a:lnTo>
                    <a:cubicBezTo>
                      <a:pt x="30308" y="140082"/>
                      <a:pt x="27526" y="143109"/>
                      <a:pt x="27199" y="146790"/>
                    </a:cubicBezTo>
                    <a:cubicBezTo>
                      <a:pt x="26872" y="150471"/>
                      <a:pt x="28999" y="153906"/>
                      <a:pt x="32434" y="155215"/>
                    </a:cubicBezTo>
                    <a:lnTo>
                      <a:pt x="95174" y="178773"/>
                    </a:lnTo>
                    <a:lnTo>
                      <a:pt x="110062" y="203640"/>
                    </a:lnTo>
                    <a:cubicBezTo>
                      <a:pt x="86585" y="200614"/>
                      <a:pt x="42414" y="189980"/>
                      <a:pt x="26381" y="152516"/>
                    </a:cubicBezTo>
                    <a:cubicBezTo>
                      <a:pt x="7077" y="107444"/>
                      <a:pt x="20083" y="39306"/>
                      <a:pt x="25072" y="17547"/>
                    </a:cubicBezTo>
                    <a:cubicBezTo>
                      <a:pt x="46422" y="20819"/>
                      <a:pt x="111207" y="34071"/>
                      <a:pt x="143109" y="78651"/>
                    </a:cubicBezTo>
                    <a:cubicBezTo>
                      <a:pt x="158242" y="99837"/>
                      <a:pt x="162413" y="123641"/>
                      <a:pt x="162004" y="144745"/>
                    </a:cubicBezTo>
                    <a:cubicBezTo>
                      <a:pt x="167648" y="132884"/>
                      <a:pt x="172884" y="122005"/>
                      <a:pt x="176074" y="115542"/>
                    </a:cubicBezTo>
                    <a:cubicBezTo>
                      <a:pt x="173129" y="100082"/>
                      <a:pt x="167158" y="84132"/>
                      <a:pt x="156442" y="69162"/>
                    </a:cubicBezTo>
                    <a:cubicBezTo>
                      <a:pt x="114152" y="9285"/>
                      <a:pt x="23764" y="451"/>
                      <a:pt x="19919" y="42"/>
                    </a:cubicBezTo>
                    <a:cubicBezTo>
                      <a:pt x="15911" y="-367"/>
                      <a:pt x="12312" y="2251"/>
                      <a:pt x="11248" y="6013"/>
                    </a:cubicBezTo>
                    <a:cubicBezTo>
                      <a:pt x="10185" y="9776"/>
                      <a:pt x="-13782" y="99428"/>
                      <a:pt x="11657" y="158651"/>
                    </a:cubicBezTo>
                    <a:cubicBezTo>
                      <a:pt x="37997" y="220164"/>
                      <a:pt x="121923" y="220900"/>
                      <a:pt x="125522" y="220900"/>
                    </a:cubicBezTo>
                    <a:cubicBezTo>
                      <a:pt x="128467" y="220900"/>
                      <a:pt x="131166" y="219346"/>
                      <a:pt x="132638" y="216728"/>
                    </a:cubicBezTo>
                    <a:close/>
                  </a:path>
                </a:pathLst>
              </a:custGeom>
              <a:solidFill>
                <a:schemeClr val="accent2"/>
              </a:solidFill>
              <a:ln w="8096" cap="flat">
                <a:noFill/>
                <a:prstDash val="solid"/>
                <a:miter/>
              </a:ln>
            </p:spPr>
            <p:txBody>
              <a:bodyPr rtlCol="0" anchor="ctr"/>
              <a:lstStyle/>
              <a:p>
                <a:endParaRPr lang="pt-BR"/>
              </a:p>
            </p:txBody>
          </p:sp>
          <p:sp>
            <p:nvSpPr>
              <p:cNvPr id="11" name="Forma Livre: Forma 106">
                <a:extLst>
                  <a:ext uri="{FF2B5EF4-FFF2-40B4-BE49-F238E27FC236}">
                    <a16:creationId xmlns:a16="http://schemas.microsoft.com/office/drawing/2014/main" id="{B26149D0-9493-07C1-45A3-0313DEA01317}"/>
                  </a:ext>
                </a:extLst>
              </p:cNvPr>
              <p:cNvSpPr/>
              <p:nvPr/>
            </p:nvSpPr>
            <p:spPr>
              <a:xfrm>
                <a:off x="6329978" y="4697928"/>
                <a:ext cx="163572" cy="154330"/>
              </a:xfrm>
              <a:custGeom>
                <a:avLst/>
                <a:gdLst>
                  <a:gd name="connsiteX0" fmla="*/ 163271 w 163572"/>
                  <a:gd name="connsiteY0" fmla="*/ 14700 h 154330"/>
                  <a:gd name="connsiteX1" fmla="*/ 157709 w 163572"/>
                  <a:gd name="connsiteY1" fmla="*/ 7829 h 154330"/>
                  <a:gd name="connsiteX2" fmla="*/ 27157 w 163572"/>
                  <a:gd name="connsiteY2" fmla="*/ 25661 h 154330"/>
                  <a:gd name="connsiteX3" fmla="*/ 0 w 163572"/>
                  <a:gd name="connsiteY3" fmla="*/ 62470 h 154330"/>
                  <a:gd name="connsiteX4" fmla="*/ 10797 w 163572"/>
                  <a:gd name="connsiteY4" fmla="*/ 85211 h 154330"/>
                  <a:gd name="connsiteX5" fmla="*/ 37709 w 163572"/>
                  <a:gd name="connsiteY5" fmla="*/ 38258 h 154330"/>
                  <a:gd name="connsiteX6" fmla="*/ 147402 w 163572"/>
                  <a:gd name="connsiteY6" fmla="*/ 21898 h 154330"/>
                  <a:gd name="connsiteX7" fmla="*/ 109038 w 163572"/>
                  <a:gd name="connsiteY7" fmla="*/ 123820 h 154330"/>
                  <a:gd name="connsiteX8" fmla="*/ 54396 w 163572"/>
                  <a:gd name="connsiteY8" fmla="*/ 135354 h 154330"/>
                  <a:gd name="connsiteX9" fmla="*/ 128507 w 163572"/>
                  <a:gd name="connsiteY9" fmla="*/ 53882 h 154330"/>
                  <a:gd name="connsiteX10" fmla="*/ 129079 w 163572"/>
                  <a:gd name="connsiteY10" fmla="*/ 43657 h 154330"/>
                  <a:gd name="connsiteX11" fmla="*/ 119181 w 163572"/>
                  <a:gd name="connsiteY11" fmla="*/ 40876 h 154330"/>
                  <a:gd name="connsiteX12" fmla="*/ 70102 w 163572"/>
                  <a:gd name="connsiteY12" fmla="*/ 61898 h 154330"/>
                  <a:gd name="connsiteX13" fmla="*/ 64703 w 163572"/>
                  <a:gd name="connsiteY13" fmla="*/ 45783 h 154330"/>
                  <a:gd name="connsiteX14" fmla="*/ 56932 w 163572"/>
                  <a:gd name="connsiteY14" fmla="*/ 40221 h 154330"/>
                  <a:gd name="connsiteX15" fmla="*/ 49161 w 163572"/>
                  <a:gd name="connsiteY15" fmla="*/ 45783 h 154330"/>
                  <a:gd name="connsiteX16" fmla="*/ 33456 w 163572"/>
                  <a:gd name="connsiteY16" fmla="*/ 92982 h 154330"/>
                  <a:gd name="connsiteX17" fmla="*/ 20450 w 163572"/>
                  <a:gd name="connsiteY17" fmla="*/ 105824 h 154330"/>
                  <a:gd name="connsiteX18" fmla="*/ 27812 w 163572"/>
                  <a:gd name="connsiteY18" fmla="*/ 121529 h 154330"/>
                  <a:gd name="connsiteX19" fmla="*/ 46298 w 163572"/>
                  <a:gd name="connsiteY19" fmla="*/ 103206 h 154330"/>
                  <a:gd name="connsiteX20" fmla="*/ 48262 w 163572"/>
                  <a:gd name="connsiteY20" fmla="*/ 100016 h 154330"/>
                  <a:gd name="connsiteX21" fmla="*/ 56850 w 163572"/>
                  <a:gd name="connsiteY21" fmla="*/ 74250 h 154330"/>
                  <a:gd name="connsiteX22" fmla="*/ 57259 w 163572"/>
                  <a:gd name="connsiteY22" fmla="*/ 75477 h 154330"/>
                  <a:gd name="connsiteX23" fmla="*/ 61677 w 163572"/>
                  <a:gd name="connsiteY23" fmla="*/ 80385 h 154330"/>
                  <a:gd name="connsiteX24" fmla="*/ 68221 w 163572"/>
                  <a:gd name="connsiteY24" fmla="*/ 80385 h 154330"/>
                  <a:gd name="connsiteX25" fmla="*/ 90879 w 163572"/>
                  <a:gd name="connsiteY25" fmla="*/ 70650 h 154330"/>
                  <a:gd name="connsiteX26" fmla="*/ 34356 w 163572"/>
                  <a:gd name="connsiteY26" fmla="*/ 132818 h 154330"/>
                  <a:gd name="connsiteX27" fmla="*/ 32311 w 163572"/>
                  <a:gd name="connsiteY27" fmla="*/ 139525 h 154330"/>
                  <a:gd name="connsiteX28" fmla="*/ 36155 w 163572"/>
                  <a:gd name="connsiteY28" fmla="*/ 145333 h 154330"/>
                  <a:gd name="connsiteX29" fmla="*/ 71247 w 163572"/>
                  <a:gd name="connsiteY29" fmla="*/ 154331 h 154330"/>
                  <a:gd name="connsiteX30" fmla="*/ 119181 w 163572"/>
                  <a:gd name="connsiteY30" fmla="*/ 136417 h 154330"/>
                  <a:gd name="connsiteX31" fmla="*/ 162944 w 163572"/>
                  <a:gd name="connsiteY31" fmla="*/ 14700 h 15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3572" h="154330">
                    <a:moveTo>
                      <a:pt x="163271" y="14700"/>
                    </a:moveTo>
                    <a:cubicBezTo>
                      <a:pt x="162944" y="11510"/>
                      <a:pt x="160735" y="8892"/>
                      <a:pt x="157709" y="7829"/>
                    </a:cubicBezTo>
                    <a:cubicBezTo>
                      <a:pt x="154519" y="6765"/>
                      <a:pt x="79182" y="-17693"/>
                      <a:pt x="27157" y="25661"/>
                    </a:cubicBezTo>
                    <a:cubicBezTo>
                      <a:pt x="13333" y="37195"/>
                      <a:pt x="4908" y="49955"/>
                      <a:pt x="0" y="62470"/>
                    </a:cubicBezTo>
                    <a:cubicBezTo>
                      <a:pt x="3436" y="69669"/>
                      <a:pt x="7117" y="77522"/>
                      <a:pt x="10797" y="85211"/>
                    </a:cubicBezTo>
                    <a:cubicBezTo>
                      <a:pt x="12924" y="69996"/>
                      <a:pt x="20041" y="52900"/>
                      <a:pt x="37709" y="38258"/>
                    </a:cubicBezTo>
                    <a:cubicBezTo>
                      <a:pt x="75419" y="6765"/>
                      <a:pt x="130388" y="17563"/>
                      <a:pt x="147402" y="21898"/>
                    </a:cubicBezTo>
                    <a:cubicBezTo>
                      <a:pt x="148057" y="38912"/>
                      <a:pt x="146830" y="92327"/>
                      <a:pt x="109038" y="123820"/>
                    </a:cubicBezTo>
                    <a:cubicBezTo>
                      <a:pt x="87607" y="141652"/>
                      <a:pt x="66257" y="139035"/>
                      <a:pt x="54396" y="135354"/>
                    </a:cubicBezTo>
                    <a:lnTo>
                      <a:pt x="128507" y="53882"/>
                    </a:lnTo>
                    <a:cubicBezTo>
                      <a:pt x="131124" y="51019"/>
                      <a:pt x="131369" y="46765"/>
                      <a:pt x="129079" y="43657"/>
                    </a:cubicBezTo>
                    <a:cubicBezTo>
                      <a:pt x="126871" y="40548"/>
                      <a:pt x="122699" y="39403"/>
                      <a:pt x="119181" y="40876"/>
                    </a:cubicBezTo>
                    <a:lnTo>
                      <a:pt x="70102" y="61898"/>
                    </a:lnTo>
                    <a:lnTo>
                      <a:pt x="64703" y="45783"/>
                    </a:lnTo>
                    <a:cubicBezTo>
                      <a:pt x="63558" y="42430"/>
                      <a:pt x="60450" y="40221"/>
                      <a:pt x="56932" y="40221"/>
                    </a:cubicBezTo>
                    <a:cubicBezTo>
                      <a:pt x="53415" y="40221"/>
                      <a:pt x="50307" y="42511"/>
                      <a:pt x="49161" y="45783"/>
                    </a:cubicBezTo>
                    <a:lnTo>
                      <a:pt x="33456" y="92982"/>
                    </a:lnTo>
                    <a:lnTo>
                      <a:pt x="20450" y="105824"/>
                    </a:lnTo>
                    <a:cubicBezTo>
                      <a:pt x="23476" y="112286"/>
                      <a:pt x="26094" y="117767"/>
                      <a:pt x="27812" y="121529"/>
                    </a:cubicBezTo>
                    <a:lnTo>
                      <a:pt x="46298" y="103206"/>
                    </a:lnTo>
                    <a:cubicBezTo>
                      <a:pt x="47198" y="102307"/>
                      <a:pt x="47934" y="101162"/>
                      <a:pt x="48262" y="100016"/>
                    </a:cubicBezTo>
                    <a:lnTo>
                      <a:pt x="56850" y="74250"/>
                    </a:lnTo>
                    <a:lnTo>
                      <a:pt x="57259" y="75477"/>
                    </a:lnTo>
                    <a:cubicBezTo>
                      <a:pt x="57996" y="77603"/>
                      <a:pt x="59550" y="79403"/>
                      <a:pt x="61677" y="80385"/>
                    </a:cubicBezTo>
                    <a:cubicBezTo>
                      <a:pt x="63722" y="81284"/>
                      <a:pt x="66176" y="81366"/>
                      <a:pt x="68221" y="80385"/>
                    </a:cubicBezTo>
                    <a:lnTo>
                      <a:pt x="90879" y="70650"/>
                    </a:lnTo>
                    <a:lnTo>
                      <a:pt x="34356" y="132818"/>
                    </a:lnTo>
                    <a:cubicBezTo>
                      <a:pt x="32720" y="134617"/>
                      <a:pt x="31983" y="137071"/>
                      <a:pt x="32311" y="139525"/>
                    </a:cubicBezTo>
                    <a:cubicBezTo>
                      <a:pt x="32638" y="141979"/>
                      <a:pt x="34110" y="144106"/>
                      <a:pt x="36155" y="145333"/>
                    </a:cubicBezTo>
                    <a:cubicBezTo>
                      <a:pt x="43435" y="149750"/>
                      <a:pt x="56278" y="154331"/>
                      <a:pt x="71247" y="154331"/>
                    </a:cubicBezTo>
                    <a:cubicBezTo>
                      <a:pt x="86216" y="154331"/>
                      <a:pt x="103067" y="149914"/>
                      <a:pt x="119181" y="136417"/>
                    </a:cubicBezTo>
                    <a:cubicBezTo>
                      <a:pt x="171042" y="93227"/>
                      <a:pt x="163353" y="17890"/>
                      <a:pt x="162944" y="14700"/>
                    </a:cubicBezTo>
                    <a:close/>
                  </a:path>
                </a:pathLst>
              </a:custGeom>
              <a:solidFill>
                <a:schemeClr val="accent2"/>
              </a:solidFill>
              <a:ln w="8096" cap="flat">
                <a:noFill/>
                <a:prstDash val="solid"/>
                <a:miter/>
              </a:ln>
            </p:spPr>
            <p:txBody>
              <a:bodyPr rtlCol="0" anchor="ctr"/>
              <a:lstStyle/>
              <a:p>
                <a:endParaRPr lang="pt-BR"/>
              </a:p>
            </p:txBody>
          </p:sp>
          <p:sp>
            <p:nvSpPr>
              <p:cNvPr id="13" name="Forma Livre: Forma 107">
                <a:extLst>
                  <a:ext uri="{FF2B5EF4-FFF2-40B4-BE49-F238E27FC236}">
                    <a16:creationId xmlns:a16="http://schemas.microsoft.com/office/drawing/2014/main" id="{254CB9F8-B72E-75BD-A9CA-AC601312BE45}"/>
                  </a:ext>
                </a:extLst>
              </p:cNvPr>
              <p:cNvSpPr/>
              <p:nvPr/>
            </p:nvSpPr>
            <p:spPr>
              <a:xfrm>
                <a:off x="6142003" y="4786901"/>
                <a:ext cx="211696" cy="130960"/>
              </a:xfrm>
              <a:custGeom>
                <a:avLst/>
                <a:gdLst>
                  <a:gd name="connsiteX0" fmla="*/ 205234 w 211696"/>
                  <a:gd name="connsiteY0" fmla="*/ 114519 h 130960"/>
                  <a:gd name="connsiteX1" fmla="*/ 136686 w 211696"/>
                  <a:gd name="connsiteY1" fmla="*/ 114519 h 130960"/>
                  <a:gd name="connsiteX2" fmla="*/ 132024 w 211696"/>
                  <a:gd name="connsiteY2" fmla="*/ 100040 h 130960"/>
                  <a:gd name="connsiteX3" fmla="*/ 114028 w 211696"/>
                  <a:gd name="connsiteY3" fmla="*/ 71247 h 130960"/>
                  <a:gd name="connsiteX4" fmla="*/ 114028 w 211696"/>
                  <a:gd name="connsiteY4" fmla="*/ 65439 h 130960"/>
                  <a:gd name="connsiteX5" fmla="*/ 122208 w 211696"/>
                  <a:gd name="connsiteY5" fmla="*/ 65439 h 130960"/>
                  <a:gd name="connsiteX6" fmla="*/ 163108 w 211696"/>
                  <a:gd name="connsiteY6" fmla="*/ 24540 h 130960"/>
                  <a:gd name="connsiteX7" fmla="*/ 154928 w 211696"/>
                  <a:gd name="connsiteY7" fmla="*/ 16360 h 130960"/>
                  <a:gd name="connsiteX8" fmla="*/ 138568 w 211696"/>
                  <a:gd name="connsiteY8" fmla="*/ 16360 h 130960"/>
                  <a:gd name="connsiteX9" fmla="*/ 114028 w 211696"/>
                  <a:gd name="connsiteY9" fmla="*/ 24785 h 130960"/>
                  <a:gd name="connsiteX10" fmla="*/ 114028 w 211696"/>
                  <a:gd name="connsiteY10" fmla="*/ 24540 h 130960"/>
                  <a:gd name="connsiteX11" fmla="*/ 110592 w 211696"/>
                  <a:gd name="connsiteY11" fmla="*/ 24540 h 130960"/>
                  <a:gd name="connsiteX12" fmla="*/ 73128 w 211696"/>
                  <a:gd name="connsiteY12" fmla="*/ 0 h 130960"/>
                  <a:gd name="connsiteX13" fmla="*/ 56769 w 211696"/>
                  <a:gd name="connsiteY13" fmla="*/ 0 h 130960"/>
                  <a:gd name="connsiteX14" fmla="*/ 48589 w 211696"/>
                  <a:gd name="connsiteY14" fmla="*/ 8180 h 130960"/>
                  <a:gd name="connsiteX15" fmla="*/ 89488 w 211696"/>
                  <a:gd name="connsiteY15" fmla="*/ 49080 h 130960"/>
                  <a:gd name="connsiteX16" fmla="*/ 97668 w 211696"/>
                  <a:gd name="connsiteY16" fmla="*/ 49080 h 130960"/>
                  <a:gd name="connsiteX17" fmla="*/ 97668 w 211696"/>
                  <a:gd name="connsiteY17" fmla="*/ 71247 h 130960"/>
                  <a:gd name="connsiteX18" fmla="*/ 79672 w 211696"/>
                  <a:gd name="connsiteY18" fmla="*/ 100040 h 130960"/>
                  <a:gd name="connsiteX19" fmla="*/ 75010 w 211696"/>
                  <a:gd name="connsiteY19" fmla="*/ 114519 h 130960"/>
                  <a:gd name="connsiteX20" fmla="*/ 6626 w 211696"/>
                  <a:gd name="connsiteY20" fmla="*/ 114519 h 130960"/>
                  <a:gd name="connsiteX21" fmla="*/ 0 w 211696"/>
                  <a:gd name="connsiteY21" fmla="*/ 130879 h 130960"/>
                  <a:gd name="connsiteX22" fmla="*/ 84090 w 211696"/>
                  <a:gd name="connsiteY22" fmla="*/ 130879 h 130960"/>
                  <a:gd name="connsiteX23" fmla="*/ 90633 w 211696"/>
                  <a:gd name="connsiteY23" fmla="*/ 127525 h 130960"/>
                  <a:gd name="connsiteX24" fmla="*/ 91860 w 211696"/>
                  <a:gd name="connsiteY24" fmla="*/ 120245 h 130960"/>
                  <a:gd name="connsiteX25" fmla="*/ 93415 w 211696"/>
                  <a:gd name="connsiteY25" fmla="*/ 108711 h 130960"/>
                  <a:gd name="connsiteX26" fmla="*/ 105685 w 211696"/>
                  <a:gd name="connsiteY26" fmla="*/ 89079 h 130960"/>
                  <a:gd name="connsiteX27" fmla="*/ 117954 w 211696"/>
                  <a:gd name="connsiteY27" fmla="*/ 108711 h 130960"/>
                  <a:gd name="connsiteX28" fmla="*/ 120163 w 211696"/>
                  <a:gd name="connsiteY28" fmla="*/ 116400 h 130960"/>
                  <a:gd name="connsiteX29" fmla="*/ 119590 w 211696"/>
                  <a:gd name="connsiteY29" fmla="*/ 120327 h 130960"/>
                  <a:gd name="connsiteX30" fmla="*/ 120736 w 211696"/>
                  <a:gd name="connsiteY30" fmla="*/ 127607 h 130960"/>
                  <a:gd name="connsiteX31" fmla="*/ 127361 w 211696"/>
                  <a:gd name="connsiteY31" fmla="*/ 130960 h 130960"/>
                  <a:gd name="connsiteX32" fmla="*/ 211696 w 211696"/>
                  <a:gd name="connsiteY32" fmla="*/ 130960 h 130960"/>
                  <a:gd name="connsiteX33" fmla="*/ 205071 w 211696"/>
                  <a:gd name="connsiteY33" fmla="*/ 114601 h 130960"/>
                  <a:gd name="connsiteX34" fmla="*/ 138650 w 211696"/>
                  <a:gd name="connsiteY34" fmla="*/ 32720 h 130960"/>
                  <a:gd name="connsiteX35" fmla="*/ 145439 w 211696"/>
                  <a:gd name="connsiteY35" fmla="*/ 32720 h 130960"/>
                  <a:gd name="connsiteX36" fmla="*/ 122290 w 211696"/>
                  <a:gd name="connsiteY36" fmla="*/ 49080 h 130960"/>
                  <a:gd name="connsiteX37" fmla="*/ 115500 w 211696"/>
                  <a:gd name="connsiteY37" fmla="*/ 49080 h 130960"/>
                  <a:gd name="connsiteX38" fmla="*/ 138650 w 211696"/>
                  <a:gd name="connsiteY38" fmla="*/ 32720 h 130960"/>
                  <a:gd name="connsiteX39" fmla="*/ 89570 w 211696"/>
                  <a:gd name="connsiteY39" fmla="*/ 32720 h 130960"/>
                  <a:gd name="connsiteX40" fmla="*/ 66421 w 211696"/>
                  <a:gd name="connsiteY40" fmla="*/ 16360 h 130960"/>
                  <a:gd name="connsiteX41" fmla="*/ 73210 w 211696"/>
                  <a:gd name="connsiteY41" fmla="*/ 16360 h 130960"/>
                  <a:gd name="connsiteX42" fmla="*/ 96359 w 211696"/>
                  <a:gd name="connsiteY42" fmla="*/ 32720 h 130960"/>
                  <a:gd name="connsiteX43" fmla="*/ 89570 w 211696"/>
                  <a:gd name="connsiteY43" fmla="*/ 32720 h 13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1696" h="130960">
                    <a:moveTo>
                      <a:pt x="205234" y="114519"/>
                    </a:moveTo>
                    <a:lnTo>
                      <a:pt x="136686" y="114519"/>
                    </a:lnTo>
                    <a:cubicBezTo>
                      <a:pt x="136359" y="109447"/>
                      <a:pt x="134805" y="104458"/>
                      <a:pt x="132024" y="100040"/>
                    </a:cubicBezTo>
                    <a:lnTo>
                      <a:pt x="114028" y="71247"/>
                    </a:lnTo>
                    <a:lnTo>
                      <a:pt x="114028" y="65439"/>
                    </a:lnTo>
                    <a:lnTo>
                      <a:pt x="122208" y="65439"/>
                    </a:lnTo>
                    <a:cubicBezTo>
                      <a:pt x="144785" y="65439"/>
                      <a:pt x="163108" y="47116"/>
                      <a:pt x="163108" y="24540"/>
                    </a:cubicBezTo>
                    <a:cubicBezTo>
                      <a:pt x="163108" y="20041"/>
                      <a:pt x="159427" y="16360"/>
                      <a:pt x="154928" y="16360"/>
                    </a:cubicBezTo>
                    <a:lnTo>
                      <a:pt x="138568" y="16360"/>
                    </a:lnTo>
                    <a:cubicBezTo>
                      <a:pt x="129324" y="16360"/>
                      <a:pt x="120899" y="19550"/>
                      <a:pt x="114028" y="24785"/>
                    </a:cubicBezTo>
                    <a:lnTo>
                      <a:pt x="114028" y="24540"/>
                    </a:lnTo>
                    <a:lnTo>
                      <a:pt x="110592" y="24540"/>
                    </a:lnTo>
                    <a:cubicBezTo>
                      <a:pt x="104294" y="10143"/>
                      <a:pt x="89897" y="0"/>
                      <a:pt x="73128" y="0"/>
                    </a:cubicBezTo>
                    <a:lnTo>
                      <a:pt x="56769" y="0"/>
                    </a:lnTo>
                    <a:cubicBezTo>
                      <a:pt x="52270" y="0"/>
                      <a:pt x="48589" y="3681"/>
                      <a:pt x="48589" y="8180"/>
                    </a:cubicBezTo>
                    <a:cubicBezTo>
                      <a:pt x="48589" y="30756"/>
                      <a:pt x="66912" y="49080"/>
                      <a:pt x="89488" y="49080"/>
                    </a:cubicBezTo>
                    <a:lnTo>
                      <a:pt x="97668" y="49080"/>
                    </a:lnTo>
                    <a:lnTo>
                      <a:pt x="97668" y="71247"/>
                    </a:lnTo>
                    <a:lnTo>
                      <a:pt x="79672" y="100040"/>
                    </a:lnTo>
                    <a:cubicBezTo>
                      <a:pt x="76891" y="104458"/>
                      <a:pt x="75337" y="109447"/>
                      <a:pt x="75010" y="114519"/>
                    </a:cubicBezTo>
                    <a:lnTo>
                      <a:pt x="6626" y="114519"/>
                    </a:lnTo>
                    <a:lnTo>
                      <a:pt x="0" y="130879"/>
                    </a:lnTo>
                    <a:lnTo>
                      <a:pt x="84090" y="130879"/>
                    </a:lnTo>
                    <a:cubicBezTo>
                      <a:pt x="86707" y="130879"/>
                      <a:pt x="89161" y="129652"/>
                      <a:pt x="90633" y="127525"/>
                    </a:cubicBezTo>
                    <a:cubicBezTo>
                      <a:pt x="92188" y="125398"/>
                      <a:pt x="92597" y="122699"/>
                      <a:pt x="91860" y="120245"/>
                    </a:cubicBezTo>
                    <a:cubicBezTo>
                      <a:pt x="90633" y="116318"/>
                      <a:pt x="91206" y="112228"/>
                      <a:pt x="93415" y="108711"/>
                    </a:cubicBezTo>
                    <a:lnTo>
                      <a:pt x="105685" y="89079"/>
                    </a:lnTo>
                    <a:lnTo>
                      <a:pt x="117954" y="108711"/>
                    </a:lnTo>
                    <a:cubicBezTo>
                      <a:pt x="119427" y="111083"/>
                      <a:pt x="120163" y="113701"/>
                      <a:pt x="120163" y="116400"/>
                    </a:cubicBezTo>
                    <a:cubicBezTo>
                      <a:pt x="120163" y="117791"/>
                      <a:pt x="119999" y="119100"/>
                      <a:pt x="119590" y="120327"/>
                    </a:cubicBezTo>
                    <a:cubicBezTo>
                      <a:pt x="118772" y="122781"/>
                      <a:pt x="119263" y="125562"/>
                      <a:pt x="120736" y="127607"/>
                    </a:cubicBezTo>
                    <a:cubicBezTo>
                      <a:pt x="122290" y="129733"/>
                      <a:pt x="124744" y="130960"/>
                      <a:pt x="127361" y="130960"/>
                    </a:cubicBezTo>
                    <a:lnTo>
                      <a:pt x="211696" y="130960"/>
                    </a:lnTo>
                    <a:lnTo>
                      <a:pt x="205071" y="114601"/>
                    </a:lnTo>
                    <a:close/>
                    <a:moveTo>
                      <a:pt x="138650" y="32720"/>
                    </a:moveTo>
                    <a:lnTo>
                      <a:pt x="145439" y="32720"/>
                    </a:lnTo>
                    <a:cubicBezTo>
                      <a:pt x="142085" y="42208"/>
                      <a:pt x="132924" y="49080"/>
                      <a:pt x="122290" y="49080"/>
                    </a:cubicBezTo>
                    <a:lnTo>
                      <a:pt x="115500" y="49080"/>
                    </a:lnTo>
                    <a:cubicBezTo>
                      <a:pt x="118854" y="39591"/>
                      <a:pt x="128016" y="32720"/>
                      <a:pt x="138650" y="32720"/>
                    </a:cubicBezTo>
                    <a:close/>
                    <a:moveTo>
                      <a:pt x="89570" y="32720"/>
                    </a:moveTo>
                    <a:cubicBezTo>
                      <a:pt x="78936" y="32720"/>
                      <a:pt x="69775" y="25849"/>
                      <a:pt x="66421" y="16360"/>
                    </a:cubicBezTo>
                    <a:lnTo>
                      <a:pt x="73210" y="16360"/>
                    </a:lnTo>
                    <a:cubicBezTo>
                      <a:pt x="83844" y="16360"/>
                      <a:pt x="93006" y="23231"/>
                      <a:pt x="96359" y="32720"/>
                    </a:cubicBezTo>
                    <a:lnTo>
                      <a:pt x="89570" y="32720"/>
                    </a:lnTo>
                    <a:close/>
                  </a:path>
                </a:pathLst>
              </a:custGeom>
              <a:solidFill>
                <a:schemeClr val="accent2"/>
              </a:solidFill>
              <a:ln w="8096" cap="flat">
                <a:noFill/>
                <a:prstDash val="solid"/>
                <a:miter/>
              </a:ln>
            </p:spPr>
            <p:txBody>
              <a:bodyPr rtlCol="0" anchor="ctr"/>
              <a:lstStyle/>
              <a:p>
                <a:endParaRPr lang="pt-BR"/>
              </a:p>
            </p:txBody>
          </p:sp>
          <p:sp>
            <p:nvSpPr>
              <p:cNvPr id="14" name="Forma Livre: Forma 108">
                <a:extLst>
                  <a:ext uri="{FF2B5EF4-FFF2-40B4-BE49-F238E27FC236}">
                    <a16:creationId xmlns:a16="http://schemas.microsoft.com/office/drawing/2014/main" id="{19344CD8-716F-B27A-6619-E6CE5E8977C8}"/>
                  </a:ext>
                </a:extLst>
              </p:cNvPr>
              <p:cNvSpPr/>
              <p:nvPr/>
            </p:nvSpPr>
            <p:spPr>
              <a:xfrm>
                <a:off x="6216982" y="4672669"/>
                <a:ext cx="61870" cy="81512"/>
              </a:xfrm>
              <a:custGeom>
                <a:avLst/>
                <a:gdLst>
                  <a:gd name="connsiteX0" fmla="*/ 57127 w 61870"/>
                  <a:gd name="connsiteY0" fmla="*/ 34315 h 81512"/>
                  <a:gd name="connsiteX1" fmla="*/ 37904 w 61870"/>
                  <a:gd name="connsiteY1" fmla="*/ 3558 h 81512"/>
                  <a:gd name="connsiteX2" fmla="*/ 23998 w 61870"/>
                  <a:gd name="connsiteY2" fmla="*/ 3558 h 81512"/>
                  <a:gd name="connsiteX3" fmla="*/ 4775 w 61870"/>
                  <a:gd name="connsiteY3" fmla="*/ 34315 h 81512"/>
                  <a:gd name="connsiteX4" fmla="*/ 3957 w 61870"/>
                  <a:gd name="connsiteY4" fmla="*/ 65644 h 81512"/>
                  <a:gd name="connsiteX5" fmla="*/ 30951 w 61870"/>
                  <a:gd name="connsiteY5" fmla="*/ 81513 h 81512"/>
                  <a:gd name="connsiteX6" fmla="*/ 57945 w 61870"/>
                  <a:gd name="connsiteY6" fmla="*/ 65644 h 81512"/>
                  <a:gd name="connsiteX7" fmla="*/ 57127 w 61870"/>
                  <a:gd name="connsiteY7" fmla="*/ 34315 h 81512"/>
                  <a:gd name="connsiteX8" fmla="*/ 43630 w 61870"/>
                  <a:gd name="connsiteY8" fmla="*/ 57709 h 81512"/>
                  <a:gd name="connsiteX9" fmla="*/ 30951 w 61870"/>
                  <a:gd name="connsiteY9" fmla="*/ 65153 h 81512"/>
                  <a:gd name="connsiteX10" fmla="*/ 18272 w 61870"/>
                  <a:gd name="connsiteY10" fmla="*/ 57709 h 81512"/>
                  <a:gd name="connsiteX11" fmla="*/ 18681 w 61870"/>
                  <a:gd name="connsiteY11" fmla="*/ 42985 h 81512"/>
                  <a:gd name="connsiteX12" fmla="*/ 30951 w 61870"/>
                  <a:gd name="connsiteY12" fmla="*/ 23354 h 81512"/>
                  <a:gd name="connsiteX13" fmla="*/ 43221 w 61870"/>
                  <a:gd name="connsiteY13" fmla="*/ 42985 h 81512"/>
                  <a:gd name="connsiteX14" fmla="*/ 43630 w 61870"/>
                  <a:gd name="connsiteY14" fmla="*/ 57709 h 8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870" h="81512">
                    <a:moveTo>
                      <a:pt x="57127" y="34315"/>
                    </a:moveTo>
                    <a:lnTo>
                      <a:pt x="37904" y="3558"/>
                    </a:lnTo>
                    <a:cubicBezTo>
                      <a:pt x="34877" y="-1186"/>
                      <a:pt x="27025" y="-1186"/>
                      <a:pt x="23998" y="3558"/>
                    </a:cubicBezTo>
                    <a:lnTo>
                      <a:pt x="4775" y="34315"/>
                    </a:lnTo>
                    <a:cubicBezTo>
                      <a:pt x="-1278" y="43967"/>
                      <a:pt x="-1605" y="55664"/>
                      <a:pt x="3957" y="65644"/>
                    </a:cubicBezTo>
                    <a:cubicBezTo>
                      <a:pt x="9438" y="75623"/>
                      <a:pt x="19581" y="81513"/>
                      <a:pt x="30951" y="81513"/>
                    </a:cubicBezTo>
                    <a:cubicBezTo>
                      <a:pt x="42321" y="81513"/>
                      <a:pt x="52382" y="75542"/>
                      <a:pt x="57945" y="65644"/>
                    </a:cubicBezTo>
                    <a:cubicBezTo>
                      <a:pt x="63425" y="55664"/>
                      <a:pt x="63180" y="43967"/>
                      <a:pt x="57127" y="34315"/>
                    </a:cubicBezTo>
                    <a:close/>
                    <a:moveTo>
                      <a:pt x="43630" y="57709"/>
                    </a:moveTo>
                    <a:cubicBezTo>
                      <a:pt x="41012" y="62372"/>
                      <a:pt x="36268" y="65153"/>
                      <a:pt x="30951" y="65153"/>
                    </a:cubicBezTo>
                    <a:cubicBezTo>
                      <a:pt x="25634" y="65153"/>
                      <a:pt x="20890" y="62372"/>
                      <a:pt x="18272" y="57709"/>
                    </a:cubicBezTo>
                    <a:cubicBezTo>
                      <a:pt x="15655" y="53047"/>
                      <a:pt x="15818" y="47566"/>
                      <a:pt x="18681" y="42985"/>
                    </a:cubicBezTo>
                    <a:lnTo>
                      <a:pt x="30951" y="23354"/>
                    </a:lnTo>
                    <a:lnTo>
                      <a:pt x="43221" y="42985"/>
                    </a:lnTo>
                    <a:cubicBezTo>
                      <a:pt x="46084" y="47484"/>
                      <a:pt x="46166" y="53047"/>
                      <a:pt x="43630" y="57709"/>
                    </a:cubicBezTo>
                    <a:close/>
                  </a:path>
                </a:pathLst>
              </a:custGeom>
              <a:solidFill>
                <a:srgbClr val="000532"/>
              </a:solidFill>
              <a:ln w="8096" cap="flat">
                <a:noFill/>
                <a:prstDash val="solid"/>
                <a:miter/>
              </a:ln>
            </p:spPr>
            <p:txBody>
              <a:bodyPr rtlCol="0" anchor="ctr"/>
              <a:lstStyle/>
              <a:p>
                <a:endParaRPr lang="pt-BR"/>
              </a:p>
            </p:txBody>
          </p:sp>
          <p:sp>
            <p:nvSpPr>
              <p:cNvPr id="15" name="Forma Livre: Forma 109">
                <a:extLst>
                  <a:ext uri="{FF2B5EF4-FFF2-40B4-BE49-F238E27FC236}">
                    <a16:creationId xmlns:a16="http://schemas.microsoft.com/office/drawing/2014/main" id="{B0BBBC98-776A-54DD-E7F4-07C621CB63C8}"/>
                  </a:ext>
                </a:extLst>
              </p:cNvPr>
              <p:cNvSpPr/>
              <p:nvPr/>
            </p:nvSpPr>
            <p:spPr>
              <a:xfrm>
                <a:off x="6117055" y="4467885"/>
                <a:ext cx="98159" cy="98159"/>
              </a:xfrm>
              <a:custGeom>
                <a:avLst/>
                <a:gdLst>
                  <a:gd name="connsiteX0" fmla="*/ 49080 w 98159"/>
                  <a:gd name="connsiteY0" fmla="*/ 0 h 98159"/>
                  <a:gd name="connsiteX1" fmla="*/ 0 w 98159"/>
                  <a:gd name="connsiteY1" fmla="*/ 49080 h 98159"/>
                  <a:gd name="connsiteX2" fmla="*/ 49080 w 98159"/>
                  <a:gd name="connsiteY2" fmla="*/ 98159 h 98159"/>
                  <a:gd name="connsiteX3" fmla="*/ 98159 w 98159"/>
                  <a:gd name="connsiteY3" fmla="*/ 49080 h 98159"/>
                  <a:gd name="connsiteX4" fmla="*/ 49080 w 98159"/>
                  <a:gd name="connsiteY4" fmla="*/ 0 h 98159"/>
                  <a:gd name="connsiteX5" fmla="*/ 49080 w 98159"/>
                  <a:gd name="connsiteY5" fmla="*/ 81799 h 98159"/>
                  <a:gd name="connsiteX6" fmla="*/ 16360 w 98159"/>
                  <a:gd name="connsiteY6" fmla="*/ 49080 h 98159"/>
                  <a:gd name="connsiteX7" fmla="*/ 49080 w 98159"/>
                  <a:gd name="connsiteY7" fmla="*/ 16360 h 98159"/>
                  <a:gd name="connsiteX8" fmla="*/ 81799 w 98159"/>
                  <a:gd name="connsiteY8" fmla="*/ 49080 h 98159"/>
                  <a:gd name="connsiteX9" fmla="*/ 49080 w 98159"/>
                  <a:gd name="connsiteY9" fmla="*/ 81799 h 9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159" h="98159">
                    <a:moveTo>
                      <a:pt x="49080" y="0"/>
                    </a:moveTo>
                    <a:cubicBezTo>
                      <a:pt x="22004" y="0"/>
                      <a:pt x="0" y="22004"/>
                      <a:pt x="0" y="49080"/>
                    </a:cubicBezTo>
                    <a:cubicBezTo>
                      <a:pt x="0" y="76155"/>
                      <a:pt x="22004" y="98159"/>
                      <a:pt x="49080" y="98159"/>
                    </a:cubicBezTo>
                    <a:cubicBezTo>
                      <a:pt x="76155" y="98159"/>
                      <a:pt x="98159" y="76155"/>
                      <a:pt x="98159" y="49080"/>
                    </a:cubicBezTo>
                    <a:cubicBezTo>
                      <a:pt x="98159" y="22004"/>
                      <a:pt x="76155" y="0"/>
                      <a:pt x="49080" y="0"/>
                    </a:cubicBezTo>
                    <a:close/>
                    <a:moveTo>
                      <a:pt x="49080" y="81799"/>
                    </a:moveTo>
                    <a:cubicBezTo>
                      <a:pt x="31002" y="81799"/>
                      <a:pt x="16360" y="67157"/>
                      <a:pt x="16360" y="49080"/>
                    </a:cubicBezTo>
                    <a:cubicBezTo>
                      <a:pt x="16360" y="31002"/>
                      <a:pt x="31002" y="16360"/>
                      <a:pt x="49080" y="16360"/>
                    </a:cubicBezTo>
                    <a:cubicBezTo>
                      <a:pt x="67157" y="16360"/>
                      <a:pt x="81799" y="31002"/>
                      <a:pt x="81799" y="49080"/>
                    </a:cubicBezTo>
                    <a:cubicBezTo>
                      <a:pt x="81799" y="67157"/>
                      <a:pt x="67157" y="81799"/>
                      <a:pt x="49080" y="81799"/>
                    </a:cubicBezTo>
                    <a:close/>
                  </a:path>
                </a:pathLst>
              </a:custGeom>
              <a:solidFill>
                <a:schemeClr val="accent1"/>
              </a:solidFill>
              <a:ln w="8096" cap="flat">
                <a:noFill/>
                <a:prstDash val="solid"/>
                <a:miter/>
              </a:ln>
            </p:spPr>
            <p:txBody>
              <a:bodyPr rtlCol="0" anchor="ctr"/>
              <a:lstStyle/>
              <a:p>
                <a:endParaRPr lang="pt-BR"/>
              </a:p>
            </p:txBody>
          </p:sp>
          <p:sp>
            <p:nvSpPr>
              <p:cNvPr id="17" name="Forma Livre: Forma 110">
                <a:extLst>
                  <a:ext uri="{FF2B5EF4-FFF2-40B4-BE49-F238E27FC236}">
                    <a16:creationId xmlns:a16="http://schemas.microsoft.com/office/drawing/2014/main" id="{A3E2AE48-0C88-1A49-D277-4DAF6EBD3722}"/>
                  </a:ext>
                </a:extLst>
              </p:cNvPr>
              <p:cNvSpPr/>
              <p:nvPr/>
            </p:nvSpPr>
            <p:spPr>
              <a:xfrm>
                <a:off x="6370632" y="4598763"/>
                <a:ext cx="65439" cy="65439"/>
              </a:xfrm>
              <a:custGeom>
                <a:avLst/>
                <a:gdLst>
                  <a:gd name="connsiteX0" fmla="*/ 32720 w 65439"/>
                  <a:gd name="connsiteY0" fmla="*/ 0 h 65439"/>
                  <a:gd name="connsiteX1" fmla="*/ 0 w 65439"/>
                  <a:gd name="connsiteY1" fmla="*/ 32720 h 65439"/>
                  <a:gd name="connsiteX2" fmla="*/ 32720 w 65439"/>
                  <a:gd name="connsiteY2" fmla="*/ 65439 h 65439"/>
                  <a:gd name="connsiteX3" fmla="*/ 65439 w 65439"/>
                  <a:gd name="connsiteY3" fmla="*/ 32720 h 65439"/>
                  <a:gd name="connsiteX4" fmla="*/ 32720 w 65439"/>
                  <a:gd name="connsiteY4" fmla="*/ 0 h 65439"/>
                  <a:gd name="connsiteX5" fmla="*/ 32720 w 65439"/>
                  <a:gd name="connsiteY5" fmla="*/ 49080 h 65439"/>
                  <a:gd name="connsiteX6" fmla="*/ 16360 w 65439"/>
                  <a:gd name="connsiteY6" fmla="*/ 32720 h 65439"/>
                  <a:gd name="connsiteX7" fmla="*/ 32720 w 65439"/>
                  <a:gd name="connsiteY7" fmla="*/ 16360 h 65439"/>
                  <a:gd name="connsiteX8" fmla="*/ 49080 w 65439"/>
                  <a:gd name="connsiteY8" fmla="*/ 32720 h 65439"/>
                  <a:gd name="connsiteX9" fmla="*/ 32720 w 65439"/>
                  <a:gd name="connsiteY9" fmla="*/ 49080 h 6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439" h="65439">
                    <a:moveTo>
                      <a:pt x="32720" y="0"/>
                    </a:moveTo>
                    <a:cubicBezTo>
                      <a:pt x="14642" y="0"/>
                      <a:pt x="0" y="14642"/>
                      <a:pt x="0" y="32720"/>
                    </a:cubicBezTo>
                    <a:cubicBezTo>
                      <a:pt x="0" y="50797"/>
                      <a:pt x="14642" y="65439"/>
                      <a:pt x="32720" y="65439"/>
                    </a:cubicBezTo>
                    <a:cubicBezTo>
                      <a:pt x="50797" y="65439"/>
                      <a:pt x="65439" y="50797"/>
                      <a:pt x="65439" y="32720"/>
                    </a:cubicBezTo>
                    <a:cubicBezTo>
                      <a:pt x="65439" y="14642"/>
                      <a:pt x="50797" y="0"/>
                      <a:pt x="32720" y="0"/>
                    </a:cubicBezTo>
                    <a:close/>
                    <a:moveTo>
                      <a:pt x="32720" y="49080"/>
                    </a:moveTo>
                    <a:cubicBezTo>
                      <a:pt x="23722" y="49080"/>
                      <a:pt x="16360" y="41718"/>
                      <a:pt x="16360" y="32720"/>
                    </a:cubicBezTo>
                    <a:cubicBezTo>
                      <a:pt x="16360" y="23722"/>
                      <a:pt x="23722" y="16360"/>
                      <a:pt x="32720" y="16360"/>
                    </a:cubicBezTo>
                    <a:cubicBezTo>
                      <a:pt x="41718" y="16360"/>
                      <a:pt x="49080" y="23722"/>
                      <a:pt x="49080" y="32720"/>
                    </a:cubicBezTo>
                    <a:cubicBezTo>
                      <a:pt x="49080" y="41718"/>
                      <a:pt x="41718" y="49080"/>
                      <a:pt x="32720" y="49080"/>
                    </a:cubicBezTo>
                    <a:close/>
                  </a:path>
                </a:pathLst>
              </a:custGeom>
              <a:solidFill>
                <a:schemeClr val="accent1"/>
              </a:solidFill>
              <a:ln w="8096" cap="flat">
                <a:noFill/>
                <a:prstDash val="solid"/>
                <a:miter/>
              </a:ln>
            </p:spPr>
            <p:txBody>
              <a:bodyPr rtlCol="0" anchor="ctr"/>
              <a:lstStyle/>
              <a:p>
                <a:endParaRPr lang="pt-BR"/>
              </a:p>
            </p:txBody>
          </p:sp>
          <p:sp>
            <p:nvSpPr>
              <p:cNvPr id="18" name="Forma Livre: Forma 111">
                <a:extLst>
                  <a:ext uri="{FF2B5EF4-FFF2-40B4-BE49-F238E27FC236}">
                    <a16:creationId xmlns:a16="http://schemas.microsoft.com/office/drawing/2014/main" id="{3FB44734-E234-546D-3431-AAE1AEFCDA73}"/>
                  </a:ext>
                </a:extLst>
              </p:cNvPr>
              <p:cNvSpPr/>
              <p:nvPr/>
            </p:nvSpPr>
            <p:spPr>
              <a:xfrm>
                <a:off x="6444251" y="4467885"/>
                <a:ext cx="49079" cy="49079"/>
              </a:xfrm>
              <a:custGeom>
                <a:avLst/>
                <a:gdLst>
                  <a:gd name="connsiteX0" fmla="*/ 32720 w 49079"/>
                  <a:gd name="connsiteY0" fmla="*/ 16360 h 49079"/>
                  <a:gd name="connsiteX1" fmla="*/ 32720 w 49079"/>
                  <a:gd name="connsiteY1" fmla="*/ 0 h 49079"/>
                  <a:gd name="connsiteX2" fmla="*/ 16360 w 49079"/>
                  <a:gd name="connsiteY2" fmla="*/ 0 h 49079"/>
                  <a:gd name="connsiteX3" fmla="*/ 16360 w 49079"/>
                  <a:gd name="connsiteY3" fmla="*/ 16360 h 49079"/>
                  <a:gd name="connsiteX4" fmla="*/ 0 w 49079"/>
                  <a:gd name="connsiteY4" fmla="*/ 16360 h 49079"/>
                  <a:gd name="connsiteX5" fmla="*/ 0 w 49079"/>
                  <a:gd name="connsiteY5" fmla="*/ 32720 h 49079"/>
                  <a:gd name="connsiteX6" fmla="*/ 16360 w 49079"/>
                  <a:gd name="connsiteY6" fmla="*/ 32720 h 49079"/>
                  <a:gd name="connsiteX7" fmla="*/ 16360 w 49079"/>
                  <a:gd name="connsiteY7" fmla="*/ 49080 h 49079"/>
                  <a:gd name="connsiteX8" fmla="*/ 32720 w 49079"/>
                  <a:gd name="connsiteY8" fmla="*/ 49080 h 49079"/>
                  <a:gd name="connsiteX9" fmla="*/ 32720 w 49079"/>
                  <a:gd name="connsiteY9" fmla="*/ 32720 h 49079"/>
                  <a:gd name="connsiteX10" fmla="*/ 49080 w 49079"/>
                  <a:gd name="connsiteY10" fmla="*/ 32720 h 49079"/>
                  <a:gd name="connsiteX11" fmla="*/ 49080 w 49079"/>
                  <a:gd name="connsiteY11" fmla="*/ 16360 h 49079"/>
                  <a:gd name="connsiteX12" fmla="*/ 32720 w 49079"/>
                  <a:gd name="connsiteY12" fmla="*/ 16360 h 4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79" h="49079">
                    <a:moveTo>
                      <a:pt x="32720" y="16360"/>
                    </a:moveTo>
                    <a:lnTo>
                      <a:pt x="32720" y="0"/>
                    </a:lnTo>
                    <a:lnTo>
                      <a:pt x="16360" y="0"/>
                    </a:lnTo>
                    <a:lnTo>
                      <a:pt x="16360" y="16360"/>
                    </a:lnTo>
                    <a:lnTo>
                      <a:pt x="0" y="16360"/>
                    </a:lnTo>
                    <a:lnTo>
                      <a:pt x="0" y="32720"/>
                    </a:lnTo>
                    <a:lnTo>
                      <a:pt x="16360" y="32720"/>
                    </a:lnTo>
                    <a:lnTo>
                      <a:pt x="16360" y="49080"/>
                    </a:lnTo>
                    <a:lnTo>
                      <a:pt x="32720" y="49080"/>
                    </a:lnTo>
                    <a:lnTo>
                      <a:pt x="32720" y="32720"/>
                    </a:lnTo>
                    <a:lnTo>
                      <a:pt x="49080" y="32720"/>
                    </a:lnTo>
                    <a:lnTo>
                      <a:pt x="49080" y="16360"/>
                    </a:lnTo>
                    <a:lnTo>
                      <a:pt x="32720" y="16360"/>
                    </a:lnTo>
                    <a:close/>
                  </a:path>
                </a:pathLst>
              </a:custGeom>
              <a:solidFill>
                <a:srgbClr val="000532"/>
              </a:solidFill>
              <a:ln w="8096" cap="flat">
                <a:noFill/>
                <a:prstDash val="solid"/>
                <a:miter/>
              </a:ln>
            </p:spPr>
            <p:txBody>
              <a:bodyPr rtlCol="0" anchor="ctr"/>
              <a:lstStyle/>
              <a:p>
                <a:endParaRPr lang="pt-BR"/>
              </a:p>
            </p:txBody>
          </p:sp>
          <p:sp>
            <p:nvSpPr>
              <p:cNvPr id="19" name="Forma Livre: Forma 112">
                <a:extLst>
                  <a:ext uri="{FF2B5EF4-FFF2-40B4-BE49-F238E27FC236}">
                    <a16:creationId xmlns:a16="http://schemas.microsoft.com/office/drawing/2014/main" id="{75D290D4-3324-1E22-B30B-284B5353D856}"/>
                  </a:ext>
                </a:extLst>
              </p:cNvPr>
              <p:cNvSpPr/>
              <p:nvPr/>
            </p:nvSpPr>
            <p:spPr>
              <a:xfrm>
                <a:off x="6299712" y="4467741"/>
                <a:ext cx="79427" cy="79324"/>
              </a:xfrm>
              <a:custGeom>
                <a:avLst/>
                <a:gdLst>
                  <a:gd name="connsiteX0" fmla="*/ 11534 w 79427"/>
                  <a:gd name="connsiteY0" fmla="*/ 38507 h 79324"/>
                  <a:gd name="connsiteX1" fmla="*/ 27648 w 79427"/>
                  <a:gd name="connsiteY1" fmla="*/ 22556 h 79324"/>
                  <a:gd name="connsiteX2" fmla="*/ 57014 w 79427"/>
                  <a:gd name="connsiteY2" fmla="*/ 22556 h 79324"/>
                  <a:gd name="connsiteX3" fmla="*/ 63067 w 79427"/>
                  <a:gd name="connsiteY3" fmla="*/ 37198 h 79324"/>
                  <a:gd name="connsiteX4" fmla="*/ 57014 w 79427"/>
                  <a:gd name="connsiteY4" fmla="*/ 51840 h 79324"/>
                  <a:gd name="connsiteX5" fmla="*/ 40900 w 79427"/>
                  <a:gd name="connsiteY5" fmla="*/ 67791 h 79324"/>
                  <a:gd name="connsiteX6" fmla="*/ 52433 w 79427"/>
                  <a:gd name="connsiteY6" fmla="*/ 79325 h 79324"/>
                  <a:gd name="connsiteX7" fmla="*/ 68548 w 79427"/>
                  <a:gd name="connsiteY7" fmla="*/ 63374 h 79324"/>
                  <a:gd name="connsiteX8" fmla="*/ 79427 w 79427"/>
                  <a:gd name="connsiteY8" fmla="*/ 37116 h 79324"/>
                  <a:gd name="connsiteX9" fmla="*/ 68548 w 79427"/>
                  <a:gd name="connsiteY9" fmla="*/ 10859 h 79324"/>
                  <a:gd name="connsiteX10" fmla="*/ 16114 w 79427"/>
                  <a:gd name="connsiteY10" fmla="*/ 10859 h 79324"/>
                  <a:gd name="connsiteX11" fmla="*/ 0 w 79427"/>
                  <a:gd name="connsiteY11" fmla="*/ 26810 h 79324"/>
                  <a:gd name="connsiteX12" fmla="*/ 11534 w 79427"/>
                  <a:gd name="connsiteY12" fmla="*/ 38343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427" h="79324">
                    <a:moveTo>
                      <a:pt x="11534" y="38507"/>
                    </a:moveTo>
                    <a:lnTo>
                      <a:pt x="27648" y="22556"/>
                    </a:lnTo>
                    <a:cubicBezTo>
                      <a:pt x="35746" y="14458"/>
                      <a:pt x="48916" y="14458"/>
                      <a:pt x="57014" y="22556"/>
                    </a:cubicBezTo>
                    <a:cubicBezTo>
                      <a:pt x="60940" y="26482"/>
                      <a:pt x="63067" y="31718"/>
                      <a:pt x="63067" y="37198"/>
                    </a:cubicBezTo>
                    <a:cubicBezTo>
                      <a:pt x="63067" y="42761"/>
                      <a:pt x="60940" y="47914"/>
                      <a:pt x="57014" y="51840"/>
                    </a:cubicBezTo>
                    <a:lnTo>
                      <a:pt x="40900" y="67791"/>
                    </a:lnTo>
                    <a:lnTo>
                      <a:pt x="52433" y="79325"/>
                    </a:lnTo>
                    <a:lnTo>
                      <a:pt x="68548" y="63374"/>
                    </a:lnTo>
                    <a:cubicBezTo>
                      <a:pt x="75582" y="56339"/>
                      <a:pt x="79427" y="47096"/>
                      <a:pt x="79427" y="37116"/>
                    </a:cubicBezTo>
                    <a:cubicBezTo>
                      <a:pt x="79427" y="27137"/>
                      <a:pt x="75582" y="17894"/>
                      <a:pt x="68548" y="10859"/>
                    </a:cubicBezTo>
                    <a:cubicBezTo>
                      <a:pt x="54069" y="-3620"/>
                      <a:pt x="30593" y="-3620"/>
                      <a:pt x="16114" y="10859"/>
                    </a:cubicBezTo>
                    <a:lnTo>
                      <a:pt x="0" y="26810"/>
                    </a:lnTo>
                    <a:lnTo>
                      <a:pt x="11534" y="38343"/>
                    </a:lnTo>
                    <a:close/>
                  </a:path>
                </a:pathLst>
              </a:custGeom>
              <a:solidFill>
                <a:srgbClr val="000532"/>
              </a:solidFill>
              <a:ln w="8096" cap="flat">
                <a:noFill/>
                <a:prstDash val="solid"/>
                <a:miter/>
              </a:ln>
            </p:spPr>
            <p:txBody>
              <a:bodyPr rtlCol="0" anchor="ctr"/>
              <a:lstStyle/>
              <a:p>
                <a:endParaRPr lang="pt-BR"/>
              </a:p>
            </p:txBody>
          </p:sp>
          <p:sp>
            <p:nvSpPr>
              <p:cNvPr id="20" name="Forma Livre: Forma 113">
                <a:extLst>
                  <a:ext uri="{FF2B5EF4-FFF2-40B4-BE49-F238E27FC236}">
                    <a16:creationId xmlns:a16="http://schemas.microsoft.com/office/drawing/2014/main" id="{6F69844B-4058-13BC-0845-B097EED79CCF}"/>
                  </a:ext>
                </a:extLst>
              </p:cNvPr>
              <p:cNvSpPr/>
              <p:nvPr/>
            </p:nvSpPr>
            <p:spPr>
              <a:xfrm rot="17794200">
                <a:off x="6164147" y="4836056"/>
                <a:ext cx="36564" cy="16359"/>
              </a:xfrm>
              <a:custGeom>
                <a:avLst/>
                <a:gdLst>
                  <a:gd name="connsiteX0" fmla="*/ 0 w 36564"/>
                  <a:gd name="connsiteY0" fmla="*/ 0 h 16359"/>
                  <a:gd name="connsiteX1" fmla="*/ 36564 w 36564"/>
                  <a:gd name="connsiteY1" fmla="*/ 0 h 16359"/>
                  <a:gd name="connsiteX2" fmla="*/ 36564 w 36564"/>
                  <a:gd name="connsiteY2" fmla="*/ 16360 h 16359"/>
                  <a:gd name="connsiteX3" fmla="*/ 0 w 36564"/>
                  <a:gd name="connsiteY3" fmla="*/ 16360 h 16359"/>
                </a:gdLst>
                <a:ahLst/>
                <a:cxnLst>
                  <a:cxn ang="0">
                    <a:pos x="connsiteX0" y="connsiteY0"/>
                  </a:cxn>
                  <a:cxn ang="0">
                    <a:pos x="connsiteX1" y="connsiteY1"/>
                  </a:cxn>
                  <a:cxn ang="0">
                    <a:pos x="connsiteX2" y="connsiteY2"/>
                  </a:cxn>
                  <a:cxn ang="0">
                    <a:pos x="connsiteX3" y="connsiteY3"/>
                  </a:cxn>
                </a:cxnLst>
                <a:rect l="l" t="t" r="r" b="b"/>
                <a:pathLst>
                  <a:path w="36564" h="16359">
                    <a:moveTo>
                      <a:pt x="0" y="0"/>
                    </a:moveTo>
                    <a:lnTo>
                      <a:pt x="36564" y="0"/>
                    </a:lnTo>
                    <a:lnTo>
                      <a:pt x="36564" y="16360"/>
                    </a:lnTo>
                    <a:lnTo>
                      <a:pt x="0" y="16360"/>
                    </a:lnTo>
                    <a:close/>
                  </a:path>
                </a:pathLst>
              </a:custGeom>
              <a:solidFill>
                <a:srgbClr val="000532"/>
              </a:solidFill>
              <a:ln w="8096" cap="flat">
                <a:noFill/>
                <a:prstDash val="solid"/>
                <a:miter/>
              </a:ln>
            </p:spPr>
            <p:txBody>
              <a:bodyPr rtlCol="0" anchor="ctr"/>
              <a:lstStyle/>
              <a:p>
                <a:endParaRPr lang="pt-BR"/>
              </a:p>
            </p:txBody>
          </p:sp>
          <p:sp>
            <p:nvSpPr>
              <p:cNvPr id="21" name="Forma Livre: Forma 114">
                <a:extLst>
                  <a:ext uri="{FF2B5EF4-FFF2-40B4-BE49-F238E27FC236}">
                    <a16:creationId xmlns:a16="http://schemas.microsoft.com/office/drawing/2014/main" id="{6E98933E-FDB4-0606-5BB0-7BB3E3518F32}"/>
                  </a:ext>
                </a:extLst>
              </p:cNvPr>
              <p:cNvSpPr/>
              <p:nvPr/>
            </p:nvSpPr>
            <p:spPr>
              <a:xfrm rot="17794200">
                <a:off x="6152867" y="4876939"/>
                <a:ext cx="18323" cy="16359"/>
              </a:xfrm>
              <a:custGeom>
                <a:avLst/>
                <a:gdLst>
                  <a:gd name="connsiteX0" fmla="*/ 0 w 18323"/>
                  <a:gd name="connsiteY0" fmla="*/ 0 h 16359"/>
                  <a:gd name="connsiteX1" fmla="*/ 18323 w 18323"/>
                  <a:gd name="connsiteY1" fmla="*/ 0 h 16359"/>
                  <a:gd name="connsiteX2" fmla="*/ 18323 w 18323"/>
                  <a:gd name="connsiteY2" fmla="*/ 16360 h 16359"/>
                  <a:gd name="connsiteX3" fmla="*/ 0 w 18323"/>
                  <a:gd name="connsiteY3" fmla="*/ 16360 h 16359"/>
                </a:gdLst>
                <a:ahLst/>
                <a:cxnLst>
                  <a:cxn ang="0">
                    <a:pos x="connsiteX0" y="connsiteY0"/>
                  </a:cxn>
                  <a:cxn ang="0">
                    <a:pos x="connsiteX1" y="connsiteY1"/>
                  </a:cxn>
                  <a:cxn ang="0">
                    <a:pos x="connsiteX2" y="connsiteY2"/>
                  </a:cxn>
                  <a:cxn ang="0">
                    <a:pos x="connsiteX3" y="connsiteY3"/>
                  </a:cxn>
                </a:cxnLst>
                <a:rect l="l" t="t" r="r" b="b"/>
                <a:pathLst>
                  <a:path w="18323" h="16359">
                    <a:moveTo>
                      <a:pt x="0" y="0"/>
                    </a:moveTo>
                    <a:lnTo>
                      <a:pt x="18323" y="0"/>
                    </a:lnTo>
                    <a:lnTo>
                      <a:pt x="18323" y="16360"/>
                    </a:lnTo>
                    <a:lnTo>
                      <a:pt x="0" y="16360"/>
                    </a:lnTo>
                    <a:close/>
                  </a:path>
                </a:pathLst>
              </a:custGeom>
              <a:solidFill>
                <a:srgbClr val="000532"/>
              </a:solidFill>
              <a:ln w="8096" cap="flat">
                <a:noFill/>
                <a:prstDash val="solid"/>
                <a:miter/>
              </a:ln>
            </p:spPr>
            <p:txBody>
              <a:bodyPr rtlCol="0" anchor="ctr"/>
              <a:lstStyle/>
              <a:p>
                <a:endParaRPr lang="pt-BR"/>
              </a:p>
            </p:txBody>
          </p:sp>
          <p:sp>
            <p:nvSpPr>
              <p:cNvPr id="22" name="Forma Livre: Forma 115">
                <a:extLst>
                  <a:ext uri="{FF2B5EF4-FFF2-40B4-BE49-F238E27FC236}">
                    <a16:creationId xmlns:a16="http://schemas.microsoft.com/office/drawing/2014/main" id="{0B9155CF-682A-5B31-F8F5-3C91E618F3AB}"/>
                  </a:ext>
                </a:extLst>
              </p:cNvPr>
              <p:cNvSpPr/>
              <p:nvPr/>
            </p:nvSpPr>
            <p:spPr>
              <a:xfrm>
                <a:off x="6111617" y="4623303"/>
                <a:ext cx="272551" cy="335212"/>
              </a:xfrm>
              <a:custGeom>
                <a:avLst/>
                <a:gdLst>
                  <a:gd name="connsiteX0" fmla="*/ 268504 w 272551"/>
                  <a:gd name="connsiteY0" fmla="*/ 276808 h 335212"/>
                  <a:gd name="connsiteX1" fmla="*/ 240774 w 272551"/>
                  <a:gd name="connsiteY1" fmla="*/ 218813 h 335212"/>
                  <a:gd name="connsiteX2" fmla="*/ 240774 w 272551"/>
                  <a:gd name="connsiteY2" fmla="*/ 218976 h 335212"/>
                  <a:gd name="connsiteX3" fmla="*/ 211654 w 272551"/>
                  <a:gd name="connsiteY3" fmla="*/ 157872 h 335212"/>
                  <a:gd name="connsiteX4" fmla="*/ 201756 w 272551"/>
                  <a:gd name="connsiteY4" fmla="*/ 137177 h 335212"/>
                  <a:gd name="connsiteX5" fmla="*/ 201756 w 272551"/>
                  <a:gd name="connsiteY5" fmla="*/ 47689 h 335212"/>
                  <a:gd name="connsiteX6" fmla="*/ 218116 w 272551"/>
                  <a:gd name="connsiteY6" fmla="*/ 24540 h 335212"/>
                  <a:gd name="connsiteX7" fmla="*/ 193576 w 272551"/>
                  <a:gd name="connsiteY7" fmla="*/ 0 h 335212"/>
                  <a:gd name="connsiteX8" fmla="*/ 79057 w 272551"/>
                  <a:gd name="connsiteY8" fmla="*/ 0 h 335212"/>
                  <a:gd name="connsiteX9" fmla="*/ 54517 w 272551"/>
                  <a:gd name="connsiteY9" fmla="*/ 24540 h 335212"/>
                  <a:gd name="connsiteX10" fmla="*/ 70877 w 272551"/>
                  <a:gd name="connsiteY10" fmla="*/ 47689 h 335212"/>
                  <a:gd name="connsiteX11" fmla="*/ 70877 w 272551"/>
                  <a:gd name="connsiteY11" fmla="*/ 137177 h 335212"/>
                  <a:gd name="connsiteX12" fmla="*/ 66869 w 272551"/>
                  <a:gd name="connsiteY12" fmla="*/ 145521 h 335212"/>
                  <a:gd name="connsiteX13" fmla="*/ 66869 w 272551"/>
                  <a:gd name="connsiteY13" fmla="*/ 144703 h 335212"/>
                  <a:gd name="connsiteX14" fmla="*/ 37667 w 272551"/>
                  <a:gd name="connsiteY14" fmla="*/ 206052 h 335212"/>
                  <a:gd name="connsiteX15" fmla="*/ 37667 w 272551"/>
                  <a:gd name="connsiteY15" fmla="*/ 206216 h 335212"/>
                  <a:gd name="connsiteX16" fmla="*/ 4047 w 272551"/>
                  <a:gd name="connsiteY16" fmla="*/ 276727 h 335212"/>
                  <a:gd name="connsiteX17" fmla="*/ 6338 w 272551"/>
                  <a:gd name="connsiteY17" fmla="*/ 316154 h 335212"/>
                  <a:gd name="connsiteX18" fmla="*/ 40939 w 272551"/>
                  <a:gd name="connsiteY18" fmla="*/ 335213 h 335212"/>
                  <a:gd name="connsiteX19" fmla="*/ 231613 w 272551"/>
                  <a:gd name="connsiteY19" fmla="*/ 335213 h 335212"/>
                  <a:gd name="connsiteX20" fmla="*/ 266214 w 272551"/>
                  <a:gd name="connsiteY20" fmla="*/ 316154 h 335212"/>
                  <a:gd name="connsiteX21" fmla="*/ 268504 w 272551"/>
                  <a:gd name="connsiteY21" fmla="*/ 276727 h 335212"/>
                  <a:gd name="connsiteX22" fmla="*/ 252390 w 272551"/>
                  <a:gd name="connsiteY22" fmla="*/ 307565 h 335212"/>
                  <a:gd name="connsiteX23" fmla="*/ 231613 w 272551"/>
                  <a:gd name="connsiteY23" fmla="*/ 319017 h 335212"/>
                  <a:gd name="connsiteX24" fmla="*/ 40939 w 272551"/>
                  <a:gd name="connsiteY24" fmla="*/ 319017 h 335212"/>
                  <a:gd name="connsiteX25" fmla="*/ 20162 w 272551"/>
                  <a:gd name="connsiteY25" fmla="*/ 307565 h 335212"/>
                  <a:gd name="connsiteX26" fmla="*/ 16481 w 272551"/>
                  <a:gd name="connsiteY26" fmla="*/ 294477 h 335212"/>
                  <a:gd name="connsiteX27" fmla="*/ 16890 w 272551"/>
                  <a:gd name="connsiteY27" fmla="*/ 294477 h 335212"/>
                  <a:gd name="connsiteX28" fmla="*/ 21634 w 272551"/>
                  <a:gd name="connsiteY28" fmla="*/ 278117 h 335212"/>
                  <a:gd name="connsiteX29" fmla="*/ 21470 w 272551"/>
                  <a:gd name="connsiteY29" fmla="*/ 278117 h 335212"/>
                  <a:gd name="connsiteX30" fmla="*/ 86255 w 272551"/>
                  <a:gd name="connsiteY30" fmla="*/ 142576 h 335212"/>
                  <a:gd name="connsiteX31" fmla="*/ 87073 w 272551"/>
                  <a:gd name="connsiteY31" fmla="*/ 139059 h 335212"/>
                  <a:gd name="connsiteX32" fmla="*/ 87073 w 272551"/>
                  <a:gd name="connsiteY32" fmla="*/ 49080 h 335212"/>
                  <a:gd name="connsiteX33" fmla="*/ 111613 w 272551"/>
                  <a:gd name="connsiteY33" fmla="*/ 49080 h 335212"/>
                  <a:gd name="connsiteX34" fmla="*/ 111613 w 272551"/>
                  <a:gd name="connsiteY34" fmla="*/ 32720 h 335212"/>
                  <a:gd name="connsiteX35" fmla="*/ 78893 w 272551"/>
                  <a:gd name="connsiteY35" fmla="*/ 32720 h 335212"/>
                  <a:gd name="connsiteX36" fmla="*/ 70714 w 272551"/>
                  <a:gd name="connsiteY36" fmla="*/ 24540 h 335212"/>
                  <a:gd name="connsiteX37" fmla="*/ 78893 w 272551"/>
                  <a:gd name="connsiteY37" fmla="*/ 16360 h 335212"/>
                  <a:gd name="connsiteX38" fmla="*/ 193412 w 272551"/>
                  <a:gd name="connsiteY38" fmla="*/ 16360 h 335212"/>
                  <a:gd name="connsiteX39" fmla="*/ 201592 w 272551"/>
                  <a:gd name="connsiteY39" fmla="*/ 24540 h 335212"/>
                  <a:gd name="connsiteX40" fmla="*/ 193412 w 272551"/>
                  <a:gd name="connsiteY40" fmla="*/ 32720 h 335212"/>
                  <a:gd name="connsiteX41" fmla="*/ 160693 w 272551"/>
                  <a:gd name="connsiteY41" fmla="*/ 32720 h 335212"/>
                  <a:gd name="connsiteX42" fmla="*/ 160693 w 272551"/>
                  <a:gd name="connsiteY42" fmla="*/ 49080 h 335212"/>
                  <a:gd name="connsiteX43" fmla="*/ 185232 w 272551"/>
                  <a:gd name="connsiteY43" fmla="*/ 49080 h 335212"/>
                  <a:gd name="connsiteX44" fmla="*/ 185232 w 272551"/>
                  <a:gd name="connsiteY44" fmla="*/ 139059 h 335212"/>
                  <a:gd name="connsiteX45" fmla="*/ 186050 w 272551"/>
                  <a:gd name="connsiteY45" fmla="*/ 142576 h 335212"/>
                  <a:gd name="connsiteX46" fmla="*/ 250017 w 272551"/>
                  <a:gd name="connsiteY46" fmla="*/ 276318 h 335212"/>
                  <a:gd name="connsiteX47" fmla="*/ 255661 w 272551"/>
                  <a:gd name="connsiteY47" fmla="*/ 294477 h 335212"/>
                  <a:gd name="connsiteX48" fmla="*/ 255907 w 272551"/>
                  <a:gd name="connsiteY48" fmla="*/ 294477 h 335212"/>
                  <a:gd name="connsiteX49" fmla="*/ 252226 w 272551"/>
                  <a:gd name="connsiteY49" fmla="*/ 307565 h 3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72551" h="335212">
                    <a:moveTo>
                      <a:pt x="268504" y="276808"/>
                    </a:moveTo>
                    <a:lnTo>
                      <a:pt x="240774" y="218813"/>
                    </a:lnTo>
                    <a:lnTo>
                      <a:pt x="240774" y="218976"/>
                    </a:lnTo>
                    <a:lnTo>
                      <a:pt x="211654" y="157872"/>
                    </a:lnTo>
                    <a:lnTo>
                      <a:pt x="201756" y="137177"/>
                    </a:lnTo>
                    <a:lnTo>
                      <a:pt x="201756" y="47689"/>
                    </a:lnTo>
                    <a:cubicBezTo>
                      <a:pt x="211245" y="44335"/>
                      <a:pt x="218116" y="35174"/>
                      <a:pt x="218116" y="24540"/>
                    </a:cubicBezTo>
                    <a:cubicBezTo>
                      <a:pt x="218116" y="11043"/>
                      <a:pt x="207073" y="0"/>
                      <a:pt x="193576" y="0"/>
                    </a:cubicBezTo>
                    <a:lnTo>
                      <a:pt x="79057" y="0"/>
                    </a:lnTo>
                    <a:cubicBezTo>
                      <a:pt x="65560" y="0"/>
                      <a:pt x="54517" y="11043"/>
                      <a:pt x="54517" y="24540"/>
                    </a:cubicBezTo>
                    <a:cubicBezTo>
                      <a:pt x="54517" y="35174"/>
                      <a:pt x="61388" y="44335"/>
                      <a:pt x="70877" y="47689"/>
                    </a:cubicBezTo>
                    <a:lnTo>
                      <a:pt x="70877" y="137177"/>
                    </a:lnTo>
                    <a:lnTo>
                      <a:pt x="66869" y="145521"/>
                    </a:lnTo>
                    <a:cubicBezTo>
                      <a:pt x="66869" y="145521"/>
                      <a:pt x="66869" y="144948"/>
                      <a:pt x="66869" y="144703"/>
                    </a:cubicBezTo>
                    <a:lnTo>
                      <a:pt x="37667" y="206052"/>
                    </a:lnTo>
                    <a:lnTo>
                      <a:pt x="37667" y="206216"/>
                    </a:lnTo>
                    <a:lnTo>
                      <a:pt x="4047" y="276727"/>
                    </a:lnTo>
                    <a:cubicBezTo>
                      <a:pt x="-2088" y="289487"/>
                      <a:pt x="-1188" y="304211"/>
                      <a:pt x="6338" y="316154"/>
                    </a:cubicBezTo>
                    <a:cubicBezTo>
                      <a:pt x="13863" y="328096"/>
                      <a:pt x="26787" y="335213"/>
                      <a:pt x="40939" y="335213"/>
                    </a:cubicBezTo>
                    <a:lnTo>
                      <a:pt x="231613" y="335213"/>
                    </a:lnTo>
                    <a:cubicBezTo>
                      <a:pt x="245764" y="335213"/>
                      <a:pt x="258688" y="328096"/>
                      <a:pt x="266214" y="316154"/>
                    </a:cubicBezTo>
                    <a:cubicBezTo>
                      <a:pt x="273739" y="304211"/>
                      <a:pt x="274639" y="289487"/>
                      <a:pt x="268504" y="276727"/>
                    </a:cubicBezTo>
                    <a:close/>
                    <a:moveTo>
                      <a:pt x="252390" y="307565"/>
                    </a:moveTo>
                    <a:cubicBezTo>
                      <a:pt x="247891" y="314763"/>
                      <a:pt x="240120" y="319017"/>
                      <a:pt x="231613" y="319017"/>
                    </a:cubicBezTo>
                    <a:lnTo>
                      <a:pt x="40939" y="319017"/>
                    </a:lnTo>
                    <a:cubicBezTo>
                      <a:pt x="32432" y="319017"/>
                      <a:pt x="24661" y="314763"/>
                      <a:pt x="20162" y="307565"/>
                    </a:cubicBezTo>
                    <a:cubicBezTo>
                      <a:pt x="17626" y="303557"/>
                      <a:pt x="16481" y="299058"/>
                      <a:pt x="16481" y="294477"/>
                    </a:cubicBezTo>
                    <a:lnTo>
                      <a:pt x="16890" y="294477"/>
                    </a:lnTo>
                    <a:cubicBezTo>
                      <a:pt x="16890" y="289078"/>
                      <a:pt x="19507" y="282616"/>
                      <a:pt x="21634" y="278117"/>
                    </a:cubicBezTo>
                    <a:lnTo>
                      <a:pt x="21470" y="278117"/>
                    </a:lnTo>
                    <a:lnTo>
                      <a:pt x="86255" y="142576"/>
                    </a:lnTo>
                    <a:cubicBezTo>
                      <a:pt x="86746" y="141513"/>
                      <a:pt x="87073" y="140286"/>
                      <a:pt x="87073" y="139059"/>
                    </a:cubicBezTo>
                    <a:lnTo>
                      <a:pt x="87073" y="49080"/>
                    </a:lnTo>
                    <a:lnTo>
                      <a:pt x="111613" y="49080"/>
                    </a:lnTo>
                    <a:lnTo>
                      <a:pt x="111613" y="32720"/>
                    </a:lnTo>
                    <a:lnTo>
                      <a:pt x="78893" y="32720"/>
                    </a:lnTo>
                    <a:cubicBezTo>
                      <a:pt x="74395" y="32720"/>
                      <a:pt x="70714" y="29039"/>
                      <a:pt x="70714" y="24540"/>
                    </a:cubicBezTo>
                    <a:cubicBezTo>
                      <a:pt x="70714" y="20041"/>
                      <a:pt x="74395" y="16360"/>
                      <a:pt x="78893" y="16360"/>
                    </a:cubicBezTo>
                    <a:lnTo>
                      <a:pt x="193412" y="16360"/>
                    </a:lnTo>
                    <a:cubicBezTo>
                      <a:pt x="197911" y="16360"/>
                      <a:pt x="201592" y="20041"/>
                      <a:pt x="201592" y="24540"/>
                    </a:cubicBezTo>
                    <a:cubicBezTo>
                      <a:pt x="201592" y="29039"/>
                      <a:pt x="197911" y="32720"/>
                      <a:pt x="193412" y="32720"/>
                    </a:cubicBezTo>
                    <a:lnTo>
                      <a:pt x="160693" y="32720"/>
                    </a:lnTo>
                    <a:lnTo>
                      <a:pt x="160693" y="49080"/>
                    </a:lnTo>
                    <a:lnTo>
                      <a:pt x="185232" y="49080"/>
                    </a:lnTo>
                    <a:lnTo>
                      <a:pt x="185232" y="139059"/>
                    </a:lnTo>
                    <a:cubicBezTo>
                      <a:pt x="185232" y="140286"/>
                      <a:pt x="185478" y="141513"/>
                      <a:pt x="186050" y="142576"/>
                    </a:cubicBezTo>
                    <a:lnTo>
                      <a:pt x="250017" y="276318"/>
                    </a:lnTo>
                    <a:cubicBezTo>
                      <a:pt x="252226" y="280653"/>
                      <a:pt x="255580" y="288260"/>
                      <a:pt x="255661" y="294477"/>
                    </a:cubicBezTo>
                    <a:lnTo>
                      <a:pt x="255907" y="294477"/>
                    </a:lnTo>
                    <a:cubicBezTo>
                      <a:pt x="255907" y="299058"/>
                      <a:pt x="254762" y="303557"/>
                      <a:pt x="252226" y="307565"/>
                    </a:cubicBezTo>
                    <a:close/>
                  </a:path>
                </a:pathLst>
              </a:custGeom>
              <a:solidFill>
                <a:srgbClr val="000532"/>
              </a:solidFill>
              <a:ln w="8096" cap="flat">
                <a:noFill/>
                <a:prstDash val="solid"/>
                <a:miter/>
              </a:ln>
            </p:spPr>
            <p:txBody>
              <a:bodyPr rtlCol="0" anchor="ctr"/>
              <a:lstStyle/>
              <a:p>
                <a:endParaRPr lang="pt-BR"/>
              </a:p>
            </p:txBody>
          </p:sp>
          <p:sp>
            <p:nvSpPr>
              <p:cNvPr id="27" name="Forma Livre: Forma 116">
                <a:extLst>
                  <a:ext uri="{FF2B5EF4-FFF2-40B4-BE49-F238E27FC236}">
                    <a16:creationId xmlns:a16="http://schemas.microsoft.com/office/drawing/2014/main" id="{844977B7-4FB7-B253-76F2-36D0C28BDBED}"/>
                  </a:ext>
                </a:extLst>
              </p:cNvPr>
              <p:cNvSpPr/>
              <p:nvPr/>
            </p:nvSpPr>
            <p:spPr>
              <a:xfrm>
                <a:off x="6239835" y="4494796"/>
                <a:ext cx="112064" cy="112064"/>
              </a:xfrm>
              <a:custGeom>
                <a:avLst/>
                <a:gdLst>
                  <a:gd name="connsiteX0" fmla="*/ 101676 w 112064"/>
                  <a:gd name="connsiteY0" fmla="*/ 62904 h 112064"/>
                  <a:gd name="connsiteX1" fmla="*/ 90143 w 112064"/>
                  <a:gd name="connsiteY1" fmla="*/ 51370 h 112064"/>
                  <a:gd name="connsiteX2" fmla="*/ 89979 w 112064"/>
                  <a:gd name="connsiteY2" fmla="*/ 51533 h 112064"/>
                  <a:gd name="connsiteX3" fmla="*/ 87525 w 112064"/>
                  <a:gd name="connsiteY3" fmla="*/ 49080 h 112064"/>
                  <a:gd name="connsiteX4" fmla="*/ 62985 w 112064"/>
                  <a:gd name="connsiteY4" fmla="*/ 24540 h 112064"/>
                  <a:gd name="connsiteX5" fmla="*/ 60613 w 112064"/>
                  <a:gd name="connsiteY5" fmla="*/ 22168 h 112064"/>
                  <a:gd name="connsiteX6" fmla="*/ 60777 w 112064"/>
                  <a:gd name="connsiteY6" fmla="*/ 22004 h 112064"/>
                  <a:gd name="connsiteX7" fmla="*/ 49243 w 112064"/>
                  <a:gd name="connsiteY7" fmla="*/ 10470 h 112064"/>
                  <a:gd name="connsiteX8" fmla="*/ 49079 w 112064"/>
                  <a:gd name="connsiteY8" fmla="*/ 10634 h 112064"/>
                  <a:gd name="connsiteX9" fmla="*/ 38446 w 112064"/>
                  <a:gd name="connsiteY9" fmla="*/ 0 h 112064"/>
                  <a:gd name="connsiteX10" fmla="*/ 26912 w 112064"/>
                  <a:gd name="connsiteY10" fmla="*/ 11534 h 112064"/>
                  <a:gd name="connsiteX11" fmla="*/ 43272 w 112064"/>
                  <a:gd name="connsiteY11" fmla="*/ 27894 h 112064"/>
                  <a:gd name="connsiteX12" fmla="*/ 45644 w 112064"/>
                  <a:gd name="connsiteY12" fmla="*/ 30266 h 112064"/>
                  <a:gd name="connsiteX13" fmla="*/ 2372 w 112064"/>
                  <a:gd name="connsiteY13" fmla="*/ 73537 h 112064"/>
                  <a:gd name="connsiteX14" fmla="*/ 0 w 112064"/>
                  <a:gd name="connsiteY14" fmla="*/ 79345 h 112064"/>
                  <a:gd name="connsiteX15" fmla="*/ 0 w 112064"/>
                  <a:gd name="connsiteY15" fmla="*/ 103885 h 112064"/>
                  <a:gd name="connsiteX16" fmla="*/ 8180 w 112064"/>
                  <a:gd name="connsiteY16" fmla="*/ 112065 h 112064"/>
                  <a:gd name="connsiteX17" fmla="*/ 32720 w 112064"/>
                  <a:gd name="connsiteY17" fmla="*/ 112065 h 112064"/>
                  <a:gd name="connsiteX18" fmla="*/ 38527 w 112064"/>
                  <a:gd name="connsiteY18" fmla="*/ 109693 h 112064"/>
                  <a:gd name="connsiteX19" fmla="*/ 81799 w 112064"/>
                  <a:gd name="connsiteY19" fmla="*/ 66421 h 112064"/>
                  <a:gd name="connsiteX20" fmla="*/ 84171 w 112064"/>
                  <a:gd name="connsiteY20" fmla="*/ 68793 h 112064"/>
                  <a:gd name="connsiteX21" fmla="*/ 100531 w 112064"/>
                  <a:gd name="connsiteY21" fmla="*/ 85153 h 112064"/>
                  <a:gd name="connsiteX22" fmla="*/ 112065 w 112064"/>
                  <a:gd name="connsiteY22" fmla="*/ 73619 h 112064"/>
                  <a:gd name="connsiteX23" fmla="*/ 101513 w 112064"/>
                  <a:gd name="connsiteY23" fmla="*/ 63067 h 112064"/>
                  <a:gd name="connsiteX24" fmla="*/ 101676 w 112064"/>
                  <a:gd name="connsiteY24" fmla="*/ 62904 h 112064"/>
                  <a:gd name="connsiteX25" fmla="*/ 29284 w 112064"/>
                  <a:gd name="connsiteY25" fmla="*/ 95787 h 112064"/>
                  <a:gd name="connsiteX26" fmla="*/ 16278 w 112064"/>
                  <a:gd name="connsiteY26" fmla="*/ 95787 h 112064"/>
                  <a:gd name="connsiteX27" fmla="*/ 16278 w 112064"/>
                  <a:gd name="connsiteY27" fmla="*/ 82781 h 112064"/>
                  <a:gd name="connsiteX28" fmla="*/ 57178 w 112064"/>
                  <a:gd name="connsiteY28" fmla="*/ 41881 h 112064"/>
                  <a:gd name="connsiteX29" fmla="*/ 70184 w 112064"/>
                  <a:gd name="connsiteY29" fmla="*/ 54887 h 112064"/>
                  <a:gd name="connsiteX30" fmla="*/ 29284 w 112064"/>
                  <a:gd name="connsiteY30" fmla="*/ 95787 h 11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2064" h="112064">
                    <a:moveTo>
                      <a:pt x="101676" y="62904"/>
                    </a:moveTo>
                    <a:lnTo>
                      <a:pt x="90143" y="51370"/>
                    </a:lnTo>
                    <a:lnTo>
                      <a:pt x="89979" y="51533"/>
                    </a:lnTo>
                    <a:lnTo>
                      <a:pt x="87525" y="49080"/>
                    </a:lnTo>
                    <a:lnTo>
                      <a:pt x="62985" y="24540"/>
                    </a:lnTo>
                    <a:lnTo>
                      <a:pt x="60613" y="22168"/>
                    </a:lnTo>
                    <a:lnTo>
                      <a:pt x="60777" y="22004"/>
                    </a:lnTo>
                    <a:lnTo>
                      <a:pt x="49243" y="10470"/>
                    </a:lnTo>
                    <a:lnTo>
                      <a:pt x="49079" y="10634"/>
                    </a:lnTo>
                    <a:lnTo>
                      <a:pt x="38446" y="0"/>
                    </a:lnTo>
                    <a:lnTo>
                      <a:pt x="26912" y="11534"/>
                    </a:lnTo>
                    <a:lnTo>
                      <a:pt x="43272" y="27894"/>
                    </a:lnTo>
                    <a:lnTo>
                      <a:pt x="45644" y="30266"/>
                    </a:lnTo>
                    <a:lnTo>
                      <a:pt x="2372" y="73537"/>
                    </a:lnTo>
                    <a:cubicBezTo>
                      <a:pt x="818" y="75092"/>
                      <a:pt x="0" y="77137"/>
                      <a:pt x="0" y="79345"/>
                    </a:cubicBezTo>
                    <a:lnTo>
                      <a:pt x="0" y="103885"/>
                    </a:lnTo>
                    <a:cubicBezTo>
                      <a:pt x="0" y="108384"/>
                      <a:pt x="3681" y="112065"/>
                      <a:pt x="8180" y="112065"/>
                    </a:cubicBezTo>
                    <a:lnTo>
                      <a:pt x="32720" y="112065"/>
                    </a:lnTo>
                    <a:cubicBezTo>
                      <a:pt x="34928" y="112065"/>
                      <a:pt x="36973" y="111165"/>
                      <a:pt x="38527" y="109693"/>
                    </a:cubicBezTo>
                    <a:lnTo>
                      <a:pt x="81799" y="66421"/>
                    </a:lnTo>
                    <a:lnTo>
                      <a:pt x="84171" y="68793"/>
                    </a:lnTo>
                    <a:lnTo>
                      <a:pt x="100531" y="85153"/>
                    </a:lnTo>
                    <a:lnTo>
                      <a:pt x="112065" y="73619"/>
                    </a:lnTo>
                    <a:lnTo>
                      <a:pt x="101513" y="63067"/>
                    </a:lnTo>
                    <a:lnTo>
                      <a:pt x="101676" y="62904"/>
                    </a:lnTo>
                    <a:close/>
                    <a:moveTo>
                      <a:pt x="29284" y="95787"/>
                    </a:moveTo>
                    <a:lnTo>
                      <a:pt x="16278" y="95787"/>
                    </a:lnTo>
                    <a:lnTo>
                      <a:pt x="16278" y="82781"/>
                    </a:lnTo>
                    <a:lnTo>
                      <a:pt x="57178" y="41881"/>
                    </a:lnTo>
                    <a:lnTo>
                      <a:pt x="70184" y="54887"/>
                    </a:lnTo>
                    <a:lnTo>
                      <a:pt x="29284" y="95787"/>
                    </a:lnTo>
                    <a:close/>
                  </a:path>
                </a:pathLst>
              </a:custGeom>
              <a:solidFill>
                <a:srgbClr val="000532"/>
              </a:solidFill>
              <a:ln w="8096" cap="flat">
                <a:noFill/>
                <a:prstDash val="solid"/>
                <a:miter/>
              </a:ln>
            </p:spPr>
            <p:txBody>
              <a:bodyPr rtlCol="0" anchor="ctr"/>
              <a:lstStyle/>
              <a:p>
                <a:endParaRPr lang="pt-BR"/>
              </a:p>
            </p:txBody>
          </p:sp>
        </p:grpSp>
        <p:grpSp>
          <p:nvGrpSpPr>
            <p:cNvPr id="88" name="Agrupar 87">
              <a:extLst>
                <a:ext uri="{FF2B5EF4-FFF2-40B4-BE49-F238E27FC236}">
                  <a16:creationId xmlns:a16="http://schemas.microsoft.com/office/drawing/2014/main" id="{0E040001-6EAB-77ED-7911-9B0C6F4BC43F}"/>
                </a:ext>
              </a:extLst>
            </p:cNvPr>
            <p:cNvGrpSpPr/>
            <p:nvPr/>
          </p:nvGrpSpPr>
          <p:grpSpPr>
            <a:xfrm>
              <a:off x="5252562" y="5115856"/>
              <a:ext cx="808992" cy="808992"/>
              <a:chOff x="5252562" y="5115856"/>
              <a:chExt cx="808992" cy="808992"/>
            </a:xfrm>
          </p:grpSpPr>
          <p:sp>
            <p:nvSpPr>
              <p:cNvPr id="23" name="Oval 11">
                <a:extLst>
                  <a:ext uri="{FF2B5EF4-FFF2-40B4-BE49-F238E27FC236}">
                    <a16:creationId xmlns:a16="http://schemas.microsoft.com/office/drawing/2014/main" id="{DE80D8C1-0AEB-D343-D0ED-1E4818EA4D30}"/>
                  </a:ext>
                </a:extLst>
              </p:cNvPr>
              <p:cNvSpPr/>
              <p:nvPr/>
            </p:nvSpPr>
            <p:spPr>
              <a:xfrm>
                <a:off x="5252562" y="5115856"/>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33" name="Google Shape;1347;p60">
                <a:extLst>
                  <a:ext uri="{FF2B5EF4-FFF2-40B4-BE49-F238E27FC236}">
                    <a16:creationId xmlns:a16="http://schemas.microsoft.com/office/drawing/2014/main" id="{D3C9DE43-98EA-1508-2055-AD53CCA9F108}"/>
                  </a:ext>
                </a:extLst>
              </p:cNvPr>
              <p:cNvSpPr/>
              <p:nvPr/>
            </p:nvSpPr>
            <p:spPr>
              <a:xfrm>
                <a:off x="5398104" y="5282214"/>
                <a:ext cx="535664" cy="443426"/>
              </a:xfrm>
              <a:custGeom>
                <a:avLst/>
                <a:gdLst/>
                <a:ahLst/>
                <a:cxnLst/>
                <a:rect l="l" t="t" r="r" b="b"/>
                <a:pathLst>
                  <a:path w="306916" h="301505" extrusionOk="0">
                    <a:moveTo>
                      <a:pt x="300567" y="72761"/>
                    </a:moveTo>
                    <a:lnTo>
                      <a:pt x="270933" y="72761"/>
                    </a:lnTo>
                    <a:cubicBezTo>
                      <a:pt x="267229" y="72761"/>
                      <a:pt x="264583" y="75405"/>
                      <a:pt x="264583" y="79108"/>
                    </a:cubicBezTo>
                    <a:cubicBezTo>
                      <a:pt x="264583" y="82811"/>
                      <a:pt x="267229" y="85456"/>
                      <a:pt x="270933" y="85456"/>
                    </a:cubicBezTo>
                    <a:lnTo>
                      <a:pt x="294217" y="85456"/>
                    </a:lnTo>
                    <a:lnTo>
                      <a:pt x="294217" y="220340"/>
                    </a:lnTo>
                    <a:lnTo>
                      <a:pt x="177271" y="220340"/>
                    </a:lnTo>
                    <a:lnTo>
                      <a:pt x="198438" y="164799"/>
                    </a:lnTo>
                    <a:lnTo>
                      <a:pt x="200025" y="165857"/>
                    </a:lnTo>
                    <a:cubicBezTo>
                      <a:pt x="201083" y="166386"/>
                      <a:pt x="202142" y="166386"/>
                      <a:pt x="202671" y="166386"/>
                    </a:cubicBezTo>
                    <a:cubicBezTo>
                      <a:pt x="204788" y="166386"/>
                      <a:pt x="207433" y="165328"/>
                      <a:pt x="208492" y="163212"/>
                    </a:cubicBezTo>
                    <a:lnTo>
                      <a:pt x="227542" y="126714"/>
                    </a:lnTo>
                    <a:cubicBezTo>
                      <a:pt x="228600" y="125127"/>
                      <a:pt x="228600" y="123012"/>
                      <a:pt x="228071" y="121425"/>
                    </a:cubicBezTo>
                    <a:cubicBezTo>
                      <a:pt x="228071" y="121425"/>
                      <a:pt x="227542" y="120896"/>
                      <a:pt x="227542" y="120896"/>
                    </a:cubicBezTo>
                    <a:lnTo>
                      <a:pt x="230717" y="118780"/>
                    </a:lnTo>
                    <a:cubicBezTo>
                      <a:pt x="231775" y="118251"/>
                      <a:pt x="232304" y="117193"/>
                      <a:pt x="232833" y="116664"/>
                    </a:cubicBezTo>
                    <a:lnTo>
                      <a:pt x="262467" y="59008"/>
                    </a:lnTo>
                    <a:cubicBezTo>
                      <a:pt x="266700" y="51074"/>
                      <a:pt x="263525" y="41023"/>
                      <a:pt x="255587" y="36792"/>
                    </a:cubicBezTo>
                    <a:cubicBezTo>
                      <a:pt x="253471" y="35734"/>
                      <a:pt x="250825" y="35205"/>
                      <a:pt x="248708" y="35205"/>
                    </a:cubicBezTo>
                    <a:cubicBezTo>
                      <a:pt x="248708" y="34147"/>
                      <a:pt x="248708" y="33089"/>
                      <a:pt x="248179" y="32560"/>
                    </a:cubicBezTo>
                    <a:cubicBezTo>
                      <a:pt x="247121" y="28328"/>
                      <a:pt x="243946" y="25155"/>
                      <a:pt x="240242" y="23039"/>
                    </a:cubicBezTo>
                    <a:cubicBezTo>
                      <a:pt x="238125" y="21981"/>
                      <a:pt x="235479" y="21452"/>
                      <a:pt x="233362" y="21452"/>
                    </a:cubicBezTo>
                    <a:cubicBezTo>
                      <a:pt x="233362" y="20394"/>
                      <a:pt x="233362" y="19865"/>
                      <a:pt x="232833" y="18807"/>
                    </a:cubicBezTo>
                    <a:cubicBezTo>
                      <a:pt x="231775" y="14575"/>
                      <a:pt x="228600" y="11402"/>
                      <a:pt x="224896" y="9286"/>
                    </a:cubicBezTo>
                    <a:cubicBezTo>
                      <a:pt x="221192" y="7170"/>
                      <a:pt x="216429" y="6641"/>
                      <a:pt x="212196" y="8228"/>
                    </a:cubicBezTo>
                    <a:cubicBezTo>
                      <a:pt x="212196" y="8228"/>
                      <a:pt x="212196" y="8228"/>
                      <a:pt x="212196" y="8228"/>
                    </a:cubicBezTo>
                    <a:cubicBezTo>
                      <a:pt x="210608" y="5583"/>
                      <a:pt x="208492" y="3467"/>
                      <a:pt x="205846" y="1880"/>
                    </a:cubicBezTo>
                    <a:cubicBezTo>
                      <a:pt x="197908" y="-2351"/>
                      <a:pt x="187854" y="823"/>
                      <a:pt x="183621" y="8757"/>
                    </a:cubicBezTo>
                    <a:lnTo>
                      <a:pt x="167746" y="39965"/>
                    </a:lnTo>
                    <a:lnTo>
                      <a:pt x="159279" y="30973"/>
                    </a:lnTo>
                    <a:cubicBezTo>
                      <a:pt x="158750" y="30444"/>
                      <a:pt x="158221" y="29915"/>
                      <a:pt x="157692" y="29915"/>
                    </a:cubicBezTo>
                    <a:lnTo>
                      <a:pt x="152400" y="27270"/>
                    </a:lnTo>
                    <a:cubicBezTo>
                      <a:pt x="146579" y="24097"/>
                      <a:pt x="139700" y="23039"/>
                      <a:pt x="133350" y="24626"/>
                    </a:cubicBezTo>
                    <a:cubicBezTo>
                      <a:pt x="124354" y="26213"/>
                      <a:pt x="116946" y="32031"/>
                      <a:pt x="112712" y="39965"/>
                    </a:cubicBezTo>
                    <a:lnTo>
                      <a:pt x="111654" y="42081"/>
                    </a:lnTo>
                    <a:cubicBezTo>
                      <a:pt x="110067" y="45255"/>
                      <a:pt x="111125" y="48958"/>
                      <a:pt x="114300" y="50544"/>
                    </a:cubicBezTo>
                    <a:lnTo>
                      <a:pt x="135996" y="61653"/>
                    </a:lnTo>
                    <a:lnTo>
                      <a:pt x="159279" y="90216"/>
                    </a:lnTo>
                    <a:lnTo>
                      <a:pt x="157163" y="94448"/>
                    </a:lnTo>
                    <a:lnTo>
                      <a:pt x="156633" y="94448"/>
                    </a:lnTo>
                    <a:cubicBezTo>
                      <a:pt x="153458" y="93390"/>
                      <a:pt x="150283" y="94977"/>
                      <a:pt x="148696" y="97622"/>
                    </a:cubicBezTo>
                    <a:lnTo>
                      <a:pt x="134408" y="125127"/>
                    </a:lnTo>
                    <a:cubicBezTo>
                      <a:pt x="133879" y="126714"/>
                      <a:pt x="133350" y="128301"/>
                      <a:pt x="133879" y="129888"/>
                    </a:cubicBezTo>
                    <a:cubicBezTo>
                      <a:pt x="134408" y="130946"/>
                      <a:pt x="135467" y="132004"/>
                      <a:pt x="136525" y="133062"/>
                    </a:cubicBezTo>
                    <a:lnTo>
                      <a:pt x="84138" y="220869"/>
                    </a:lnTo>
                    <a:lnTo>
                      <a:pt x="12700" y="220869"/>
                    </a:lnTo>
                    <a:lnTo>
                      <a:pt x="12700" y="85985"/>
                    </a:lnTo>
                    <a:lnTo>
                      <a:pt x="131763" y="85985"/>
                    </a:lnTo>
                    <a:cubicBezTo>
                      <a:pt x="135467" y="85985"/>
                      <a:pt x="138112" y="83340"/>
                      <a:pt x="138112" y="79637"/>
                    </a:cubicBezTo>
                    <a:cubicBezTo>
                      <a:pt x="138112" y="75935"/>
                      <a:pt x="135467" y="73290"/>
                      <a:pt x="131763" y="73290"/>
                    </a:cubicBezTo>
                    <a:lnTo>
                      <a:pt x="6350" y="73290"/>
                    </a:lnTo>
                    <a:cubicBezTo>
                      <a:pt x="2646" y="73290"/>
                      <a:pt x="0" y="75935"/>
                      <a:pt x="0" y="79637"/>
                    </a:cubicBezTo>
                    <a:lnTo>
                      <a:pt x="0" y="256838"/>
                    </a:lnTo>
                    <a:cubicBezTo>
                      <a:pt x="0" y="260540"/>
                      <a:pt x="2646" y="263185"/>
                      <a:pt x="6350" y="263185"/>
                    </a:cubicBezTo>
                    <a:lnTo>
                      <a:pt x="301096" y="263185"/>
                    </a:lnTo>
                    <a:cubicBezTo>
                      <a:pt x="304800" y="263185"/>
                      <a:pt x="307446" y="260540"/>
                      <a:pt x="307446" y="256838"/>
                    </a:cubicBezTo>
                    <a:lnTo>
                      <a:pt x="307446" y="79108"/>
                    </a:lnTo>
                    <a:cubicBezTo>
                      <a:pt x="306917" y="75935"/>
                      <a:pt x="304271" y="72761"/>
                      <a:pt x="300567" y="72761"/>
                    </a:cubicBezTo>
                    <a:close/>
                    <a:moveTo>
                      <a:pt x="170921" y="84927"/>
                    </a:moveTo>
                    <a:lnTo>
                      <a:pt x="144462" y="52132"/>
                    </a:lnTo>
                    <a:cubicBezTo>
                      <a:pt x="143933" y="51602"/>
                      <a:pt x="143404" y="51074"/>
                      <a:pt x="142346" y="50544"/>
                    </a:cubicBezTo>
                    <a:lnTo>
                      <a:pt x="125413" y="41552"/>
                    </a:lnTo>
                    <a:cubicBezTo>
                      <a:pt x="128058" y="38378"/>
                      <a:pt x="131233" y="36263"/>
                      <a:pt x="135467" y="35734"/>
                    </a:cubicBezTo>
                    <a:cubicBezTo>
                      <a:pt x="139171" y="35205"/>
                      <a:pt x="142875" y="35734"/>
                      <a:pt x="146579" y="37320"/>
                    </a:cubicBezTo>
                    <a:lnTo>
                      <a:pt x="151342" y="39436"/>
                    </a:lnTo>
                    <a:lnTo>
                      <a:pt x="165100" y="53718"/>
                    </a:lnTo>
                    <a:cubicBezTo>
                      <a:pt x="166688" y="55305"/>
                      <a:pt x="168804" y="55834"/>
                      <a:pt x="170392" y="55834"/>
                    </a:cubicBezTo>
                    <a:cubicBezTo>
                      <a:pt x="172508" y="55305"/>
                      <a:pt x="174096" y="54247"/>
                      <a:pt x="175154" y="52660"/>
                    </a:cubicBezTo>
                    <a:lnTo>
                      <a:pt x="195263" y="14047"/>
                    </a:lnTo>
                    <a:cubicBezTo>
                      <a:pt x="195792" y="12989"/>
                      <a:pt x="196321" y="12460"/>
                      <a:pt x="197379" y="12460"/>
                    </a:cubicBezTo>
                    <a:cubicBezTo>
                      <a:pt x="198438" y="11931"/>
                      <a:pt x="199496" y="12460"/>
                      <a:pt x="200025" y="12460"/>
                    </a:cubicBezTo>
                    <a:cubicBezTo>
                      <a:pt x="201612" y="13518"/>
                      <a:pt x="202671" y="15633"/>
                      <a:pt x="201612" y="17220"/>
                    </a:cubicBezTo>
                    <a:lnTo>
                      <a:pt x="197379" y="25155"/>
                    </a:lnTo>
                    <a:cubicBezTo>
                      <a:pt x="195792" y="28328"/>
                      <a:pt x="196850" y="32031"/>
                      <a:pt x="200025" y="33618"/>
                    </a:cubicBezTo>
                    <a:cubicBezTo>
                      <a:pt x="203200" y="35205"/>
                      <a:pt x="206904" y="34147"/>
                      <a:pt x="208492" y="30973"/>
                    </a:cubicBezTo>
                    <a:lnTo>
                      <a:pt x="209550" y="29386"/>
                    </a:lnTo>
                    <a:cubicBezTo>
                      <a:pt x="209550" y="29386"/>
                      <a:pt x="209550" y="29386"/>
                      <a:pt x="209550" y="29386"/>
                    </a:cubicBezTo>
                    <a:lnTo>
                      <a:pt x="213783" y="21452"/>
                    </a:lnTo>
                    <a:cubicBezTo>
                      <a:pt x="214313" y="20394"/>
                      <a:pt x="214842" y="19865"/>
                      <a:pt x="215900" y="19865"/>
                    </a:cubicBezTo>
                    <a:cubicBezTo>
                      <a:pt x="216958" y="19336"/>
                      <a:pt x="218017" y="19865"/>
                      <a:pt x="218546" y="19865"/>
                    </a:cubicBezTo>
                    <a:cubicBezTo>
                      <a:pt x="219604" y="20394"/>
                      <a:pt x="220133" y="20923"/>
                      <a:pt x="220133" y="21981"/>
                    </a:cubicBezTo>
                    <a:cubicBezTo>
                      <a:pt x="220663" y="23039"/>
                      <a:pt x="220133" y="24097"/>
                      <a:pt x="220133" y="24626"/>
                    </a:cubicBezTo>
                    <a:lnTo>
                      <a:pt x="215900" y="33089"/>
                    </a:lnTo>
                    <a:cubicBezTo>
                      <a:pt x="214313" y="35734"/>
                      <a:pt x="215371" y="38908"/>
                      <a:pt x="217487" y="41023"/>
                    </a:cubicBezTo>
                    <a:cubicBezTo>
                      <a:pt x="218017" y="41023"/>
                      <a:pt x="218017" y="41552"/>
                      <a:pt x="218546" y="41552"/>
                    </a:cubicBezTo>
                    <a:cubicBezTo>
                      <a:pt x="219604" y="42081"/>
                      <a:pt x="220133" y="42081"/>
                      <a:pt x="221192" y="42081"/>
                    </a:cubicBezTo>
                    <a:cubicBezTo>
                      <a:pt x="221192" y="42081"/>
                      <a:pt x="221192" y="42081"/>
                      <a:pt x="221192" y="42081"/>
                    </a:cubicBezTo>
                    <a:cubicBezTo>
                      <a:pt x="221192" y="42081"/>
                      <a:pt x="221721" y="42081"/>
                      <a:pt x="221721" y="42081"/>
                    </a:cubicBezTo>
                    <a:cubicBezTo>
                      <a:pt x="222779" y="42081"/>
                      <a:pt x="223308" y="41552"/>
                      <a:pt x="224367" y="41552"/>
                    </a:cubicBezTo>
                    <a:cubicBezTo>
                      <a:pt x="224367" y="41552"/>
                      <a:pt x="224896" y="41552"/>
                      <a:pt x="224896" y="41023"/>
                    </a:cubicBezTo>
                    <a:cubicBezTo>
                      <a:pt x="225954" y="40494"/>
                      <a:pt x="226483" y="39965"/>
                      <a:pt x="227013" y="38908"/>
                    </a:cubicBezTo>
                    <a:lnTo>
                      <a:pt x="229129" y="35205"/>
                    </a:lnTo>
                    <a:cubicBezTo>
                      <a:pt x="229658" y="34147"/>
                      <a:pt x="230188" y="33618"/>
                      <a:pt x="231246" y="33618"/>
                    </a:cubicBezTo>
                    <a:cubicBezTo>
                      <a:pt x="232304" y="33089"/>
                      <a:pt x="233362" y="33618"/>
                      <a:pt x="233892" y="33618"/>
                    </a:cubicBezTo>
                    <a:cubicBezTo>
                      <a:pt x="234421" y="33618"/>
                      <a:pt x="235479" y="34676"/>
                      <a:pt x="235479" y="35734"/>
                    </a:cubicBezTo>
                    <a:cubicBezTo>
                      <a:pt x="236008" y="36792"/>
                      <a:pt x="235479" y="37850"/>
                      <a:pt x="235479" y="38378"/>
                    </a:cubicBezTo>
                    <a:lnTo>
                      <a:pt x="232833" y="43139"/>
                    </a:lnTo>
                    <a:lnTo>
                      <a:pt x="232833" y="43139"/>
                    </a:lnTo>
                    <a:lnTo>
                      <a:pt x="232833" y="43139"/>
                    </a:lnTo>
                    <a:lnTo>
                      <a:pt x="231775" y="45255"/>
                    </a:lnTo>
                    <a:cubicBezTo>
                      <a:pt x="230188" y="48429"/>
                      <a:pt x="231246" y="52132"/>
                      <a:pt x="234421" y="53718"/>
                    </a:cubicBezTo>
                    <a:lnTo>
                      <a:pt x="234421" y="53718"/>
                    </a:lnTo>
                    <a:lnTo>
                      <a:pt x="234421" y="53718"/>
                    </a:lnTo>
                    <a:cubicBezTo>
                      <a:pt x="235479" y="54247"/>
                      <a:pt x="236008" y="54247"/>
                      <a:pt x="237067" y="54247"/>
                    </a:cubicBezTo>
                    <a:cubicBezTo>
                      <a:pt x="237067" y="54247"/>
                      <a:pt x="237067" y="54247"/>
                      <a:pt x="237067" y="54247"/>
                    </a:cubicBezTo>
                    <a:cubicBezTo>
                      <a:pt x="237067" y="54247"/>
                      <a:pt x="237596" y="54247"/>
                      <a:pt x="237596" y="54247"/>
                    </a:cubicBezTo>
                    <a:cubicBezTo>
                      <a:pt x="238654" y="54247"/>
                      <a:pt x="239183" y="53718"/>
                      <a:pt x="239712" y="53718"/>
                    </a:cubicBezTo>
                    <a:cubicBezTo>
                      <a:pt x="239712" y="53718"/>
                      <a:pt x="240242" y="53718"/>
                      <a:pt x="240242" y="53189"/>
                    </a:cubicBezTo>
                    <a:cubicBezTo>
                      <a:pt x="241300" y="52660"/>
                      <a:pt x="241829" y="52132"/>
                      <a:pt x="242358" y="51074"/>
                    </a:cubicBezTo>
                    <a:lnTo>
                      <a:pt x="243417" y="48958"/>
                    </a:lnTo>
                    <a:cubicBezTo>
                      <a:pt x="244475" y="47371"/>
                      <a:pt x="246592" y="46313"/>
                      <a:pt x="248179" y="47371"/>
                    </a:cubicBezTo>
                    <a:cubicBezTo>
                      <a:pt x="249767" y="48429"/>
                      <a:pt x="250825" y="50544"/>
                      <a:pt x="249767" y="52132"/>
                    </a:cubicBezTo>
                    <a:lnTo>
                      <a:pt x="220663" y="108201"/>
                    </a:lnTo>
                    <a:lnTo>
                      <a:pt x="212725" y="113490"/>
                    </a:lnTo>
                    <a:lnTo>
                      <a:pt x="166688" y="97622"/>
                    </a:lnTo>
                    <a:lnTo>
                      <a:pt x="169862" y="91274"/>
                    </a:lnTo>
                    <a:cubicBezTo>
                      <a:pt x="172508" y="89159"/>
                      <a:pt x="172508" y="86514"/>
                      <a:pt x="170921" y="84927"/>
                    </a:cubicBezTo>
                    <a:close/>
                    <a:moveTo>
                      <a:pt x="156633" y="107143"/>
                    </a:moveTo>
                    <a:cubicBezTo>
                      <a:pt x="156633" y="107143"/>
                      <a:pt x="157163" y="107672"/>
                      <a:pt x="157163" y="107672"/>
                    </a:cubicBezTo>
                    <a:lnTo>
                      <a:pt x="212725" y="127243"/>
                    </a:lnTo>
                    <a:lnTo>
                      <a:pt x="200025" y="152104"/>
                    </a:lnTo>
                    <a:lnTo>
                      <a:pt x="147638" y="125127"/>
                    </a:lnTo>
                    <a:lnTo>
                      <a:pt x="156633" y="107143"/>
                    </a:lnTo>
                    <a:close/>
                    <a:moveTo>
                      <a:pt x="146579" y="138351"/>
                    </a:moveTo>
                    <a:lnTo>
                      <a:pt x="186796" y="158981"/>
                    </a:lnTo>
                    <a:lnTo>
                      <a:pt x="163513" y="220340"/>
                    </a:lnTo>
                    <a:lnTo>
                      <a:pt x="97896" y="220340"/>
                    </a:lnTo>
                    <a:lnTo>
                      <a:pt x="146579" y="138351"/>
                    </a:lnTo>
                    <a:close/>
                    <a:moveTo>
                      <a:pt x="12171" y="249961"/>
                    </a:moveTo>
                    <a:lnTo>
                      <a:pt x="12171" y="233034"/>
                    </a:lnTo>
                    <a:lnTo>
                      <a:pt x="86783" y="233034"/>
                    </a:lnTo>
                    <a:cubicBezTo>
                      <a:pt x="86783" y="233034"/>
                      <a:pt x="86783" y="233034"/>
                      <a:pt x="86783" y="233034"/>
                    </a:cubicBezTo>
                    <a:lnTo>
                      <a:pt x="167746" y="233034"/>
                    </a:lnTo>
                    <a:cubicBezTo>
                      <a:pt x="167746" y="233034"/>
                      <a:pt x="167746" y="233034"/>
                      <a:pt x="167746" y="233034"/>
                    </a:cubicBezTo>
                    <a:lnTo>
                      <a:pt x="294217" y="233034"/>
                    </a:lnTo>
                    <a:lnTo>
                      <a:pt x="294217" y="249961"/>
                    </a:lnTo>
                    <a:lnTo>
                      <a:pt x="12171" y="249961"/>
                    </a:lnTo>
                    <a:close/>
                    <a:moveTo>
                      <a:pt x="218546" y="300212"/>
                    </a:moveTo>
                    <a:cubicBezTo>
                      <a:pt x="218546" y="303915"/>
                      <a:pt x="215900" y="306560"/>
                      <a:pt x="212196" y="306560"/>
                    </a:cubicBezTo>
                    <a:lnTo>
                      <a:pt x="182563" y="306560"/>
                    </a:lnTo>
                    <a:lnTo>
                      <a:pt x="123296" y="306560"/>
                    </a:lnTo>
                    <a:lnTo>
                      <a:pt x="94192" y="306560"/>
                    </a:lnTo>
                    <a:cubicBezTo>
                      <a:pt x="90487" y="306560"/>
                      <a:pt x="87842" y="303915"/>
                      <a:pt x="87842" y="300212"/>
                    </a:cubicBezTo>
                    <a:cubicBezTo>
                      <a:pt x="87842" y="296509"/>
                      <a:pt x="90487" y="293865"/>
                      <a:pt x="94192" y="293865"/>
                    </a:cubicBezTo>
                    <a:lnTo>
                      <a:pt x="118004" y="293865"/>
                    </a:lnTo>
                    <a:lnTo>
                      <a:pt x="122237" y="269533"/>
                    </a:lnTo>
                    <a:cubicBezTo>
                      <a:pt x="122767" y="265830"/>
                      <a:pt x="125942" y="263714"/>
                      <a:pt x="129646" y="264243"/>
                    </a:cubicBezTo>
                    <a:cubicBezTo>
                      <a:pt x="133350" y="264772"/>
                      <a:pt x="135467" y="267946"/>
                      <a:pt x="134938" y="271649"/>
                    </a:cubicBezTo>
                    <a:lnTo>
                      <a:pt x="131233" y="293865"/>
                    </a:lnTo>
                    <a:lnTo>
                      <a:pt x="175683" y="293865"/>
                    </a:lnTo>
                    <a:lnTo>
                      <a:pt x="171979" y="271649"/>
                    </a:lnTo>
                    <a:cubicBezTo>
                      <a:pt x="171450" y="267946"/>
                      <a:pt x="173567" y="264772"/>
                      <a:pt x="177271" y="264243"/>
                    </a:cubicBezTo>
                    <a:cubicBezTo>
                      <a:pt x="180446" y="263714"/>
                      <a:pt x="184150" y="265830"/>
                      <a:pt x="184679" y="269533"/>
                    </a:cubicBezTo>
                    <a:lnTo>
                      <a:pt x="188913" y="293865"/>
                    </a:lnTo>
                    <a:lnTo>
                      <a:pt x="213254" y="293865"/>
                    </a:lnTo>
                    <a:cubicBezTo>
                      <a:pt x="215371" y="293865"/>
                      <a:pt x="218546" y="297038"/>
                      <a:pt x="218546" y="300212"/>
                    </a:cubicBezTo>
                    <a:close/>
                  </a:path>
                </a:pathLst>
              </a:cu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spTree>
    <p:extLst>
      <p:ext uri="{BB962C8B-B14F-4D97-AF65-F5344CB8AC3E}">
        <p14:creationId xmlns:p14="http://schemas.microsoft.com/office/powerpoint/2010/main" val="2182245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wheel(1)">
                                      <p:cBhvr>
                                        <p:cTn id="7" dur="2000"/>
                                        <p:tgtEl>
                                          <p:spTgt spid="90"/>
                                        </p:tgtEl>
                                      </p:cBhvr>
                                    </p:animEffect>
                                  </p:childTnLst>
                                </p:cTn>
                              </p:par>
                              <p:par>
                                <p:cTn id="8" presetID="2" presetClass="entr" presetSubtype="8" decel="100000" fill="hold" grpId="0" nodeType="withEffect">
                                  <p:stCondLst>
                                    <p:cond delay="150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1000" fill="hold"/>
                                        <p:tgtEl>
                                          <p:spTgt spid="16"/>
                                        </p:tgtEl>
                                        <p:attrNameLst>
                                          <p:attrName>ppt_x</p:attrName>
                                        </p:attrNameLst>
                                      </p:cBhvr>
                                      <p:tavLst>
                                        <p:tav tm="0">
                                          <p:val>
                                            <p:strVal val="0-#ppt_w/2"/>
                                          </p:val>
                                        </p:tav>
                                        <p:tav tm="100000">
                                          <p:val>
                                            <p:strVal val="#ppt_x"/>
                                          </p:val>
                                        </p:tav>
                                      </p:tavLst>
                                    </p:anim>
                                    <p:anim calcmode="lin" valueType="num">
                                      <p:cBhvr additive="base">
                                        <p:cTn id="11" dur="1000" fill="hold"/>
                                        <p:tgtEl>
                                          <p:spTgt spid="16"/>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25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1000" fill="hold"/>
                                        <p:tgtEl>
                                          <p:spTgt spid="28"/>
                                        </p:tgtEl>
                                        <p:attrNameLst>
                                          <p:attrName>ppt_x</p:attrName>
                                        </p:attrNameLst>
                                      </p:cBhvr>
                                      <p:tavLst>
                                        <p:tav tm="0">
                                          <p:val>
                                            <p:strVal val="1+#ppt_w/2"/>
                                          </p:val>
                                        </p:tav>
                                        <p:tav tm="100000">
                                          <p:val>
                                            <p:strVal val="#ppt_x"/>
                                          </p:val>
                                        </p:tav>
                                      </p:tavLst>
                                    </p:anim>
                                    <p:anim calcmode="lin" valueType="num">
                                      <p:cBhvr additive="base">
                                        <p:cTn id="15" dur="1000" fill="hold"/>
                                        <p:tgtEl>
                                          <p:spTgt spid="28"/>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50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000" fill="hold"/>
                                        <p:tgtEl>
                                          <p:spTgt spid="4"/>
                                        </p:tgtEl>
                                        <p:attrNameLst>
                                          <p:attrName>ppt_x</p:attrName>
                                        </p:attrNameLst>
                                      </p:cBhvr>
                                      <p:tavLst>
                                        <p:tav tm="0">
                                          <p:val>
                                            <p:strVal val="1+#ppt_w/2"/>
                                          </p:val>
                                        </p:tav>
                                        <p:tav tm="100000">
                                          <p:val>
                                            <p:strVal val="#ppt_x"/>
                                          </p:val>
                                        </p:tav>
                                      </p:tavLst>
                                    </p:anim>
                                    <p:anim calcmode="lin" valueType="num">
                                      <p:cBhvr additive="base">
                                        <p:cTn id="19" dur="10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7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000" fill="hold"/>
                                        <p:tgtEl>
                                          <p:spTgt spid="8"/>
                                        </p:tgtEl>
                                        <p:attrNameLst>
                                          <p:attrName>ppt_x</p:attrName>
                                        </p:attrNameLst>
                                      </p:cBhvr>
                                      <p:tavLst>
                                        <p:tav tm="0">
                                          <p:val>
                                            <p:strVal val="1+#ppt_w/2"/>
                                          </p:val>
                                        </p:tav>
                                        <p:tav tm="100000">
                                          <p:val>
                                            <p:strVal val="#ppt_x"/>
                                          </p:val>
                                        </p:tav>
                                      </p:tavLst>
                                    </p:anim>
                                    <p:anim calcmode="lin" valueType="num">
                                      <p:cBhvr additive="base">
                                        <p:cTn id="23" dur="1000" fill="hold"/>
                                        <p:tgtEl>
                                          <p:spTgt spid="8"/>
                                        </p:tgtEl>
                                        <p:attrNameLst>
                                          <p:attrName>ppt_y</p:attrName>
                                        </p:attrNameLst>
                                      </p:cBhvr>
                                      <p:tavLst>
                                        <p:tav tm="0">
                                          <p:val>
                                            <p:strVal val="#ppt_y"/>
                                          </p:val>
                                        </p:tav>
                                        <p:tav tm="100000">
                                          <p:val>
                                            <p:strVal val="#ppt_y"/>
                                          </p:val>
                                        </p:tav>
                                      </p:tavLst>
                                    </p:anim>
                                  </p:childTnLst>
                                </p:cTn>
                              </p:par>
                              <p:par>
                                <p:cTn id="24" presetID="2" presetClass="entr" presetSubtype="2" decel="100000" fill="hold" grpId="0" nodeType="withEffect">
                                  <p:stCondLst>
                                    <p:cond delay="1000"/>
                                  </p:stCondLst>
                                  <p:childTnLst>
                                    <p:set>
                                      <p:cBhvr>
                                        <p:cTn id="25" dur="1" fill="hold">
                                          <p:stCondLst>
                                            <p:cond delay="0"/>
                                          </p:stCondLst>
                                        </p:cTn>
                                        <p:tgtEl>
                                          <p:spTgt spid="10"/>
                                        </p:tgtEl>
                                        <p:attrNameLst>
                                          <p:attrName>style.visibility</p:attrName>
                                        </p:attrNameLst>
                                      </p:cBhvr>
                                      <p:to>
                                        <p:strVal val="visible"/>
                                      </p:to>
                                    </p:set>
                                    <p:anim calcmode="lin" valueType="num">
                                      <p:cBhvr additive="base">
                                        <p:cTn id="26" dur="1000" fill="hold"/>
                                        <p:tgtEl>
                                          <p:spTgt spid="10"/>
                                        </p:tgtEl>
                                        <p:attrNameLst>
                                          <p:attrName>ppt_x</p:attrName>
                                        </p:attrNameLst>
                                      </p:cBhvr>
                                      <p:tavLst>
                                        <p:tav tm="0">
                                          <p:val>
                                            <p:strVal val="1+#ppt_w/2"/>
                                          </p:val>
                                        </p:tav>
                                        <p:tav tm="100000">
                                          <p:val>
                                            <p:strVal val="#ppt_x"/>
                                          </p:val>
                                        </p:tav>
                                      </p:tavLst>
                                    </p:anim>
                                    <p:anim calcmode="lin" valueType="num">
                                      <p:cBhvr additive="base">
                                        <p:cTn id="27" dur="1000" fill="hold"/>
                                        <p:tgtEl>
                                          <p:spTgt spid="10"/>
                                        </p:tgtEl>
                                        <p:attrNameLst>
                                          <p:attrName>ppt_y</p:attrName>
                                        </p:attrNameLst>
                                      </p:cBhvr>
                                      <p:tavLst>
                                        <p:tav tm="0">
                                          <p:val>
                                            <p:strVal val="#ppt_y"/>
                                          </p:val>
                                        </p:tav>
                                        <p:tav tm="100000">
                                          <p:val>
                                            <p:strVal val="#ppt_y"/>
                                          </p:val>
                                        </p:tav>
                                      </p:tavLst>
                                    </p:anim>
                                  </p:childTnLst>
                                </p:cTn>
                              </p:par>
                              <p:par>
                                <p:cTn id="28" presetID="2" presetClass="entr" presetSubtype="2" decel="100000" fill="hold" grpId="0" nodeType="withEffect">
                                  <p:stCondLst>
                                    <p:cond delay="1250"/>
                                  </p:stCondLst>
                                  <p:childTnLst>
                                    <p:set>
                                      <p:cBhvr>
                                        <p:cTn id="29" dur="1" fill="hold">
                                          <p:stCondLst>
                                            <p:cond delay="0"/>
                                          </p:stCondLst>
                                        </p:cTn>
                                        <p:tgtEl>
                                          <p:spTgt spid="2"/>
                                        </p:tgtEl>
                                        <p:attrNameLst>
                                          <p:attrName>style.visibility</p:attrName>
                                        </p:attrNameLst>
                                      </p:cBhvr>
                                      <p:to>
                                        <p:strVal val="visible"/>
                                      </p:to>
                                    </p:set>
                                    <p:anim calcmode="lin" valueType="num">
                                      <p:cBhvr additive="base">
                                        <p:cTn id="30" dur="1000" fill="hold"/>
                                        <p:tgtEl>
                                          <p:spTgt spid="2"/>
                                        </p:tgtEl>
                                        <p:attrNameLst>
                                          <p:attrName>ppt_x</p:attrName>
                                        </p:attrNameLst>
                                      </p:cBhvr>
                                      <p:tavLst>
                                        <p:tav tm="0">
                                          <p:val>
                                            <p:strVal val="1+#ppt_w/2"/>
                                          </p:val>
                                        </p:tav>
                                        <p:tav tm="100000">
                                          <p:val>
                                            <p:strVal val="#ppt_x"/>
                                          </p:val>
                                        </p:tav>
                                      </p:tavLst>
                                    </p:anim>
                                    <p:anim calcmode="lin" valueType="num">
                                      <p:cBhvr additive="base">
                                        <p:cTn id="31" dur="1000" fill="hold"/>
                                        <p:tgtEl>
                                          <p:spTgt spid="2"/>
                                        </p:tgtEl>
                                        <p:attrNameLst>
                                          <p:attrName>ppt_y</p:attrName>
                                        </p:attrNameLst>
                                      </p:cBhvr>
                                      <p:tavLst>
                                        <p:tav tm="0">
                                          <p:val>
                                            <p:strVal val="#ppt_y"/>
                                          </p:val>
                                        </p:tav>
                                        <p:tav tm="100000">
                                          <p:val>
                                            <p:strVal val="#ppt_y"/>
                                          </p:val>
                                        </p:tav>
                                      </p:tavLst>
                                    </p:anim>
                                  </p:childTnLst>
                                </p:cTn>
                              </p:par>
                              <p:par>
                                <p:cTn id="32" presetID="2" presetClass="entr" presetSubtype="2" decel="100000" fill="hold" grpId="0" nodeType="withEffect">
                                  <p:stCondLst>
                                    <p:cond delay="1500"/>
                                  </p:stCondLst>
                                  <p:childTnLst>
                                    <p:set>
                                      <p:cBhvr>
                                        <p:cTn id="33" dur="1" fill="hold">
                                          <p:stCondLst>
                                            <p:cond delay="0"/>
                                          </p:stCondLst>
                                        </p:cTn>
                                        <p:tgtEl>
                                          <p:spTgt spid="31"/>
                                        </p:tgtEl>
                                        <p:attrNameLst>
                                          <p:attrName>style.visibility</p:attrName>
                                        </p:attrNameLst>
                                      </p:cBhvr>
                                      <p:to>
                                        <p:strVal val="visible"/>
                                      </p:to>
                                    </p:set>
                                    <p:anim calcmode="lin" valueType="num">
                                      <p:cBhvr additive="base">
                                        <p:cTn id="34" dur="1000" fill="hold"/>
                                        <p:tgtEl>
                                          <p:spTgt spid="31"/>
                                        </p:tgtEl>
                                        <p:attrNameLst>
                                          <p:attrName>ppt_x</p:attrName>
                                        </p:attrNameLst>
                                      </p:cBhvr>
                                      <p:tavLst>
                                        <p:tav tm="0">
                                          <p:val>
                                            <p:strVal val="1+#ppt_w/2"/>
                                          </p:val>
                                        </p:tav>
                                        <p:tav tm="100000">
                                          <p:val>
                                            <p:strVal val="#ppt_x"/>
                                          </p:val>
                                        </p:tav>
                                      </p:tavLst>
                                    </p:anim>
                                    <p:anim calcmode="lin" valueType="num">
                                      <p:cBhvr additive="base">
                                        <p:cTn id="35" dur="1000" fill="hold"/>
                                        <p:tgtEl>
                                          <p:spTgt spid="31"/>
                                        </p:tgtEl>
                                        <p:attrNameLst>
                                          <p:attrName>ppt_y</p:attrName>
                                        </p:attrNameLst>
                                      </p:cBhvr>
                                      <p:tavLst>
                                        <p:tav tm="0">
                                          <p:val>
                                            <p:strVal val="#ppt_y"/>
                                          </p:val>
                                        </p:tav>
                                        <p:tav tm="100000">
                                          <p:val>
                                            <p:strVal val="#ppt_y"/>
                                          </p:val>
                                        </p:tav>
                                      </p:tavLst>
                                    </p:anim>
                                  </p:childTnLst>
                                </p:cTn>
                              </p:par>
                              <p:par>
                                <p:cTn id="36" presetID="2" presetClass="entr" presetSubtype="2" decel="100000" fill="hold" grpId="0" nodeType="withEffect">
                                  <p:stCondLst>
                                    <p:cond delay="1750"/>
                                  </p:stCondLst>
                                  <p:childTnLst>
                                    <p:set>
                                      <p:cBhvr>
                                        <p:cTn id="37" dur="1" fill="hold">
                                          <p:stCondLst>
                                            <p:cond delay="0"/>
                                          </p:stCondLst>
                                        </p:cTn>
                                        <p:tgtEl>
                                          <p:spTgt spid="6"/>
                                        </p:tgtEl>
                                        <p:attrNameLst>
                                          <p:attrName>style.visibility</p:attrName>
                                        </p:attrNameLst>
                                      </p:cBhvr>
                                      <p:to>
                                        <p:strVal val="visible"/>
                                      </p:to>
                                    </p:set>
                                    <p:anim calcmode="lin" valueType="num">
                                      <p:cBhvr additive="base">
                                        <p:cTn id="38" dur="1000" fill="hold"/>
                                        <p:tgtEl>
                                          <p:spTgt spid="6"/>
                                        </p:tgtEl>
                                        <p:attrNameLst>
                                          <p:attrName>ppt_x</p:attrName>
                                        </p:attrNameLst>
                                      </p:cBhvr>
                                      <p:tavLst>
                                        <p:tav tm="0">
                                          <p:val>
                                            <p:strVal val="1+#ppt_w/2"/>
                                          </p:val>
                                        </p:tav>
                                        <p:tav tm="100000">
                                          <p:val>
                                            <p:strVal val="#ppt_x"/>
                                          </p:val>
                                        </p:tav>
                                      </p:tavLst>
                                    </p:anim>
                                    <p:anim calcmode="lin" valueType="num">
                                      <p:cBhvr additive="base">
                                        <p:cTn id="39"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8" grpId="0"/>
      <p:bldP spid="10" grpId="0"/>
      <p:bldP spid="16" grpId="0"/>
      <p:bldP spid="28" grpId="0"/>
      <p:bldP spid="31" grpId="0"/>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3F7F3-F94C-4487-83C0-D86C873AF91B}"/>
              </a:ext>
            </a:extLst>
          </p:cNvPr>
          <p:cNvSpPr>
            <a:spLocks noGrp="1"/>
          </p:cNvSpPr>
          <p:nvPr>
            <p:ph type="title"/>
          </p:nvPr>
        </p:nvSpPr>
        <p:spPr>
          <a:xfrm>
            <a:off x="1686003" y="753816"/>
            <a:ext cx="1333917" cy="620176"/>
          </a:xfrm>
        </p:spPr>
        <p:txBody>
          <a:bodyPr/>
          <a:lstStyle/>
          <a:p>
            <a:r>
              <a:rPr lang="pt-BR" sz="4200" dirty="0"/>
              <a:t>ESG</a:t>
            </a:r>
          </a:p>
        </p:txBody>
      </p:sp>
      <p:sp>
        <p:nvSpPr>
          <p:cNvPr id="3" name="Text Placeholder 2">
            <a:extLst>
              <a:ext uri="{FF2B5EF4-FFF2-40B4-BE49-F238E27FC236}">
                <a16:creationId xmlns:a16="http://schemas.microsoft.com/office/drawing/2014/main" id="{9643BA7C-36D0-4EB9-83CD-63B88FA83C9D}"/>
              </a:ext>
            </a:extLst>
          </p:cNvPr>
          <p:cNvSpPr>
            <a:spLocks noGrp="1"/>
          </p:cNvSpPr>
          <p:nvPr>
            <p:ph type="body" sz="quarter" idx="10"/>
          </p:nvPr>
        </p:nvSpPr>
        <p:spPr>
          <a:xfrm>
            <a:off x="2060515" y="2464643"/>
            <a:ext cx="4316294" cy="2356224"/>
          </a:xfrm>
        </p:spPr>
        <p:txBody>
          <a:bodyPr/>
          <a:lstStyle/>
          <a:p>
            <a:pPr>
              <a:lnSpc>
                <a:spcPct val="100000"/>
              </a:lnSpc>
            </a:pPr>
            <a:r>
              <a:rPr lang="pt-BR" b="1" dirty="0"/>
              <a:t>ABNT PR2030/ ABNT PR2060;</a:t>
            </a:r>
          </a:p>
          <a:p>
            <a:pPr>
              <a:lnSpc>
                <a:spcPct val="100000"/>
              </a:lnSpc>
            </a:pPr>
            <a:r>
              <a:rPr lang="pt-BR" b="1" dirty="0"/>
              <a:t>GHG Inventories (Greenhouse Gases);</a:t>
            </a:r>
          </a:p>
          <a:p>
            <a:pPr>
              <a:lnSpc>
                <a:spcPct val="100000"/>
              </a:lnSpc>
            </a:pPr>
            <a:r>
              <a:rPr lang="pt-BR" b="1" dirty="0"/>
              <a:t>Certifications / Self-</a:t>
            </a:r>
            <a:r>
              <a:rPr lang="pt-BR" b="1" dirty="0" err="1"/>
              <a:t>declarations</a:t>
            </a:r>
            <a:r>
              <a:rPr lang="pt-BR" b="1" dirty="0"/>
              <a:t>;</a:t>
            </a:r>
          </a:p>
          <a:p>
            <a:pPr>
              <a:lnSpc>
                <a:spcPct val="100000"/>
              </a:lnSpc>
            </a:pPr>
            <a:r>
              <a:rPr lang="en-US" b="1" dirty="0"/>
              <a:t>ESG assessments;</a:t>
            </a:r>
          </a:p>
          <a:p>
            <a:pPr>
              <a:lnSpc>
                <a:spcPct val="100000"/>
              </a:lnSpc>
            </a:pPr>
            <a:r>
              <a:rPr lang="en-US" b="1" dirty="0"/>
              <a:t>Environmental Credits;</a:t>
            </a:r>
          </a:p>
          <a:p>
            <a:pPr>
              <a:lnSpc>
                <a:spcPct val="100000"/>
              </a:lnSpc>
            </a:pPr>
            <a:r>
              <a:rPr lang="pt-BR" b="1" dirty="0"/>
              <a:t>Training.</a:t>
            </a:r>
          </a:p>
        </p:txBody>
      </p:sp>
      <p:grpSp>
        <p:nvGrpSpPr>
          <p:cNvPr id="14" name="Agrupar 13">
            <a:extLst>
              <a:ext uri="{FF2B5EF4-FFF2-40B4-BE49-F238E27FC236}">
                <a16:creationId xmlns:a16="http://schemas.microsoft.com/office/drawing/2014/main" id="{7BD11E8E-55DD-87EF-DECB-0AF5757FB729}"/>
              </a:ext>
            </a:extLst>
          </p:cNvPr>
          <p:cNvGrpSpPr/>
          <p:nvPr/>
        </p:nvGrpSpPr>
        <p:grpSpPr>
          <a:xfrm>
            <a:off x="112578" y="298207"/>
            <a:ext cx="1531395" cy="1531395"/>
            <a:chOff x="2489814" y="2262778"/>
            <a:chExt cx="808992" cy="808992"/>
          </a:xfrm>
        </p:grpSpPr>
        <p:sp>
          <p:nvSpPr>
            <p:cNvPr id="8" name="Oval 11">
              <a:extLst>
                <a:ext uri="{FF2B5EF4-FFF2-40B4-BE49-F238E27FC236}">
                  <a16:creationId xmlns:a16="http://schemas.microsoft.com/office/drawing/2014/main" id="{8C137DAB-A887-3262-3C92-A378AE012C05}"/>
                </a:ext>
              </a:extLst>
            </p:cNvPr>
            <p:cNvSpPr/>
            <p:nvPr/>
          </p:nvSpPr>
          <p:spPr>
            <a:xfrm>
              <a:off x="2489814" y="2262778"/>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9" name="Gráfico 102">
              <a:extLst>
                <a:ext uri="{FF2B5EF4-FFF2-40B4-BE49-F238E27FC236}">
                  <a16:creationId xmlns:a16="http://schemas.microsoft.com/office/drawing/2014/main" id="{D5BDA6A6-4E55-E9B9-7528-F08124E71B39}"/>
                </a:ext>
              </a:extLst>
            </p:cNvPr>
            <p:cNvGrpSpPr/>
            <p:nvPr/>
          </p:nvGrpSpPr>
          <p:grpSpPr>
            <a:xfrm>
              <a:off x="2705923" y="2534562"/>
              <a:ext cx="357360" cy="284472"/>
              <a:chOff x="6383814" y="5116324"/>
              <a:chExt cx="357360" cy="284472"/>
            </a:xfrm>
            <a:solidFill>
              <a:srgbClr val="000000"/>
            </a:solidFill>
          </p:grpSpPr>
          <p:sp>
            <p:nvSpPr>
              <p:cNvPr id="11" name="Forma Livre: Forma 10">
                <a:extLst>
                  <a:ext uri="{FF2B5EF4-FFF2-40B4-BE49-F238E27FC236}">
                    <a16:creationId xmlns:a16="http://schemas.microsoft.com/office/drawing/2014/main" id="{F0DDA89A-4CE2-DD86-8359-52673CEB97CC}"/>
                  </a:ext>
                </a:extLst>
              </p:cNvPr>
              <p:cNvSpPr/>
              <p:nvPr/>
            </p:nvSpPr>
            <p:spPr>
              <a:xfrm>
                <a:off x="6383814" y="5184252"/>
                <a:ext cx="167590" cy="216535"/>
              </a:xfrm>
              <a:custGeom>
                <a:avLst/>
                <a:gdLst>
                  <a:gd name="connsiteX0" fmla="*/ 105318 w 167590"/>
                  <a:gd name="connsiteY0" fmla="*/ 84827 h 216535"/>
                  <a:gd name="connsiteX1" fmla="*/ 64675 w 167590"/>
                  <a:gd name="connsiteY1" fmla="*/ 82146 h 216535"/>
                  <a:gd name="connsiteX2" fmla="*/ 64675 w 167590"/>
                  <a:gd name="connsiteY2" fmla="*/ 56960 h 216535"/>
                  <a:gd name="connsiteX3" fmla="*/ 7715 w 167590"/>
                  <a:gd name="connsiteY3" fmla="*/ 0 h 216535"/>
                  <a:gd name="connsiteX4" fmla="*/ 0 w 167590"/>
                  <a:gd name="connsiteY4" fmla="*/ 7715 h 216535"/>
                  <a:gd name="connsiteX5" fmla="*/ 0 w 167590"/>
                  <a:gd name="connsiteY5" fmla="*/ 122715 h 216535"/>
                  <a:gd name="connsiteX6" fmla="*/ 9809 w 167590"/>
                  <a:gd name="connsiteY6" fmla="*/ 146367 h 216535"/>
                  <a:gd name="connsiteX7" fmla="*/ 54694 w 167590"/>
                  <a:gd name="connsiteY7" fmla="*/ 191247 h 216535"/>
                  <a:gd name="connsiteX8" fmla="*/ 56422 w 167590"/>
                  <a:gd name="connsiteY8" fmla="*/ 195427 h 216535"/>
                  <a:gd name="connsiteX9" fmla="*/ 56422 w 167590"/>
                  <a:gd name="connsiteY9" fmla="*/ 208820 h 216535"/>
                  <a:gd name="connsiteX10" fmla="*/ 64137 w 167590"/>
                  <a:gd name="connsiteY10" fmla="*/ 216535 h 216535"/>
                  <a:gd name="connsiteX11" fmla="*/ 64137 w 167590"/>
                  <a:gd name="connsiteY11" fmla="*/ 216535 h 216535"/>
                  <a:gd name="connsiteX12" fmla="*/ 159889 w 167590"/>
                  <a:gd name="connsiteY12" fmla="*/ 216399 h 216535"/>
                  <a:gd name="connsiteX13" fmla="*/ 167590 w 167590"/>
                  <a:gd name="connsiteY13" fmla="*/ 208683 h 216535"/>
                  <a:gd name="connsiteX14" fmla="*/ 167590 w 167590"/>
                  <a:gd name="connsiteY14" fmla="*/ 158178 h 216535"/>
                  <a:gd name="connsiteX15" fmla="*/ 159770 w 167590"/>
                  <a:gd name="connsiteY15" fmla="*/ 139269 h 216535"/>
                  <a:gd name="connsiteX16" fmla="*/ 152169 w 167590"/>
                  <a:gd name="connsiteY16" fmla="*/ 200986 h 216535"/>
                  <a:gd name="connsiteX17" fmla="*/ 71852 w 167590"/>
                  <a:gd name="connsiteY17" fmla="*/ 201100 h 216535"/>
                  <a:gd name="connsiteX18" fmla="*/ 71852 w 167590"/>
                  <a:gd name="connsiteY18" fmla="*/ 195435 h 216535"/>
                  <a:gd name="connsiteX19" fmla="*/ 65601 w 167590"/>
                  <a:gd name="connsiteY19" fmla="*/ 180349 h 216535"/>
                  <a:gd name="connsiteX20" fmla="*/ 20721 w 167590"/>
                  <a:gd name="connsiteY20" fmla="*/ 135465 h 216535"/>
                  <a:gd name="connsiteX21" fmla="*/ 15430 w 167590"/>
                  <a:gd name="connsiteY21" fmla="*/ 122715 h 216535"/>
                  <a:gd name="connsiteX22" fmla="*/ 15430 w 167590"/>
                  <a:gd name="connsiteY22" fmla="*/ 16167 h 216535"/>
                  <a:gd name="connsiteX23" fmla="*/ 49245 w 167590"/>
                  <a:gd name="connsiteY23" fmla="*/ 56960 h 216535"/>
                  <a:gd name="connsiteX24" fmla="*/ 49245 w 167590"/>
                  <a:gd name="connsiteY24" fmla="*/ 112985 h 216535"/>
                  <a:gd name="connsiteX25" fmla="*/ 51502 w 167590"/>
                  <a:gd name="connsiteY25" fmla="*/ 118443 h 216535"/>
                  <a:gd name="connsiteX26" fmla="*/ 62039 w 167590"/>
                  <a:gd name="connsiteY26" fmla="*/ 128979 h 216535"/>
                  <a:gd name="connsiteX27" fmla="*/ 62303 w 167590"/>
                  <a:gd name="connsiteY27" fmla="*/ 129248 h 216535"/>
                  <a:gd name="connsiteX28" fmla="*/ 88905 w 167590"/>
                  <a:gd name="connsiteY28" fmla="*/ 155846 h 216535"/>
                  <a:gd name="connsiteX29" fmla="*/ 99814 w 167590"/>
                  <a:gd name="connsiteY29" fmla="*/ 155654 h 216535"/>
                  <a:gd name="connsiteX30" fmla="*/ 99812 w 167590"/>
                  <a:gd name="connsiteY30" fmla="*/ 144934 h 216535"/>
                  <a:gd name="connsiteX31" fmla="*/ 73021 w 167590"/>
                  <a:gd name="connsiteY31" fmla="*/ 118152 h 216535"/>
                  <a:gd name="connsiteX32" fmla="*/ 71473 w 167590"/>
                  <a:gd name="connsiteY32" fmla="*/ 96893 h 216535"/>
                  <a:gd name="connsiteX33" fmla="*/ 93275 w 167590"/>
                  <a:gd name="connsiteY33" fmla="*/ 94731 h 216535"/>
                  <a:gd name="connsiteX34" fmla="*/ 94398 w 167590"/>
                  <a:gd name="connsiteY34" fmla="*/ 95747 h 216535"/>
                  <a:gd name="connsiteX35" fmla="*/ 148854 w 167590"/>
                  <a:gd name="connsiteY35" fmla="*/ 150176 h 216535"/>
                  <a:gd name="connsiteX36" fmla="*/ 152169 w 167590"/>
                  <a:gd name="connsiteY36" fmla="*/ 158178 h 21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7590" h="216535">
                    <a:moveTo>
                      <a:pt x="105318" y="84827"/>
                    </a:moveTo>
                    <a:cubicBezTo>
                      <a:pt x="94362" y="73862"/>
                      <a:pt x="76976" y="72715"/>
                      <a:pt x="64675" y="82146"/>
                    </a:cubicBezTo>
                    <a:lnTo>
                      <a:pt x="64675" y="56960"/>
                    </a:lnTo>
                    <a:cubicBezTo>
                      <a:pt x="64648" y="25513"/>
                      <a:pt x="39162" y="27"/>
                      <a:pt x="7715" y="0"/>
                    </a:cubicBezTo>
                    <a:cubicBezTo>
                      <a:pt x="3454" y="0"/>
                      <a:pt x="0" y="3454"/>
                      <a:pt x="0" y="7715"/>
                    </a:cubicBezTo>
                    <a:lnTo>
                      <a:pt x="0" y="122715"/>
                    </a:lnTo>
                    <a:cubicBezTo>
                      <a:pt x="-20" y="131592"/>
                      <a:pt x="3512" y="140109"/>
                      <a:pt x="9809" y="146367"/>
                    </a:cubicBezTo>
                    <a:lnTo>
                      <a:pt x="54694" y="191247"/>
                    </a:lnTo>
                    <a:cubicBezTo>
                      <a:pt x="55805" y="192354"/>
                      <a:pt x="56427" y="193858"/>
                      <a:pt x="56422" y="195427"/>
                    </a:cubicBezTo>
                    <a:lnTo>
                      <a:pt x="56422" y="208820"/>
                    </a:lnTo>
                    <a:cubicBezTo>
                      <a:pt x="56425" y="213080"/>
                      <a:pt x="59877" y="216533"/>
                      <a:pt x="64137" y="216535"/>
                    </a:cubicBezTo>
                    <a:lnTo>
                      <a:pt x="64137" y="216535"/>
                    </a:lnTo>
                    <a:lnTo>
                      <a:pt x="159889" y="216399"/>
                    </a:lnTo>
                    <a:cubicBezTo>
                      <a:pt x="164146" y="216394"/>
                      <a:pt x="167593" y="212940"/>
                      <a:pt x="167590" y="208683"/>
                    </a:cubicBezTo>
                    <a:lnTo>
                      <a:pt x="167590" y="158178"/>
                    </a:lnTo>
                    <a:cubicBezTo>
                      <a:pt x="167610" y="151084"/>
                      <a:pt x="164794" y="144277"/>
                      <a:pt x="159770" y="139269"/>
                    </a:cubicBezTo>
                    <a:close/>
                    <a:moveTo>
                      <a:pt x="152169" y="200986"/>
                    </a:moveTo>
                    <a:lnTo>
                      <a:pt x="71852" y="201100"/>
                    </a:lnTo>
                    <a:lnTo>
                      <a:pt x="71852" y="195435"/>
                    </a:lnTo>
                    <a:cubicBezTo>
                      <a:pt x="71869" y="189773"/>
                      <a:pt x="69617" y="184340"/>
                      <a:pt x="65601" y="180349"/>
                    </a:cubicBezTo>
                    <a:lnTo>
                      <a:pt x="20721" y="135465"/>
                    </a:lnTo>
                    <a:cubicBezTo>
                      <a:pt x="17323" y="132093"/>
                      <a:pt x="15418" y="127501"/>
                      <a:pt x="15430" y="122715"/>
                    </a:cubicBezTo>
                    <a:lnTo>
                      <a:pt x="15430" y="16167"/>
                    </a:lnTo>
                    <a:cubicBezTo>
                      <a:pt x="35027" y="19894"/>
                      <a:pt x="49216" y="37012"/>
                      <a:pt x="49245" y="56960"/>
                    </a:cubicBezTo>
                    <a:lnTo>
                      <a:pt x="49245" y="112985"/>
                    </a:lnTo>
                    <a:cubicBezTo>
                      <a:pt x="49244" y="115031"/>
                      <a:pt x="50056" y="116995"/>
                      <a:pt x="51502" y="118443"/>
                    </a:cubicBezTo>
                    <a:lnTo>
                      <a:pt x="62039" y="128979"/>
                    </a:lnTo>
                    <a:cubicBezTo>
                      <a:pt x="62122" y="129072"/>
                      <a:pt x="62215" y="129156"/>
                      <a:pt x="62303" y="129248"/>
                    </a:cubicBezTo>
                    <a:lnTo>
                      <a:pt x="88905" y="155846"/>
                    </a:lnTo>
                    <a:cubicBezTo>
                      <a:pt x="91970" y="158805"/>
                      <a:pt x="96855" y="158719"/>
                      <a:pt x="99814" y="155654"/>
                    </a:cubicBezTo>
                    <a:cubicBezTo>
                      <a:pt x="102701" y="152664"/>
                      <a:pt x="102700" y="147923"/>
                      <a:pt x="99812" y="144934"/>
                    </a:cubicBezTo>
                    <a:lnTo>
                      <a:pt x="73021" y="118152"/>
                    </a:lnTo>
                    <a:cubicBezTo>
                      <a:pt x="67228" y="112465"/>
                      <a:pt x="66565" y="103359"/>
                      <a:pt x="71473" y="96893"/>
                    </a:cubicBezTo>
                    <a:cubicBezTo>
                      <a:pt x="76897" y="90276"/>
                      <a:pt x="86657" y="89308"/>
                      <a:pt x="93275" y="94731"/>
                    </a:cubicBezTo>
                    <a:cubicBezTo>
                      <a:pt x="93666" y="95051"/>
                      <a:pt x="94041" y="95390"/>
                      <a:pt x="94398" y="95747"/>
                    </a:cubicBezTo>
                    <a:lnTo>
                      <a:pt x="148854" y="150176"/>
                    </a:lnTo>
                    <a:cubicBezTo>
                      <a:pt x="150984" y="152293"/>
                      <a:pt x="152178" y="155175"/>
                      <a:pt x="152169" y="158178"/>
                    </a:cubicBezTo>
                    <a:close/>
                  </a:path>
                </a:pathLst>
              </a:custGeom>
              <a:solidFill>
                <a:srgbClr val="000000"/>
              </a:solidFill>
              <a:ln w="4390" cap="flat">
                <a:noFill/>
                <a:prstDash val="solid"/>
                <a:miter/>
              </a:ln>
            </p:spPr>
            <p:txBody>
              <a:bodyPr rtlCol="0" anchor="ctr"/>
              <a:lstStyle/>
              <a:p>
                <a:endParaRPr lang="pt-BR"/>
              </a:p>
            </p:txBody>
          </p:sp>
          <p:sp>
            <p:nvSpPr>
              <p:cNvPr id="12" name="Forma Livre: Forma 11">
                <a:extLst>
                  <a:ext uri="{FF2B5EF4-FFF2-40B4-BE49-F238E27FC236}">
                    <a16:creationId xmlns:a16="http://schemas.microsoft.com/office/drawing/2014/main" id="{8E33B924-26F7-8DEA-6E2C-60DE26E6CD2D}"/>
                  </a:ext>
                </a:extLst>
              </p:cNvPr>
              <p:cNvSpPr/>
              <p:nvPr/>
            </p:nvSpPr>
            <p:spPr>
              <a:xfrm>
                <a:off x="6573607" y="5184252"/>
                <a:ext cx="167568" cy="216543"/>
              </a:xfrm>
              <a:custGeom>
                <a:avLst/>
                <a:gdLst>
                  <a:gd name="connsiteX0" fmla="*/ 159853 w 167568"/>
                  <a:gd name="connsiteY0" fmla="*/ 0 h 216543"/>
                  <a:gd name="connsiteX1" fmla="*/ 102911 w 167568"/>
                  <a:gd name="connsiteY1" fmla="*/ 56960 h 216543"/>
                  <a:gd name="connsiteX2" fmla="*/ 102911 w 167568"/>
                  <a:gd name="connsiteY2" fmla="*/ 82146 h 216543"/>
                  <a:gd name="connsiteX3" fmla="*/ 85594 w 167568"/>
                  <a:gd name="connsiteY3" fmla="*/ 75829 h 216543"/>
                  <a:gd name="connsiteX4" fmla="*/ 62259 w 167568"/>
                  <a:gd name="connsiteY4" fmla="*/ 84849 h 216543"/>
                  <a:gd name="connsiteX5" fmla="*/ 7817 w 167568"/>
                  <a:gd name="connsiteY5" fmla="*/ 139269 h 216543"/>
                  <a:gd name="connsiteX6" fmla="*/ 0 w 167568"/>
                  <a:gd name="connsiteY6" fmla="*/ 158178 h 216543"/>
                  <a:gd name="connsiteX7" fmla="*/ 0 w 167568"/>
                  <a:gd name="connsiteY7" fmla="*/ 208692 h 216543"/>
                  <a:gd name="connsiteX8" fmla="*/ 7711 w 167568"/>
                  <a:gd name="connsiteY8" fmla="*/ 216407 h 216543"/>
                  <a:gd name="connsiteX9" fmla="*/ 103449 w 167568"/>
                  <a:gd name="connsiteY9" fmla="*/ 216544 h 216543"/>
                  <a:gd name="connsiteX10" fmla="*/ 103449 w 167568"/>
                  <a:gd name="connsiteY10" fmla="*/ 216544 h 216543"/>
                  <a:gd name="connsiteX11" fmla="*/ 111164 w 167568"/>
                  <a:gd name="connsiteY11" fmla="*/ 208829 h 216543"/>
                  <a:gd name="connsiteX12" fmla="*/ 111164 w 167568"/>
                  <a:gd name="connsiteY12" fmla="*/ 195435 h 216543"/>
                  <a:gd name="connsiteX13" fmla="*/ 112897 w 167568"/>
                  <a:gd name="connsiteY13" fmla="*/ 191256 h 216543"/>
                  <a:gd name="connsiteX14" fmla="*/ 157772 w 167568"/>
                  <a:gd name="connsiteY14" fmla="*/ 146367 h 216543"/>
                  <a:gd name="connsiteX15" fmla="*/ 167568 w 167568"/>
                  <a:gd name="connsiteY15" fmla="*/ 122706 h 216543"/>
                  <a:gd name="connsiteX16" fmla="*/ 167568 w 167568"/>
                  <a:gd name="connsiteY16" fmla="*/ 7733 h 216543"/>
                  <a:gd name="connsiteX17" fmla="*/ 159871 w 167568"/>
                  <a:gd name="connsiteY17" fmla="*/ 0 h 216543"/>
                  <a:gd name="connsiteX18" fmla="*/ 159853 w 167568"/>
                  <a:gd name="connsiteY18" fmla="*/ 0 h 216543"/>
                  <a:gd name="connsiteX19" fmla="*/ 152138 w 167568"/>
                  <a:gd name="connsiteY19" fmla="*/ 122697 h 216543"/>
                  <a:gd name="connsiteX20" fmla="*/ 146848 w 167568"/>
                  <a:gd name="connsiteY20" fmla="*/ 135447 h 216543"/>
                  <a:gd name="connsiteX21" fmla="*/ 101972 w 167568"/>
                  <a:gd name="connsiteY21" fmla="*/ 180353 h 216543"/>
                  <a:gd name="connsiteX22" fmla="*/ 95725 w 167568"/>
                  <a:gd name="connsiteY22" fmla="*/ 195435 h 216543"/>
                  <a:gd name="connsiteX23" fmla="*/ 95725 w 167568"/>
                  <a:gd name="connsiteY23" fmla="*/ 201100 h 216543"/>
                  <a:gd name="connsiteX24" fmla="*/ 15430 w 167568"/>
                  <a:gd name="connsiteY24" fmla="*/ 200986 h 216543"/>
                  <a:gd name="connsiteX25" fmla="*/ 15430 w 167568"/>
                  <a:gd name="connsiteY25" fmla="*/ 158178 h 216543"/>
                  <a:gd name="connsiteX26" fmla="*/ 18741 w 167568"/>
                  <a:gd name="connsiteY26" fmla="*/ 150181 h 216543"/>
                  <a:gd name="connsiteX27" fmla="*/ 73184 w 167568"/>
                  <a:gd name="connsiteY27" fmla="*/ 95734 h 216543"/>
                  <a:gd name="connsiteX28" fmla="*/ 95092 w 167568"/>
                  <a:gd name="connsiteY28" fmla="*/ 95757 h 216543"/>
                  <a:gd name="connsiteX29" fmla="*/ 96109 w 167568"/>
                  <a:gd name="connsiteY29" fmla="*/ 96880 h 216543"/>
                  <a:gd name="connsiteX30" fmla="*/ 94367 w 167568"/>
                  <a:gd name="connsiteY30" fmla="*/ 118337 h 216543"/>
                  <a:gd name="connsiteX31" fmla="*/ 67765 w 167568"/>
                  <a:gd name="connsiteY31" fmla="*/ 144934 h 216543"/>
                  <a:gd name="connsiteX32" fmla="*/ 67765 w 167568"/>
                  <a:gd name="connsiteY32" fmla="*/ 155846 h 216543"/>
                  <a:gd name="connsiteX33" fmla="*/ 78677 w 167568"/>
                  <a:gd name="connsiteY33" fmla="*/ 155846 h 216543"/>
                  <a:gd name="connsiteX34" fmla="*/ 105274 w 167568"/>
                  <a:gd name="connsiteY34" fmla="*/ 129248 h 216543"/>
                  <a:gd name="connsiteX35" fmla="*/ 105274 w 167568"/>
                  <a:gd name="connsiteY35" fmla="*/ 129248 h 216543"/>
                  <a:gd name="connsiteX36" fmla="*/ 116062 w 167568"/>
                  <a:gd name="connsiteY36" fmla="*/ 118460 h 216543"/>
                  <a:gd name="connsiteX37" fmla="*/ 118324 w 167568"/>
                  <a:gd name="connsiteY37" fmla="*/ 113002 h 216543"/>
                  <a:gd name="connsiteX38" fmla="*/ 118324 w 167568"/>
                  <a:gd name="connsiteY38" fmla="*/ 56960 h 216543"/>
                  <a:gd name="connsiteX39" fmla="*/ 152121 w 167568"/>
                  <a:gd name="connsiteY39" fmla="*/ 16167 h 21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7568" h="216543">
                    <a:moveTo>
                      <a:pt x="159853" y="0"/>
                    </a:moveTo>
                    <a:cubicBezTo>
                      <a:pt x="128414" y="37"/>
                      <a:pt x="102938" y="25520"/>
                      <a:pt x="102911" y="56960"/>
                    </a:cubicBezTo>
                    <a:lnTo>
                      <a:pt x="102911" y="82146"/>
                    </a:lnTo>
                    <a:cubicBezTo>
                      <a:pt x="97914" y="78332"/>
                      <a:pt x="91874" y="76128"/>
                      <a:pt x="85594" y="75829"/>
                    </a:cubicBezTo>
                    <a:cubicBezTo>
                      <a:pt x="76886" y="75371"/>
                      <a:pt x="68395" y="78652"/>
                      <a:pt x="62259" y="84849"/>
                    </a:cubicBezTo>
                    <a:lnTo>
                      <a:pt x="7817" y="139269"/>
                    </a:lnTo>
                    <a:cubicBezTo>
                      <a:pt x="2791" y="144276"/>
                      <a:pt x="-23" y="151084"/>
                      <a:pt x="0" y="158178"/>
                    </a:cubicBezTo>
                    <a:lnTo>
                      <a:pt x="0" y="208692"/>
                    </a:lnTo>
                    <a:cubicBezTo>
                      <a:pt x="0" y="212951"/>
                      <a:pt x="3452" y="216405"/>
                      <a:pt x="7711" y="216407"/>
                    </a:cubicBezTo>
                    <a:lnTo>
                      <a:pt x="103449" y="216544"/>
                    </a:lnTo>
                    <a:lnTo>
                      <a:pt x="103449" y="216544"/>
                    </a:lnTo>
                    <a:cubicBezTo>
                      <a:pt x="107710" y="216544"/>
                      <a:pt x="111164" y="213090"/>
                      <a:pt x="111164" y="208829"/>
                    </a:cubicBezTo>
                    <a:lnTo>
                      <a:pt x="111164" y="195435"/>
                    </a:lnTo>
                    <a:cubicBezTo>
                      <a:pt x="111162" y="193867"/>
                      <a:pt x="111786" y="192363"/>
                      <a:pt x="112897" y="191256"/>
                    </a:cubicBezTo>
                    <a:lnTo>
                      <a:pt x="157772" y="146367"/>
                    </a:lnTo>
                    <a:cubicBezTo>
                      <a:pt x="164068" y="140105"/>
                      <a:pt x="167595" y="131585"/>
                      <a:pt x="167568" y="122706"/>
                    </a:cubicBezTo>
                    <a:lnTo>
                      <a:pt x="167568" y="7733"/>
                    </a:lnTo>
                    <a:cubicBezTo>
                      <a:pt x="167577" y="3472"/>
                      <a:pt x="164130" y="10"/>
                      <a:pt x="159871" y="0"/>
                    </a:cubicBezTo>
                    <a:cubicBezTo>
                      <a:pt x="159867" y="0"/>
                      <a:pt x="159858" y="0"/>
                      <a:pt x="159853" y="0"/>
                    </a:cubicBezTo>
                    <a:close/>
                    <a:moveTo>
                      <a:pt x="152138" y="122697"/>
                    </a:moveTo>
                    <a:cubicBezTo>
                      <a:pt x="152148" y="127483"/>
                      <a:pt x="150243" y="132074"/>
                      <a:pt x="146848" y="135447"/>
                    </a:cubicBezTo>
                    <a:lnTo>
                      <a:pt x="101972" y="180353"/>
                    </a:lnTo>
                    <a:cubicBezTo>
                      <a:pt x="97961" y="184346"/>
                      <a:pt x="95711" y="189776"/>
                      <a:pt x="95725" y="195435"/>
                    </a:cubicBezTo>
                    <a:lnTo>
                      <a:pt x="95725" y="201100"/>
                    </a:lnTo>
                    <a:lnTo>
                      <a:pt x="15430" y="200986"/>
                    </a:lnTo>
                    <a:lnTo>
                      <a:pt x="15430" y="158178"/>
                    </a:lnTo>
                    <a:cubicBezTo>
                      <a:pt x="15422" y="155177"/>
                      <a:pt x="16615" y="152298"/>
                      <a:pt x="18741" y="150181"/>
                    </a:cubicBezTo>
                    <a:lnTo>
                      <a:pt x="73184" y="95734"/>
                    </a:lnTo>
                    <a:cubicBezTo>
                      <a:pt x="79240" y="89690"/>
                      <a:pt x="89049" y="89701"/>
                      <a:pt x="95092" y="95757"/>
                    </a:cubicBezTo>
                    <a:cubicBezTo>
                      <a:pt x="95450" y="96115"/>
                      <a:pt x="95789" y="96489"/>
                      <a:pt x="96109" y="96880"/>
                    </a:cubicBezTo>
                    <a:cubicBezTo>
                      <a:pt x="101071" y="103434"/>
                      <a:pt x="100322" y="112669"/>
                      <a:pt x="94367" y="118337"/>
                    </a:cubicBezTo>
                    <a:lnTo>
                      <a:pt x="67765" y="144934"/>
                    </a:lnTo>
                    <a:cubicBezTo>
                      <a:pt x="64753" y="147948"/>
                      <a:pt x="64753" y="152833"/>
                      <a:pt x="67765" y="155846"/>
                    </a:cubicBezTo>
                    <a:cubicBezTo>
                      <a:pt x="70779" y="158859"/>
                      <a:pt x="75664" y="158859"/>
                      <a:pt x="78677" y="155846"/>
                    </a:cubicBezTo>
                    <a:lnTo>
                      <a:pt x="105274" y="129248"/>
                    </a:lnTo>
                    <a:lnTo>
                      <a:pt x="105274" y="129248"/>
                    </a:lnTo>
                    <a:lnTo>
                      <a:pt x="116062" y="118460"/>
                    </a:lnTo>
                    <a:cubicBezTo>
                      <a:pt x="117511" y="117014"/>
                      <a:pt x="118325" y="115050"/>
                      <a:pt x="118324" y="113002"/>
                    </a:cubicBezTo>
                    <a:lnTo>
                      <a:pt x="118324" y="56960"/>
                    </a:lnTo>
                    <a:cubicBezTo>
                      <a:pt x="118353" y="37018"/>
                      <a:pt x="132532" y="19904"/>
                      <a:pt x="152121" y="16167"/>
                    </a:cubicBezTo>
                    <a:close/>
                  </a:path>
                </a:pathLst>
              </a:custGeom>
              <a:solidFill>
                <a:srgbClr val="000000"/>
              </a:solidFill>
              <a:ln w="4390" cap="flat">
                <a:noFill/>
                <a:prstDash val="solid"/>
                <a:miter/>
              </a:ln>
            </p:spPr>
            <p:txBody>
              <a:bodyPr rtlCol="0" anchor="ctr"/>
              <a:lstStyle/>
              <a:p>
                <a:endParaRPr lang="pt-BR"/>
              </a:p>
            </p:txBody>
          </p:sp>
          <p:sp>
            <p:nvSpPr>
              <p:cNvPr id="13" name="Forma Livre: Forma 12">
                <a:extLst>
                  <a:ext uri="{FF2B5EF4-FFF2-40B4-BE49-F238E27FC236}">
                    <a16:creationId xmlns:a16="http://schemas.microsoft.com/office/drawing/2014/main" id="{220ABC8B-2FCB-8959-F484-B49D2678F651}"/>
                  </a:ext>
                </a:extLst>
              </p:cNvPr>
              <p:cNvSpPr/>
              <p:nvPr/>
            </p:nvSpPr>
            <p:spPr>
              <a:xfrm>
                <a:off x="6487916" y="5116324"/>
                <a:ext cx="149175" cy="151318"/>
              </a:xfrm>
              <a:custGeom>
                <a:avLst/>
                <a:gdLst>
                  <a:gd name="connsiteX0" fmla="*/ 97215 w 149175"/>
                  <a:gd name="connsiteY0" fmla="*/ 82301 h 151318"/>
                  <a:gd name="connsiteX1" fmla="*/ 149175 w 149175"/>
                  <a:gd name="connsiteY1" fmla="*/ 30345 h 151318"/>
                  <a:gd name="connsiteX2" fmla="*/ 149175 w 149175"/>
                  <a:gd name="connsiteY2" fmla="*/ 7715 h 151318"/>
                  <a:gd name="connsiteX3" fmla="*/ 141469 w 149175"/>
                  <a:gd name="connsiteY3" fmla="*/ 0 h 151318"/>
                  <a:gd name="connsiteX4" fmla="*/ 141460 w 149175"/>
                  <a:gd name="connsiteY4" fmla="*/ 0 h 151318"/>
                  <a:gd name="connsiteX5" fmla="*/ 118831 w 149175"/>
                  <a:gd name="connsiteY5" fmla="*/ 0 h 151318"/>
                  <a:gd name="connsiteX6" fmla="*/ 74586 w 149175"/>
                  <a:gd name="connsiteY6" fmla="*/ 24856 h 151318"/>
                  <a:gd name="connsiteX7" fmla="*/ 30340 w 149175"/>
                  <a:gd name="connsiteY7" fmla="*/ 0 h 151318"/>
                  <a:gd name="connsiteX8" fmla="*/ 7715 w 149175"/>
                  <a:gd name="connsiteY8" fmla="*/ 0 h 151318"/>
                  <a:gd name="connsiteX9" fmla="*/ 0 w 149175"/>
                  <a:gd name="connsiteY9" fmla="*/ 7706 h 151318"/>
                  <a:gd name="connsiteX10" fmla="*/ 0 w 149175"/>
                  <a:gd name="connsiteY10" fmla="*/ 7715 h 151318"/>
                  <a:gd name="connsiteX11" fmla="*/ 0 w 149175"/>
                  <a:gd name="connsiteY11" fmla="*/ 30345 h 151318"/>
                  <a:gd name="connsiteX12" fmla="*/ 51960 w 149175"/>
                  <a:gd name="connsiteY12" fmla="*/ 82301 h 151318"/>
                  <a:gd name="connsiteX13" fmla="*/ 66870 w 149175"/>
                  <a:gd name="connsiteY13" fmla="*/ 82301 h 151318"/>
                  <a:gd name="connsiteX14" fmla="*/ 66870 w 149175"/>
                  <a:gd name="connsiteY14" fmla="*/ 143603 h 151318"/>
                  <a:gd name="connsiteX15" fmla="*/ 74586 w 149175"/>
                  <a:gd name="connsiteY15" fmla="*/ 151318 h 151318"/>
                  <a:gd name="connsiteX16" fmla="*/ 82301 w 149175"/>
                  <a:gd name="connsiteY16" fmla="*/ 143603 h 151318"/>
                  <a:gd name="connsiteX17" fmla="*/ 82301 w 149175"/>
                  <a:gd name="connsiteY17" fmla="*/ 82301 h 151318"/>
                  <a:gd name="connsiteX18" fmla="*/ 118817 w 149175"/>
                  <a:gd name="connsiteY18" fmla="*/ 15430 h 151318"/>
                  <a:gd name="connsiteX19" fmla="*/ 133745 w 149175"/>
                  <a:gd name="connsiteY19" fmla="*/ 15430 h 151318"/>
                  <a:gd name="connsiteX20" fmla="*/ 133745 w 149175"/>
                  <a:gd name="connsiteY20" fmla="*/ 30345 h 151318"/>
                  <a:gd name="connsiteX21" fmla="*/ 97220 w 149175"/>
                  <a:gd name="connsiteY21" fmla="*/ 66870 h 151318"/>
                  <a:gd name="connsiteX22" fmla="*/ 82301 w 149175"/>
                  <a:gd name="connsiteY22" fmla="*/ 66870 h 151318"/>
                  <a:gd name="connsiteX23" fmla="*/ 82301 w 149175"/>
                  <a:gd name="connsiteY23" fmla="*/ 51960 h 151318"/>
                  <a:gd name="connsiteX24" fmla="*/ 118831 w 149175"/>
                  <a:gd name="connsiteY24" fmla="*/ 15430 h 151318"/>
                  <a:gd name="connsiteX25" fmla="*/ 15430 w 149175"/>
                  <a:gd name="connsiteY25" fmla="*/ 30345 h 151318"/>
                  <a:gd name="connsiteX26" fmla="*/ 15430 w 149175"/>
                  <a:gd name="connsiteY26" fmla="*/ 15430 h 151318"/>
                  <a:gd name="connsiteX27" fmla="*/ 30340 w 149175"/>
                  <a:gd name="connsiteY27" fmla="*/ 15430 h 151318"/>
                  <a:gd name="connsiteX28" fmla="*/ 66870 w 149175"/>
                  <a:gd name="connsiteY28" fmla="*/ 51960 h 151318"/>
                  <a:gd name="connsiteX29" fmla="*/ 66870 w 149175"/>
                  <a:gd name="connsiteY29" fmla="*/ 66870 h 151318"/>
                  <a:gd name="connsiteX30" fmla="*/ 51960 w 149175"/>
                  <a:gd name="connsiteY30" fmla="*/ 66870 h 151318"/>
                  <a:gd name="connsiteX31" fmla="*/ 15430 w 149175"/>
                  <a:gd name="connsiteY31" fmla="*/ 30345 h 15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9175" h="151318">
                    <a:moveTo>
                      <a:pt x="97215" y="82301"/>
                    </a:moveTo>
                    <a:cubicBezTo>
                      <a:pt x="125896" y="82267"/>
                      <a:pt x="149139" y="59026"/>
                      <a:pt x="149175" y="30345"/>
                    </a:cubicBezTo>
                    <a:lnTo>
                      <a:pt x="149175" y="7715"/>
                    </a:lnTo>
                    <a:cubicBezTo>
                      <a:pt x="149178" y="3457"/>
                      <a:pt x="145728" y="3"/>
                      <a:pt x="141469" y="0"/>
                    </a:cubicBezTo>
                    <a:cubicBezTo>
                      <a:pt x="141466" y="0"/>
                      <a:pt x="141463" y="0"/>
                      <a:pt x="141460" y="0"/>
                    </a:cubicBezTo>
                    <a:lnTo>
                      <a:pt x="118831" y="0"/>
                    </a:lnTo>
                    <a:cubicBezTo>
                      <a:pt x="100762" y="23"/>
                      <a:pt x="84005" y="9437"/>
                      <a:pt x="74586" y="24856"/>
                    </a:cubicBezTo>
                    <a:cubicBezTo>
                      <a:pt x="65166" y="9438"/>
                      <a:pt x="48409" y="24"/>
                      <a:pt x="30340" y="0"/>
                    </a:cubicBezTo>
                    <a:lnTo>
                      <a:pt x="7715" y="0"/>
                    </a:lnTo>
                    <a:cubicBezTo>
                      <a:pt x="3457" y="-3"/>
                      <a:pt x="3" y="3448"/>
                      <a:pt x="0" y="7706"/>
                    </a:cubicBezTo>
                    <a:cubicBezTo>
                      <a:pt x="0" y="7709"/>
                      <a:pt x="0" y="7712"/>
                      <a:pt x="0" y="7715"/>
                    </a:cubicBezTo>
                    <a:lnTo>
                      <a:pt x="0" y="30345"/>
                    </a:lnTo>
                    <a:cubicBezTo>
                      <a:pt x="37" y="59026"/>
                      <a:pt x="23279" y="82267"/>
                      <a:pt x="51960" y="82301"/>
                    </a:cubicBezTo>
                    <a:lnTo>
                      <a:pt x="66870" y="82301"/>
                    </a:lnTo>
                    <a:lnTo>
                      <a:pt x="66870" y="143603"/>
                    </a:lnTo>
                    <a:cubicBezTo>
                      <a:pt x="66870" y="147864"/>
                      <a:pt x="70325" y="151318"/>
                      <a:pt x="74586" y="151318"/>
                    </a:cubicBezTo>
                    <a:cubicBezTo>
                      <a:pt x="78846" y="151318"/>
                      <a:pt x="82301" y="147864"/>
                      <a:pt x="82301" y="143603"/>
                    </a:cubicBezTo>
                    <a:lnTo>
                      <a:pt x="82301" y="82301"/>
                    </a:lnTo>
                    <a:close/>
                    <a:moveTo>
                      <a:pt x="118817" y="15430"/>
                    </a:moveTo>
                    <a:lnTo>
                      <a:pt x="133745" y="15430"/>
                    </a:lnTo>
                    <a:lnTo>
                      <a:pt x="133745" y="30345"/>
                    </a:lnTo>
                    <a:cubicBezTo>
                      <a:pt x="133709" y="50502"/>
                      <a:pt x="117377" y="66834"/>
                      <a:pt x="97220" y="66870"/>
                    </a:cubicBezTo>
                    <a:lnTo>
                      <a:pt x="82301" y="66870"/>
                    </a:lnTo>
                    <a:lnTo>
                      <a:pt x="82301" y="51960"/>
                    </a:lnTo>
                    <a:cubicBezTo>
                      <a:pt x="82335" y="31800"/>
                      <a:pt x="98670" y="15464"/>
                      <a:pt x="118831" y="15430"/>
                    </a:cubicBezTo>
                    <a:close/>
                    <a:moveTo>
                      <a:pt x="15430" y="30345"/>
                    </a:moveTo>
                    <a:lnTo>
                      <a:pt x="15430" y="15430"/>
                    </a:lnTo>
                    <a:lnTo>
                      <a:pt x="30340" y="15430"/>
                    </a:lnTo>
                    <a:cubicBezTo>
                      <a:pt x="50501" y="15464"/>
                      <a:pt x="66836" y="31800"/>
                      <a:pt x="66870" y="51960"/>
                    </a:cubicBezTo>
                    <a:lnTo>
                      <a:pt x="66870" y="66870"/>
                    </a:lnTo>
                    <a:lnTo>
                      <a:pt x="51960" y="66870"/>
                    </a:lnTo>
                    <a:cubicBezTo>
                      <a:pt x="31801" y="66836"/>
                      <a:pt x="15467" y="50504"/>
                      <a:pt x="15430" y="30345"/>
                    </a:cubicBezTo>
                    <a:close/>
                  </a:path>
                </a:pathLst>
              </a:custGeom>
              <a:solidFill>
                <a:schemeClr val="accent2"/>
              </a:solidFill>
              <a:ln w="4390" cap="flat">
                <a:noFill/>
                <a:prstDash val="solid"/>
                <a:miter/>
              </a:ln>
            </p:spPr>
            <p:txBody>
              <a:bodyPr rtlCol="0" anchor="ctr"/>
              <a:lstStyle/>
              <a:p>
                <a:endParaRPr lang="pt-BR"/>
              </a:p>
            </p:txBody>
          </p:sp>
        </p:grpSp>
      </p:grpSp>
      <p:pic>
        <p:nvPicPr>
          <p:cNvPr id="15" name="Picture 2" descr="Photo: The Sustainable Development Goals: 17 Goals to Transform Our World">
            <a:extLst>
              <a:ext uri="{FF2B5EF4-FFF2-40B4-BE49-F238E27FC236}">
                <a16:creationId xmlns:a16="http://schemas.microsoft.com/office/drawing/2014/main" id="{9613A846-038C-EE0E-FC25-14796B438C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7941" y="4246115"/>
            <a:ext cx="3872714" cy="239916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List of Parties that signed the Paris Agreement on 22 April">
            <a:extLst>
              <a:ext uri="{FF2B5EF4-FFF2-40B4-BE49-F238E27FC236}">
                <a16:creationId xmlns:a16="http://schemas.microsoft.com/office/drawing/2014/main" id="{C3F16AE8-77CE-5B7A-C2A1-48BB1E92B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0853" y="3066888"/>
            <a:ext cx="2307174" cy="1045917"/>
          </a:xfrm>
          <a:prstGeom prst="rect">
            <a:avLst/>
          </a:prstGeom>
          <a:noFill/>
          <a:effectLst>
            <a:outerShdw blurRad="50800" dist="63500" dir="2700000" algn="tl" rotWithShape="0">
              <a:prstClr val="black">
                <a:alpha val="18000"/>
              </a:prstClr>
            </a:outerShdw>
          </a:effectLst>
          <a:extLst>
            <a:ext uri="{909E8E84-426E-40DD-AFC4-6F175D3DCCD1}">
              <a14:hiddenFill xmlns:a14="http://schemas.microsoft.com/office/drawing/2010/main">
                <a:solidFill>
                  <a:srgbClr val="FFFFFF"/>
                </a:solidFill>
              </a14:hiddenFill>
            </a:ext>
          </a:extLst>
        </p:spPr>
      </p:pic>
      <p:sp>
        <p:nvSpPr>
          <p:cNvPr id="21" name="Elipse 54">
            <a:extLst>
              <a:ext uri="{FF2B5EF4-FFF2-40B4-BE49-F238E27FC236}">
                <a16:creationId xmlns:a16="http://schemas.microsoft.com/office/drawing/2014/main" id="{E09A01C2-B7CE-61EC-4F83-46C1779A29AC}"/>
              </a:ext>
            </a:extLst>
          </p:cNvPr>
          <p:cNvSpPr/>
          <p:nvPr/>
        </p:nvSpPr>
        <p:spPr>
          <a:xfrm>
            <a:off x="1878073" y="4773041"/>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Elipse 54">
            <a:extLst>
              <a:ext uri="{FF2B5EF4-FFF2-40B4-BE49-F238E27FC236}">
                <a16:creationId xmlns:a16="http://schemas.microsoft.com/office/drawing/2014/main" id="{41B109DE-FA31-BBE0-5D44-6C61F0A246BA}"/>
              </a:ext>
            </a:extLst>
          </p:cNvPr>
          <p:cNvSpPr/>
          <p:nvPr/>
        </p:nvSpPr>
        <p:spPr>
          <a:xfrm>
            <a:off x="1878073" y="4365964"/>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Elipse 54">
            <a:extLst>
              <a:ext uri="{FF2B5EF4-FFF2-40B4-BE49-F238E27FC236}">
                <a16:creationId xmlns:a16="http://schemas.microsoft.com/office/drawing/2014/main" id="{3D155E6A-E356-03E3-7D2C-8831E3C311AE}"/>
              </a:ext>
            </a:extLst>
          </p:cNvPr>
          <p:cNvSpPr/>
          <p:nvPr/>
        </p:nvSpPr>
        <p:spPr>
          <a:xfrm>
            <a:off x="1878073" y="3958887"/>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Elipse 54">
            <a:extLst>
              <a:ext uri="{FF2B5EF4-FFF2-40B4-BE49-F238E27FC236}">
                <a16:creationId xmlns:a16="http://schemas.microsoft.com/office/drawing/2014/main" id="{8B9B6975-A22E-6811-C03D-1BABDB928EAD}"/>
              </a:ext>
            </a:extLst>
          </p:cNvPr>
          <p:cNvSpPr/>
          <p:nvPr/>
        </p:nvSpPr>
        <p:spPr>
          <a:xfrm>
            <a:off x="1878073" y="3551810"/>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Elipse 54">
            <a:extLst>
              <a:ext uri="{FF2B5EF4-FFF2-40B4-BE49-F238E27FC236}">
                <a16:creationId xmlns:a16="http://schemas.microsoft.com/office/drawing/2014/main" id="{C3338AEC-5343-CC19-D427-1E9D11D414AB}"/>
              </a:ext>
            </a:extLst>
          </p:cNvPr>
          <p:cNvSpPr/>
          <p:nvPr/>
        </p:nvSpPr>
        <p:spPr>
          <a:xfrm>
            <a:off x="1878073" y="3144733"/>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Elipse 54">
            <a:extLst>
              <a:ext uri="{FF2B5EF4-FFF2-40B4-BE49-F238E27FC236}">
                <a16:creationId xmlns:a16="http://schemas.microsoft.com/office/drawing/2014/main" id="{33847404-9ABA-D021-815D-C9422C5A6643}"/>
              </a:ext>
            </a:extLst>
          </p:cNvPr>
          <p:cNvSpPr/>
          <p:nvPr/>
        </p:nvSpPr>
        <p:spPr>
          <a:xfrm>
            <a:off x="1878073" y="2737656"/>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47" name="Agrupar 46">
            <a:extLst>
              <a:ext uri="{FF2B5EF4-FFF2-40B4-BE49-F238E27FC236}">
                <a16:creationId xmlns:a16="http://schemas.microsoft.com/office/drawing/2014/main" id="{6570BEA4-6D12-FDA3-A419-54D68726DA86}"/>
              </a:ext>
            </a:extLst>
          </p:cNvPr>
          <p:cNvGrpSpPr/>
          <p:nvPr/>
        </p:nvGrpSpPr>
        <p:grpSpPr>
          <a:xfrm>
            <a:off x="6611631" y="1367784"/>
            <a:ext cx="2052837" cy="790942"/>
            <a:chOff x="6611631" y="1367784"/>
            <a:chExt cx="2052837" cy="790942"/>
          </a:xfrm>
        </p:grpSpPr>
        <p:pic>
          <p:nvPicPr>
            <p:cNvPr id="1026" name="Picture 1">
              <a:extLst>
                <a:ext uri="{FF2B5EF4-FFF2-40B4-BE49-F238E27FC236}">
                  <a16:creationId xmlns:a16="http://schemas.microsoft.com/office/drawing/2014/main" id="{8AC80A6F-402F-F352-BE60-CE4DE2FF0F0E}"/>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3877" t="24889" r="58842" b="20203"/>
            <a:stretch/>
          </p:blipFill>
          <p:spPr bwMode="auto">
            <a:xfrm>
              <a:off x="6637941" y="1367784"/>
              <a:ext cx="2026527" cy="790942"/>
            </a:xfrm>
            <a:prstGeom prst="rect">
              <a:avLst/>
            </a:prstGeom>
            <a:noFill/>
            <a:ln>
              <a:noFill/>
            </a:ln>
            <a:effectLst>
              <a:outerShdw blurRad="50800" dist="381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5" name="Conector reto 34">
              <a:extLst>
                <a:ext uri="{FF2B5EF4-FFF2-40B4-BE49-F238E27FC236}">
                  <a16:creationId xmlns:a16="http://schemas.microsoft.com/office/drawing/2014/main" id="{205963A0-5181-EDAD-4043-0CD0A9FF5865}"/>
                </a:ext>
              </a:extLst>
            </p:cNvPr>
            <p:cNvCxnSpPr>
              <a:cxnSpLocks/>
            </p:cNvCxnSpPr>
            <p:nvPr/>
          </p:nvCxnSpPr>
          <p:spPr>
            <a:xfrm>
              <a:off x="6611631" y="1367784"/>
              <a:ext cx="0" cy="790942"/>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 name="Agrupar 44">
            <a:extLst>
              <a:ext uri="{FF2B5EF4-FFF2-40B4-BE49-F238E27FC236}">
                <a16:creationId xmlns:a16="http://schemas.microsoft.com/office/drawing/2014/main" id="{C61CB6A6-5121-4F26-E145-E28FE0CFD437}"/>
              </a:ext>
            </a:extLst>
          </p:cNvPr>
          <p:cNvGrpSpPr/>
          <p:nvPr/>
        </p:nvGrpSpPr>
        <p:grpSpPr>
          <a:xfrm>
            <a:off x="6611631" y="2244960"/>
            <a:ext cx="2052837" cy="821929"/>
            <a:chOff x="6611631" y="2244960"/>
            <a:chExt cx="2052837" cy="821929"/>
          </a:xfrm>
        </p:grpSpPr>
        <p:pic>
          <p:nvPicPr>
            <p:cNvPr id="19" name="Picture 18">
              <a:extLst>
                <a:ext uri="{FF2B5EF4-FFF2-40B4-BE49-F238E27FC236}">
                  <a16:creationId xmlns:a16="http://schemas.microsoft.com/office/drawing/2014/main" id="{5AB2BD11-D8C7-0947-0721-D7A7EDC34C76}"/>
                </a:ext>
              </a:extLst>
            </p:cNvPr>
            <p:cNvPicPr>
              <a:picLocks noChangeAspect="1"/>
            </p:cNvPicPr>
            <p:nvPr/>
          </p:nvPicPr>
          <p:blipFill>
            <a:blip r:embed="rId6"/>
            <a:stretch>
              <a:fillRect/>
            </a:stretch>
          </p:blipFill>
          <p:spPr>
            <a:xfrm>
              <a:off x="6637941" y="2244960"/>
              <a:ext cx="2026527" cy="821929"/>
            </a:xfrm>
            <a:prstGeom prst="rect">
              <a:avLst/>
            </a:prstGeom>
            <a:effectLst>
              <a:outerShdw blurRad="50800" dist="38100" dir="2700000" algn="tl" rotWithShape="0">
                <a:prstClr val="black">
                  <a:alpha val="15000"/>
                </a:prstClr>
              </a:outerShdw>
            </a:effectLst>
          </p:spPr>
        </p:pic>
        <p:cxnSp>
          <p:nvCxnSpPr>
            <p:cNvPr id="37" name="Conector reto 36">
              <a:extLst>
                <a:ext uri="{FF2B5EF4-FFF2-40B4-BE49-F238E27FC236}">
                  <a16:creationId xmlns:a16="http://schemas.microsoft.com/office/drawing/2014/main" id="{21E0F2C8-80AE-96F7-8F23-AFE910D5EE32}"/>
                </a:ext>
              </a:extLst>
            </p:cNvPr>
            <p:cNvCxnSpPr>
              <a:cxnSpLocks/>
            </p:cNvCxnSpPr>
            <p:nvPr/>
          </p:nvCxnSpPr>
          <p:spPr>
            <a:xfrm>
              <a:off x="6611631" y="2244960"/>
              <a:ext cx="0" cy="821928"/>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Agrupar 45">
            <a:extLst>
              <a:ext uri="{FF2B5EF4-FFF2-40B4-BE49-F238E27FC236}">
                <a16:creationId xmlns:a16="http://schemas.microsoft.com/office/drawing/2014/main" id="{1D092168-38EB-EC52-4DC4-7C0A38A56D32}"/>
              </a:ext>
            </a:extLst>
          </p:cNvPr>
          <p:cNvGrpSpPr/>
          <p:nvPr/>
        </p:nvGrpSpPr>
        <p:grpSpPr>
          <a:xfrm>
            <a:off x="6611631" y="3159264"/>
            <a:ext cx="1577328" cy="835240"/>
            <a:chOff x="6611631" y="3159264"/>
            <a:chExt cx="1577328" cy="835240"/>
          </a:xfrm>
        </p:grpSpPr>
        <p:pic>
          <p:nvPicPr>
            <p:cNvPr id="17" name="Picture 6" descr="SBTi – Criteria">
              <a:extLst>
                <a:ext uri="{FF2B5EF4-FFF2-40B4-BE49-F238E27FC236}">
                  <a16:creationId xmlns:a16="http://schemas.microsoft.com/office/drawing/2014/main" id="{4643960B-D3B9-79AC-0704-D548F75FE58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207" t="15412" r="14674" b="21599"/>
            <a:stretch/>
          </p:blipFill>
          <p:spPr bwMode="auto">
            <a:xfrm>
              <a:off x="6637941" y="3159264"/>
              <a:ext cx="1551018" cy="835240"/>
            </a:xfrm>
            <a:prstGeom prst="rect">
              <a:avLst/>
            </a:prstGeom>
            <a:noFill/>
            <a:effectLst>
              <a:outerShdw blurRad="50800" dist="381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Lst>
          </p:spPr>
        </p:pic>
        <p:cxnSp>
          <p:nvCxnSpPr>
            <p:cNvPr id="40" name="Conector reto 39">
              <a:extLst>
                <a:ext uri="{FF2B5EF4-FFF2-40B4-BE49-F238E27FC236}">
                  <a16:creationId xmlns:a16="http://schemas.microsoft.com/office/drawing/2014/main" id="{9C695734-204A-D082-9F0E-C11762EA995E}"/>
                </a:ext>
              </a:extLst>
            </p:cNvPr>
            <p:cNvCxnSpPr>
              <a:cxnSpLocks/>
            </p:cNvCxnSpPr>
            <p:nvPr/>
          </p:nvCxnSpPr>
          <p:spPr>
            <a:xfrm>
              <a:off x="6611631" y="3172576"/>
              <a:ext cx="0" cy="821928"/>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4" name="Agrupar 43">
            <a:extLst>
              <a:ext uri="{FF2B5EF4-FFF2-40B4-BE49-F238E27FC236}">
                <a16:creationId xmlns:a16="http://schemas.microsoft.com/office/drawing/2014/main" id="{AC70BEC7-9F91-E459-1CF5-B98A4320F2A4}"/>
              </a:ext>
            </a:extLst>
          </p:cNvPr>
          <p:cNvGrpSpPr/>
          <p:nvPr/>
        </p:nvGrpSpPr>
        <p:grpSpPr>
          <a:xfrm>
            <a:off x="8751257" y="1367784"/>
            <a:ext cx="1725760" cy="1699104"/>
            <a:chOff x="8751257" y="1367784"/>
            <a:chExt cx="1725760" cy="1699104"/>
          </a:xfrm>
        </p:grpSpPr>
        <p:pic>
          <p:nvPicPr>
            <p:cNvPr id="18" name="Picture 2" descr="Why Do Investors Consider ESG Finance in Their Investments">
              <a:extLst>
                <a:ext uri="{FF2B5EF4-FFF2-40B4-BE49-F238E27FC236}">
                  <a16:creationId xmlns:a16="http://schemas.microsoft.com/office/drawing/2014/main" id="{7BB1F105-E17A-DA48-CEE0-1CC4CF16623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55" t="2886" r="2763" b="3701"/>
            <a:stretch/>
          </p:blipFill>
          <p:spPr bwMode="auto">
            <a:xfrm>
              <a:off x="8773891" y="1367784"/>
              <a:ext cx="1703126" cy="1699104"/>
            </a:xfrm>
            <a:prstGeom prst="rect">
              <a:avLst/>
            </a:prstGeom>
            <a:solidFill>
              <a:srgbClr val="FFFFFF"/>
            </a:solidFill>
            <a:effectLst>
              <a:outerShdw blurRad="50800" dist="38100" dir="2700000" algn="tl" rotWithShape="0">
                <a:prstClr val="black">
                  <a:alpha val="15000"/>
                </a:prstClr>
              </a:outerShdw>
            </a:effectLst>
          </p:spPr>
        </p:pic>
        <p:cxnSp>
          <p:nvCxnSpPr>
            <p:cNvPr id="41" name="Conector reto 40">
              <a:extLst>
                <a:ext uri="{FF2B5EF4-FFF2-40B4-BE49-F238E27FC236}">
                  <a16:creationId xmlns:a16="http://schemas.microsoft.com/office/drawing/2014/main" id="{A671ABCF-E5EE-8C38-5F95-616575B5FEC2}"/>
                </a:ext>
              </a:extLst>
            </p:cNvPr>
            <p:cNvCxnSpPr>
              <a:cxnSpLocks/>
            </p:cNvCxnSpPr>
            <p:nvPr/>
          </p:nvCxnSpPr>
          <p:spPr>
            <a:xfrm>
              <a:off x="8751257" y="1367784"/>
              <a:ext cx="0" cy="1699104"/>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3083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1000" fill="hold"/>
                                        <p:tgtEl>
                                          <p:spTgt spid="27"/>
                                        </p:tgtEl>
                                        <p:attrNameLst>
                                          <p:attrName>ppt_x</p:attrName>
                                        </p:attrNameLst>
                                      </p:cBhvr>
                                      <p:tavLst>
                                        <p:tav tm="0">
                                          <p:val>
                                            <p:strVal val="#ppt_x"/>
                                          </p:val>
                                        </p:tav>
                                        <p:tav tm="100000">
                                          <p:val>
                                            <p:strVal val="#ppt_x"/>
                                          </p:val>
                                        </p:tav>
                                      </p:tavLst>
                                    </p:anim>
                                    <p:anim calcmode="lin" valueType="num">
                                      <p:cBhvr additive="base">
                                        <p:cTn id="8" dur="1000" fill="hold"/>
                                        <p:tgtEl>
                                          <p:spTgt spid="2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1000" fill="hold"/>
                                        <p:tgtEl>
                                          <p:spTgt spid="26"/>
                                        </p:tgtEl>
                                        <p:attrNameLst>
                                          <p:attrName>ppt_x</p:attrName>
                                        </p:attrNameLst>
                                      </p:cBhvr>
                                      <p:tavLst>
                                        <p:tav tm="0">
                                          <p:val>
                                            <p:strVal val="#ppt_x"/>
                                          </p:val>
                                        </p:tav>
                                        <p:tav tm="100000">
                                          <p:val>
                                            <p:strVal val="#ppt_x"/>
                                          </p:val>
                                        </p:tav>
                                      </p:tavLst>
                                    </p:anim>
                                    <p:anim calcmode="lin" valueType="num">
                                      <p:cBhvr additive="base">
                                        <p:cTn id="12" dur="1000" fill="hold"/>
                                        <p:tgtEl>
                                          <p:spTgt spid="26"/>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1000" fill="hold"/>
                                        <p:tgtEl>
                                          <p:spTgt spid="25"/>
                                        </p:tgtEl>
                                        <p:attrNameLst>
                                          <p:attrName>ppt_x</p:attrName>
                                        </p:attrNameLst>
                                      </p:cBhvr>
                                      <p:tavLst>
                                        <p:tav tm="0">
                                          <p:val>
                                            <p:strVal val="#ppt_x"/>
                                          </p:val>
                                        </p:tav>
                                        <p:tav tm="100000">
                                          <p:val>
                                            <p:strVal val="#ppt_x"/>
                                          </p:val>
                                        </p:tav>
                                      </p:tavLst>
                                    </p:anim>
                                    <p:anim calcmode="lin" valueType="num">
                                      <p:cBhvr additive="base">
                                        <p:cTn id="16" dur="1000" fill="hold"/>
                                        <p:tgtEl>
                                          <p:spTgt spid="25"/>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5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200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000" fill="hold"/>
                                        <p:tgtEl>
                                          <p:spTgt spid="23"/>
                                        </p:tgtEl>
                                        <p:attrNameLst>
                                          <p:attrName>ppt_x</p:attrName>
                                        </p:attrNameLst>
                                      </p:cBhvr>
                                      <p:tavLst>
                                        <p:tav tm="0">
                                          <p:val>
                                            <p:strVal val="#ppt_x"/>
                                          </p:val>
                                        </p:tav>
                                        <p:tav tm="100000">
                                          <p:val>
                                            <p:strVal val="#ppt_x"/>
                                          </p:val>
                                        </p:tav>
                                      </p:tavLst>
                                    </p:anim>
                                    <p:anim calcmode="lin" valueType="num">
                                      <p:cBhvr additive="base">
                                        <p:cTn id="24" dur="1000" fill="hold"/>
                                        <p:tgtEl>
                                          <p:spTgt spid="23"/>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250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1000" fill="hold"/>
                                        <p:tgtEl>
                                          <p:spTgt spid="21"/>
                                        </p:tgtEl>
                                        <p:attrNameLst>
                                          <p:attrName>ppt_x</p:attrName>
                                        </p:attrNameLst>
                                      </p:cBhvr>
                                      <p:tavLst>
                                        <p:tav tm="0">
                                          <p:val>
                                            <p:strVal val="#ppt_x"/>
                                          </p:val>
                                        </p:tav>
                                        <p:tav tm="100000">
                                          <p:val>
                                            <p:strVal val="#ppt_x"/>
                                          </p:val>
                                        </p:tav>
                                      </p:tavLst>
                                    </p:anim>
                                    <p:anim calcmode="lin" valueType="num">
                                      <p:cBhvr additive="base">
                                        <p:cTn id="28" dur="1000" fill="hold"/>
                                        <p:tgtEl>
                                          <p:spTgt spid="21"/>
                                        </p:tgtEl>
                                        <p:attrNameLst>
                                          <p:attrName>ppt_y</p:attrName>
                                        </p:attrNameLst>
                                      </p:cBhvr>
                                      <p:tavLst>
                                        <p:tav tm="0">
                                          <p:val>
                                            <p:strVal val="1+#ppt_h/2"/>
                                          </p:val>
                                        </p:tav>
                                        <p:tav tm="100000">
                                          <p:val>
                                            <p:strVal val="#ppt_y"/>
                                          </p:val>
                                        </p:tav>
                                      </p:tavLst>
                                    </p:anim>
                                  </p:childTnLst>
                                </p:cTn>
                              </p:par>
                              <p:par>
                                <p:cTn id="29" presetID="2" presetClass="entr" presetSubtype="2" decel="100000" fill="hold" nodeType="withEffect">
                                  <p:stCondLst>
                                    <p:cond delay="300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1000" fill="hold"/>
                                        <p:tgtEl>
                                          <p:spTgt spid="47"/>
                                        </p:tgtEl>
                                        <p:attrNameLst>
                                          <p:attrName>ppt_x</p:attrName>
                                        </p:attrNameLst>
                                      </p:cBhvr>
                                      <p:tavLst>
                                        <p:tav tm="0">
                                          <p:val>
                                            <p:strVal val="1+#ppt_w/2"/>
                                          </p:val>
                                        </p:tav>
                                        <p:tav tm="100000">
                                          <p:val>
                                            <p:strVal val="#ppt_x"/>
                                          </p:val>
                                        </p:tav>
                                      </p:tavLst>
                                    </p:anim>
                                    <p:anim calcmode="lin" valueType="num">
                                      <p:cBhvr additive="base">
                                        <p:cTn id="32" dur="1000" fill="hold"/>
                                        <p:tgtEl>
                                          <p:spTgt spid="47"/>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40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1000" fill="hold"/>
                                        <p:tgtEl>
                                          <p:spTgt spid="45"/>
                                        </p:tgtEl>
                                        <p:attrNameLst>
                                          <p:attrName>ppt_x</p:attrName>
                                        </p:attrNameLst>
                                      </p:cBhvr>
                                      <p:tavLst>
                                        <p:tav tm="0">
                                          <p:val>
                                            <p:strVal val="1+#ppt_w/2"/>
                                          </p:val>
                                        </p:tav>
                                        <p:tav tm="100000">
                                          <p:val>
                                            <p:strVal val="#ppt_x"/>
                                          </p:val>
                                        </p:tav>
                                      </p:tavLst>
                                    </p:anim>
                                    <p:anim calcmode="lin" valueType="num">
                                      <p:cBhvr additive="base">
                                        <p:cTn id="36" dur="1000" fill="hold"/>
                                        <p:tgtEl>
                                          <p:spTgt spid="4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0"/>
                                  </p:stCondLst>
                                  <p:childTnLst>
                                    <p:set>
                                      <p:cBhvr>
                                        <p:cTn id="38" dur="1" fill="hold">
                                          <p:stCondLst>
                                            <p:cond delay="0"/>
                                          </p:stCondLst>
                                        </p:cTn>
                                        <p:tgtEl>
                                          <p:spTgt spid="44"/>
                                        </p:tgtEl>
                                        <p:attrNameLst>
                                          <p:attrName>style.visibility</p:attrName>
                                        </p:attrNameLst>
                                      </p:cBhvr>
                                      <p:to>
                                        <p:strVal val="visible"/>
                                      </p:to>
                                    </p:set>
                                    <p:anim calcmode="lin" valueType="num">
                                      <p:cBhvr additive="base">
                                        <p:cTn id="39" dur="1000" fill="hold"/>
                                        <p:tgtEl>
                                          <p:spTgt spid="44"/>
                                        </p:tgtEl>
                                        <p:attrNameLst>
                                          <p:attrName>ppt_x</p:attrName>
                                        </p:attrNameLst>
                                      </p:cBhvr>
                                      <p:tavLst>
                                        <p:tav tm="0">
                                          <p:val>
                                            <p:strVal val="1+#ppt_w/2"/>
                                          </p:val>
                                        </p:tav>
                                        <p:tav tm="100000">
                                          <p:val>
                                            <p:strVal val="#ppt_x"/>
                                          </p:val>
                                        </p:tav>
                                      </p:tavLst>
                                    </p:anim>
                                    <p:anim calcmode="lin" valueType="num">
                                      <p:cBhvr additive="base">
                                        <p:cTn id="40" dur="1000" fill="hold"/>
                                        <p:tgtEl>
                                          <p:spTgt spid="44"/>
                                        </p:tgtEl>
                                        <p:attrNameLst>
                                          <p:attrName>ppt_y</p:attrName>
                                        </p:attrNameLst>
                                      </p:cBhvr>
                                      <p:tavLst>
                                        <p:tav tm="0">
                                          <p:val>
                                            <p:strVal val="#ppt_y"/>
                                          </p:val>
                                        </p:tav>
                                        <p:tav tm="100000">
                                          <p:val>
                                            <p:strVal val="#ppt_y"/>
                                          </p:val>
                                        </p:tav>
                                      </p:tavLst>
                                    </p:anim>
                                  </p:childTnLst>
                                </p:cTn>
                              </p:par>
                              <p:par>
                                <p:cTn id="41" presetID="2" presetClass="entr" presetSubtype="2" decel="100000" fill="hold" nodeType="withEffect">
                                  <p:stCondLst>
                                    <p:cond delay="5000"/>
                                  </p:stCondLst>
                                  <p:childTnLst>
                                    <p:set>
                                      <p:cBhvr>
                                        <p:cTn id="42" dur="1" fill="hold">
                                          <p:stCondLst>
                                            <p:cond delay="0"/>
                                          </p:stCondLst>
                                        </p:cTn>
                                        <p:tgtEl>
                                          <p:spTgt spid="46"/>
                                        </p:tgtEl>
                                        <p:attrNameLst>
                                          <p:attrName>style.visibility</p:attrName>
                                        </p:attrNameLst>
                                      </p:cBhvr>
                                      <p:to>
                                        <p:strVal val="visible"/>
                                      </p:to>
                                    </p:set>
                                    <p:anim calcmode="lin" valueType="num">
                                      <p:cBhvr additive="base">
                                        <p:cTn id="43" dur="1000" fill="hold"/>
                                        <p:tgtEl>
                                          <p:spTgt spid="46"/>
                                        </p:tgtEl>
                                        <p:attrNameLst>
                                          <p:attrName>ppt_x</p:attrName>
                                        </p:attrNameLst>
                                      </p:cBhvr>
                                      <p:tavLst>
                                        <p:tav tm="0">
                                          <p:val>
                                            <p:strVal val="1+#ppt_w/2"/>
                                          </p:val>
                                        </p:tav>
                                        <p:tav tm="100000">
                                          <p:val>
                                            <p:strVal val="#ppt_x"/>
                                          </p:val>
                                        </p:tav>
                                      </p:tavLst>
                                    </p:anim>
                                    <p:anim calcmode="lin" valueType="num">
                                      <p:cBhvr additive="base">
                                        <p:cTn id="44" dur="1000" fill="hold"/>
                                        <p:tgtEl>
                                          <p:spTgt spid="46"/>
                                        </p:tgtEl>
                                        <p:attrNameLst>
                                          <p:attrName>ppt_y</p:attrName>
                                        </p:attrNameLst>
                                      </p:cBhvr>
                                      <p:tavLst>
                                        <p:tav tm="0">
                                          <p:val>
                                            <p:strVal val="#ppt_y"/>
                                          </p:val>
                                        </p:tav>
                                        <p:tav tm="100000">
                                          <p:val>
                                            <p:strVal val="#ppt_y"/>
                                          </p:val>
                                        </p:tav>
                                      </p:tavLst>
                                    </p:anim>
                                  </p:childTnLst>
                                </p:cTn>
                              </p:par>
                              <p:par>
                                <p:cTn id="45" presetID="2" presetClass="entr" presetSubtype="2" decel="100000" fill="hold" nodeType="withEffect">
                                  <p:stCondLst>
                                    <p:cond delay="5500"/>
                                  </p:stCondLst>
                                  <p:childTnLst>
                                    <p:set>
                                      <p:cBhvr>
                                        <p:cTn id="46" dur="1" fill="hold">
                                          <p:stCondLst>
                                            <p:cond delay="0"/>
                                          </p:stCondLst>
                                        </p:cTn>
                                        <p:tgtEl>
                                          <p:spTgt spid="16"/>
                                        </p:tgtEl>
                                        <p:attrNameLst>
                                          <p:attrName>style.visibility</p:attrName>
                                        </p:attrNameLst>
                                      </p:cBhvr>
                                      <p:to>
                                        <p:strVal val="visible"/>
                                      </p:to>
                                    </p:set>
                                    <p:anim calcmode="lin" valueType="num">
                                      <p:cBhvr additive="base">
                                        <p:cTn id="47" dur="1000" fill="hold"/>
                                        <p:tgtEl>
                                          <p:spTgt spid="16"/>
                                        </p:tgtEl>
                                        <p:attrNameLst>
                                          <p:attrName>ppt_x</p:attrName>
                                        </p:attrNameLst>
                                      </p:cBhvr>
                                      <p:tavLst>
                                        <p:tav tm="0">
                                          <p:val>
                                            <p:strVal val="1+#ppt_w/2"/>
                                          </p:val>
                                        </p:tav>
                                        <p:tav tm="100000">
                                          <p:val>
                                            <p:strVal val="#ppt_x"/>
                                          </p:val>
                                        </p:tav>
                                      </p:tavLst>
                                    </p:anim>
                                    <p:anim calcmode="lin" valueType="num">
                                      <p:cBhvr additive="base">
                                        <p:cTn id="48" dur="1000" fill="hold"/>
                                        <p:tgtEl>
                                          <p:spTgt spid="16"/>
                                        </p:tgtEl>
                                        <p:attrNameLst>
                                          <p:attrName>ppt_y</p:attrName>
                                        </p:attrNameLst>
                                      </p:cBhvr>
                                      <p:tavLst>
                                        <p:tav tm="0">
                                          <p:val>
                                            <p:strVal val="#ppt_y"/>
                                          </p:val>
                                        </p:tav>
                                        <p:tav tm="100000">
                                          <p:val>
                                            <p:strVal val="#ppt_y"/>
                                          </p:val>
                                        </p:tav>
                                      </p:tavLst>
                                    </p:anim>
                                  </p:childTnLst>
                                </p:cTn>
                              </p:par>
                              <p:par>
                                <p:cTn id="49" presetID="2" presetClass="entr" presetSubtype="2" decel="100000" fill="hold" nodeType="withEffect">
                                  <p:stCondLst>
                                    <p:cond delay="600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1000" fill="hold"/>
                                        <p:tgtEl>
                                          <p:spTgt spid="15"/>
                                        </p:tgtEl>
                                        <p:attrNameLst>
                                          <p:attrName>ppt_x</p:attrName>
                                        </p:attrNameLst>
                                      </p:cBhvr>
                                      <p:tavLst>
                                        <p:tav tm="0">
                                          <p:val>
                                            <p:strVal val="1+#ppt_w/2"/>
                                          </p:val>
                                        </p:tav>
                                        <p:tav tm="100000">
                                          <p:val>
                                            <p:strVal val="#ppt_x"/>
                                          </p:val>
                                        </p:tav>
                                      </p:tavLst>
                                    </p:anim>
                                    <p:anim calcmode="lin" valueType="num">
                                      <p:cBhvr additive="base">
                                        <p:cTn id="52" dur="10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4" decel="100000" fill="hold" grpId="0" nodeType="withEffect">
                                  <p:stCondLst>
                                    <p:cond delay="0"/>
                                  </p:stCondLst>
                                  <p:childTnLst>
                                    <p:set>
                                      <p:cBhvr>
                                        <p:cTn id="54" dur="1" fill="hold">
                                          <p:stCondLst>
                                            <p:cond delay="0"/>
                                          </p:stCondLst>
                                        </p:cTn>
                                        <p:tgtEl>
                                          <p:spTgt spid="3">
                                            <p:txEl>
                                              <p:pRg st="0" end="0"/>
                                            </p:txEl>
                                          </p:spTgt>
                                        </p:tgtEl>
                                        <p:attrNameLst>
                                          <p:attrName>style.visibility</p:attrName>
                                        </p:attrNameLst>
                                      </p:cBhvr>
                                      <p:to>
                                        <p:strVal val="visible"/>
                                      </p:to>
                                    </p:set>
                                    <p:anim calcmode="lin" valueType="num">
                                      <p:cBhvr additive="base">
                                        <p:cTn id="55"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56" dur="1000" fill="hold"/>
                                        <p:tgtEl>
                                          <p:spTgt spid="3">
                                            <p:txEl>
                                              <p:pRg st="0" end="0"/>
                                            </p:txEl>
                                          </p:spTgt>
                                        </p:tgtEl>
                                        <p:attrNameLst>
                                          <p:attrName>ppt_y</p:attrName>
                                        </p:attrNameLst>
                                      </p:cBhvr>
                                      <p:tavLst>
                                        <p:tav tm="0">
                                          <p:val>
                                            <p:strVal val="1+#ppt_h/2"/>
                                          </p:val>
                                        </p:tav>
                                        <p:tav tm="100000">
                                          <p:val>
                                            <p:strVal val="#ppt_y"/>
                                          </p:val>
                                        </p:tav>
                                      </p:tavLst>
                                    </p:anim>
                                  </p:childTnLst>
                                </p:cTn>
                              </p:par>
                              <p:par>
                                <p:cTn id="57" presetID="2" presetClass="entr" presetSubtype="4" decel="100000" fill="hold" grpId="0" nodeType="withEffect">
                                  <p:stCondLst>
                                    <p:cond delay="500"/>
                                  </p:stCondLst>
                                  <p:childTnLst>
                                    <p:set>
                                      <p:cBhvr>
                                        <p:cTn id="58" dur="1" fill="hold">
                                          <p:stCondLst>
                                            <p:cond delay="0"/>
                                          </p:stCondLst>
                                        </p:cTn>
                                        <p:tgtEl>
                                          <p:spTgt spid="3">
                                            <p:txEl>
                                              <p:pRg st="1" end="1"/>
                                            </p:txEl>
                                          </p:spTgt>
                                        </p:tgtEl>
                                        <p:attrNameLst>
                                          <p:attrName>style.visibility</p:attrName>
                                        </p:attrNameLst>
                                      </p:cBhvr>
                                      <p:to>
                                        <p:strVal val="visible"/>
                                      </p:to>
                                    </p:set>
                                    <p:anim calcmode="lin" valueType="num">
                                      <p:cBhvr additive="base">
                                        <p:cTn id="59"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60" dur="1000" fill="hold"/>
                                        <p:tgtEl>
                                          <p:spTgt spid="3">
                                            <p:txEl>
                                              <p:pRg st="1" end="1"/>
                                            </p:txEl>
                                          </p:spTgt>
                                        </p:tgtEl>
                                        <p:attrNameLst>
                                          <p:attrName>ppt_y</p:attrName>
                                        </p:attrNameLst>
                                      </p:cBhvr>
                                      <p:tavLst>
                                        <p:tav tm="0">
                                          <p:val>
                                            <p:strVal val="1+#ppt_h/2"/>
                                          </p:val>
                                        </p:tav>
                                        <p:tav tm="100000">
                                          <p:val>
                                            <p:strVal val="#ppt_y"/>
                                          </p:val>
                                        </p:tav>
                                      </p:tavLst>
                                    </p:anim>
                                  </p:childTnLst>
                                </p:cTn>
                              </p:par>
                              <p:par>
                                <p:cTn id="61" presetID="2" presetClass="entr" presetSubtype="4" decel="100000" fill="hold" grpId="0" nodeType="withEffect">
                                  <p:stCondLst>
                                    <p:cond delay="1000"/>
                                  </p:stCondLst>
                                  <p:childTnLst>
                                    <p:set>
                                      <p:cBhvr>
                                        <p:cTn id="62" dur="1" fill="hold">
                                          <p:stCondLst>
                                            <p:cond delay="0"/>
                                          </p:stCondLst>
                                        </p:cTn>
                                        <p:tgtEl>
                                          <p:spTgt spid="3">
                                            <p:txEl>
                                              <p:pRg st="2" end="2"/>
                                            </p:txEl>
                                          </p:spTgt>
                                        </p:tgtEl>
                                        <p:attrNameLst>
                                          <p:attrName>style.visibility</p:attrName>
                                        </p:attrNameLst>
                                      </p:cBhvr>
                                      <p:to>
                                        <p:strVal val="visible"/>
                                      </p:to>
                                    </p:set>
                                    <p:anim calcmode="lin" valueType="num">
                                      <p:cBhvr additive="base">
                                        <p:cTn id="6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64" dur="1000" fill="hold"/>
                                        <p:tgtEl>
                                          <p:spTgt spid="3">
                                            <p:txEl>
                                              <p:pRg st="2" end="2"/>
                                            </p:txEl>
                                          </p:spTgt>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0" nodeType="withEffect">
                                  <p:stCondLst>
                                    <p:cond delay="1500"/>
                                  </p:stCondLst>
                                  <p:childTnLst>
                                    <p:set>
                                      <p:cBhvr>
                                        <p:cTn id="66" dur="1" fill="hold">
                                          <p:stCondLst>
                                            <p:cond delay="0"/>
                                          </p:stCondLst>
                                        </p:cTn>
                                        <p:tgtEl>
                                          <p:spTgt spid="3">
                                            <p:txEl>
                                              <p:pRg st="3" end="3"/>
                                            </p:txEl>
                                          </p:spTgt>
                                        </p:tgtEl>
                                        <p:attrNameLst>
                                          <p:attrName>style.visibility</p:attrName>
                                        </p:attrNameLst>
                                      </p:cBhvr>
                                      <p:to>
                                        <p:strVal val="visible"/>
                                      </p:to>
                                    </p:set>
                                    <p:anim calcmode="lin" valueType="num">
                                      <p:cBhvr additive="base">
                                        <p:cTn id="6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68" dur="1000" fill="hold"/>
                                        <p:tgtEl>
                                          <p:spTgt spid="3">
                                            <p:txEl>
                                              <p:pRg st="3" end="3"/>
                                            </p:txEl>
                                          </p:spTgt>
                                        </p:tgtEl>
                                        <p:attrNameLst>
                                          <p:attrName>ppt_y</p:attrName>
                                        </p:attrNameLst>
                                      </p:cBhvr>
                                      <p:tavLst>
                                        <p:tav tm="0">
                                          <p:val>
                                            <p:strVal val="1+#ppt_h/2"/>
                                          </p:val>
                                        </p:tav>
                                        <p:tav tm="100000">
                                          <p:val>
                                            <p:strVal val="#ppt_y"/>
                                          </p:val>
                                        </p:tav>
                                      </p:tavLst>
                                    </p:anim>
                                  </p:childTnLst>
                                </p:cTn>
                              </p:par>
                              <p:par>
                                <p:cTn id="69" presetID="2" presetClass="entr" presetSubtype="4" decel="100000" fill="hold" grpId="0" nodeType="withEffect">
                                  <p:stCondLst>
                                    <p:cond delay="2000"/>
                                  </p:stCondLst>
                                  <p:childTnLst>
                                    <p:set>
                                      <p:cBhvr>
                                        <p:cTn id="70" dur="1" fill="hold">
                                          <p:stCondLst>
                                            <p:cond delay="0"/>
                                          </p:stCondLst>
                                        </p:cTn>
                                        <p:tgtEl>
                                          <p:spTgt spid="3">
                                            <p:txEl>
                                              <p:pRg st="4" end="4"/>
                                            </p:txEl>
                                          </p:spTgt>
                                        </p:tgtEl>
                                        <p:attrNameLst>
                                          <p:attrName>style.visibility</p:attrName>
                                        </p:attrNameLst>
                                      </p:cBhvr>
                                      <p:to>
                                        <p:strVal val="visible"/>
                                      </p:to>
                                    </p:set>
                                    <p:anim calcmode="lin" valueType="num">
                                      <p:cBhvr additive="base">
                                        <p:cTn id="71"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72" dur="1000" fill="hold"/>
                                        <p:tgtEl>
                                          <p:spTgt spid="3">
                                            <p:txEl>
                                              <p:pRg st="4" end="4"/>
                                            </p:txEl>
                                          </p:spTgt>
                                        </p:tgtEl>
                                        <p:attrNameLst>
                                          <p:attrName>ppt_y</p:attrName>
                                        </p:attrNameLst>
                                      </p:cBhvr>
                                      <p:tavLst>
                                        <p:tav tm="0">
                                          <p:val>
                                            <p:strVal val="1+#ppt_h/2"/>
                                          </p:val>
                                        </p:tav>
                                        <p:tav tm="100000">
                                          <p:val>
                                            <p:strVal val="#ppt_y"/>
                                          </p:val>
                                        </p:tav>
                                      </p:tavLst>
                                    </p:anim>
                                  </p:childTnLst>
                                </p:cTn>
                              </p:par>
                              <p:par>
                                <p:cTn id="73" presetID="2" presetClass="entr" presetSubtype="4" decel="100000" fill="hold" grpId="0" nodeType="withEffect">
                                  <p:stCondLst>
                                    <p:cond delay="2500"/>
                                  </p:stCondLst>
                                  <p:childTnLst>
                                    <p:set>
                                      <p:cBhvr>
                                        <p:cTn id="74" dur="1" fill="hold">
                                          <p:stCondLst>
                                            <p:cond delay="0"/>
                                          </p:stCondLst>
                                        </p:cTn>
                                        <p:tgtEl>
                                          <p:spTgt spid="3">
                                            <p:txEl>
                                              <p:pRg st="5" end="5"/>
                                            </p:txEl>
                                          </p:spTgt>
                                        </p:tgtEl>
                                        <p:attrNameLst>
                                          <p:attrName>style.visibility</p:attrName>
                                        </p:attrNameLst>
                                      </p:cBhvr>
                                      <p:to>
                                        <p:strVal val="visible"/>
                                      </p:to>
                                    </p:set>
                                    <p:anim calcmode="lin" valueType="num">
                                      <p:cBhvr additive="base">
                                        <p:cTn id="7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76" dur="10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allAtOnce"/>
      <p:bldP spid="21" grpId="0" animBg="1"/>
      <p:bldP spid="23" grpId="0" animBg="1"/>
      <p:bldP spid="24" grpId="0" animBg="1"/>
      <p:bldP spid="25" grpId="0" animBg="1"/>
      <p:bldP spid="26" grpId="0" animBg="1"/>
      <p:bldP spid="2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Agrupar 73">
            <a:extLst>
              <a:ext uri="{FF2B5EF4-FFF2-40B4-BE49-F238E27FC236}">
                <a16:creationId xmlns:a16="http://schemas.microsoft.com/office/drawing/2014/main" id="{4F1A5C6F-2E5D-3DC1-136E-4D4A5242E309}"/>
              </a:ext>
            </a:extLst>
          </p:cNvPr>
          <p:cNvGrpSpPr/>
          <p:nvPr/>
        </p:nvGrpSpPr>
        <p:grpSpPr>
          <a:xfrm>
            <a:off x="8025658" y="1297132"/>
            <a:ext cx="2850794" cy="1366933"/>
            <a:chOff x="8220211" y="1297132"/>
            <a:chExt cx="2850794" cy="1366933"/>
          </a:xfrm>
          <a:effectLst>
            <a:outerShdw blurRad="50800" dist="38100" dir="2700000" algn="tl" rotWithShape="0">
              <a:prstClr val="black">
                <a:alpha val="15000"/>
              </a:prstClr>
            </a:outerShdw>
          </a:effectLst>
        </p:grpSpPr>
        <p:grpSp>
          <p:nvGrpSpPr>
            <p:cNvPr id="73" name="Agrupar 72">
              <a:extLst>
                <a:ext uri="{FF2B5EF4-FFF2-40B4-BE49-F238E27FC236}">
                  <a16:creationId xmlns:a16="http://schemas.microsoft.com/office/drawing/2014/main" id="{3C960AA8-5A0F-3996-3D6A-91F6B9358E40}"/>
                </a:ext>
              </a:extLst>
            </p:cNvPr>
            <p:cNvGrpSpPr/>
            <p:nvPr/>
          </p:nvGrpSpPr>
          <p:grpSpPr>
            <a:xfrm>
              <a:off x="8358933" y="1449785"/>
              <a:ext cx="2563623" cy="1090105"/>
              <a:chOff x="8358933" y="1449785"/>
              <a:chExt cx="2563623" cy="1090105"/>
            </a:xfrm>
          </p:grpSpPr>
          <p:sp>
            <p:nvSpPr>
              <p:cNvPr id="65" name="Retângulo 64">
                <a:extLst>
                  <a:ext uri="{FF2B5EF4-FFF2-40B4-BE49-F238E27FC236}">
                    <a16:creationId xmlns:a16="http://schemas.microsoft.com/office/drawing/2014/main" id="{E6501070-0A37-FFF8-340C-17B1F7C769C7}"/>
                  </a:ext>
                </a:extLst>
              </p:cNvPr>
              <p:cNvSpPr/>
              <p:nvPr/>
            </p:nvSpPr>
            <p:spPr>
              <a:xfrm>
                <a:off x="8368660" y="1449785"/>
                <a:ext cx="2553896" cy="1090105"/>
              </a:xfrm>
              <a:prstGeom prst="rect">
                <a:avLst/>
              </a:prstGeom>
              <a:solidFill>
                <a:schemeClr val="bg1"/>
              </a:solidFill>
              <a:ln>
                <a:noFill/>
              </a:ln>
              <a:effectLst>
                <a:outerShdw blurRad="50800" dist="38100" dir="2700000" algn="tl"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4" name="Conector reto 53">
                <a:extLst>
                  <a:ext uri="{FF2B5EF4-FFF2-40B4-BE49-F238E27FC236}">
                    <a16:creationId xmlns:a16="http://schemas.microsoft.com/office/drawing/2014/main" id="{1D35D579-BE3B-6E67-0440-6FCC619F90F0}"/>
                  </a:ext>
                </a:extLst>
              </p:cNvPr>
              <p:cNvCxnSpPr>
                <a:cxnSpLocks/>
              </p:cNvCxnSpPr>
              <p:nvPr/>
            </p:nvCxnSpPr>
            <p:spPr>
              <a:xfrm>
                <a:off x="8358933" y="1449785"/>
                <a:ext cx="0" cy="108830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9" name="Imagem 38">
              <a:extLst>
                <a:ext uri="{FF2B5EF4-FFF2-40B4-BE49-F238E27FC236}">
                  <a16:creationId xmlns:a16="http://schemas.microsoft.com/office/drawing/2014/main" id="{3C9D65C1-5A7C-1419-2382-EA7D9789F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20211" y="1297132"/>
              <a:ext cx="2850794" cy="1366933"/>
            </a:xfrm>
            <a:prstGeom prst="rect">
              <a:avLst/>
            </a:prstGeom>
            <a:effectLst/>
          </p:spPr>
        </p:pic>
      </p:grpSp>
      <p:sp>
        <p:nvSpPr>
          <p:cNvPr id="11" name="TextBox 3">
            <a:extLst>
              <a:ext uri="{FF2B5EF4-FFF2-40B4-BE49-F238E27FC236}">
                <a16:creationId xmlns:a16="http://schemas.microsoft.com/office/drawing/2014/main" id="{785CE17B-EFCD-A723-B137-1DD3AD7E678A}"/>
              </a:ext>
            </a:extLst>
          </p:cNvPr>
          <p:cNvSpPr txBox="1"/>
          <p:nvPr/>
        </p:nvSpPr>
        <p:spPr>
          <a:xfrm>
            <a:off x="1698098" y="394240"/>
            <a:ext cx="4131736" cy="1323439"/>
          </a:xfrm>
          <a:prstGeom prst="rect">
            <a:avLst/>
          </a:prstGeom>
          <a:noFill/>
        </p:spPr>
        <p:txBody>
          <a:bodyPr wrap="square" rtlCol="0">
            <a:spAutoFit/>
          </a:bodyPr>
          <a:lstStyle/>
          <a:p>
            <a:r>
              <a:rPr lang="en-US" sz="4000" b="1">
                <a:solidFill>
                  <a:srgbClr val="1F3151"/>
                </a:solidFill>
                <a:latin typeface="+mj-lt"/>
              </a:rPr>
              <a:t>Life Cycle Assessment</a:t>
            </a:r>
          </a:p>
        </p:txBody>
      </p:sp>
      <p:grpSp>
        <p:nvGrpSpPr>
          <p:cNvPr id="23" name="Agrupar 22">
            <a:extLst>
              <a:ext uri="{FF2B5EF4-FFF2-40B4-BE49-F238E27FC236}">
                <a16:creationId xmlns:a16="http://schemas.microsoft.com/office/drawing/2014/main" id="{65DD586D-3018-A6EC-A4DD-B9CC2926AFA2}"/>
              </a:ext>
            </a:extLst>
          </p:cNvPr>
          <p:cNvGrpSpPr/>
          <p:nvPr/>
        </p:nvGrpSpPr>
        <p:grpSpPr>
          <a:xfrm>
            <a:off x="112578" y="298207"/>
            <a:ext cx="1531395" cy="1531395"/>
            <a:chOff x="4312112" y="985057"/>
            <a:chExt cx="808992" cy="808992"/>
          </a:xfrm>
        </p:grpSpPr>
        <p:sp>
          <p:nvSpPr>
            <p:cNvPr id="14" name="Oval 11">
              <a:extLst>
                <a:ext uri="{FF2B5EF4-FFF2-40B4-BE49-F238E27FC236}">
                  <a16:creationId xmlns:a16="http://schemas.microsoft.com/office/drawing/2014/main" id="{C874442E-3902-BBC1-B159-533464854328}"/>
                </a:ext>
              </a:extLst>
            </p:cNvPr>
            <p:cNvSpPr/>
            <p:nvPr/>
          </p:nvSpPr>
          <p:spPr>
            <a:xfrm>
              <a:off x="4312112" y="985057"/>
              <a:ext cx="808992" cy="808992"/>
            </a:xfrm>
            <a:prstGeom prst="ellipse">
              <a:avLst/>
            </a:prstGeom>
            <a:solidFill>
              <a:schemeClr val="bg1"/>
            </a:solidFill>
            <a:ln>
              <a:noFill/>
            </a:ln>
            <a:effectLst>
              <a:outerShdw blurRad="355600" dist="38100" dir="2700000" algn="tl"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15" name="Graphic 28">
              <a:extLst>
                <a:ext uri="{FF2B5EF4-FFF2-40B4-BE49-F238E27FC236}">
                  <a16:creationId xmlns:a16="http://schemas.microsoft.com/office/drawing/2014/main" id="{0619D038-C0F9-DDFF-DD83-21274798D07B}"/>
                </a:ext>
              </a:extLst>
            </p:cNvPr>
            <p:cNvGrpSpPr/>
            <p:nvPr/>
          </p:nvGrpSpPr>
          <p:grpSpPr>
            <a:xfrm>
              <a:off x="4619396" y="1288788"/>
              <a:ext cx="84137" cy="200084"/>
              <a:chOff x="5260409" y="1288788"/>
              <a:chExt cx="84137" cy="200084"/>
            </a:xfrm>
            <a:solidFill>
              <a:srgbClr val="000532"/>
            </a:solidFill>
          </p:grpSpPr>
          <p:sp>
            <p:nvSpPr>
              <p:cNvPr id="16" name="Forma Livre: Forma 15">
                <a:extLst>
                  <a:ext uri="{FF2B5EF4-FFF2-40B4-BE49-F238E27FC236}">
                    <a16:creationId xmlns:a16="http://schemas.microsoft.com/office/drawing/2014/main" id="{FEAF65B6-08E6-698A-FDC1-2523192DB7ED}"/>
                  </a:ext>
                </a:extLst>
              </p:cNvPr>
              <p:cNvSpPr/>
              <p:nvPr/>
            </p:nvSpPr>
            <p:spPr>
              <a:xfrm>
                <a:off x="5260409" y="1288788"/>
                <a:ext cx="84137" cy="83279"/>
              </a:xfrm>
              <a:custGeom>
                <a:avLst/>
                <a:gdLst>
                  <a:gd name="connsiteX0" fmla="*/ 71 w 84137"/>
                  <a:gd name="connsiteY0" fmla="*/ 18943 h 83279"/>
                  <a:gd name="connsiteX1" fmla="*/ 71 w 84137"/>
                  <a:gd name="connsiteY1" fmla="*/ 76131 h 83279"/>
                  <a:gd name="connsiteX2" fmla="*/ 7220 w 84137"/>
                  <a:gd name="connsiteY2" fmla="*/ 83279 h 83279"/>
                  <a:gd name="connsiteX3" fmla="*/ 64407 w 84137"/>
                  <a:gd name="connsiteY3" fmla="*/ 83279 h 83279"/>
                  <a:gd name="connsiteX4" fmla="*/ 71556 w 84137"/>
                  <a:gd name="connsiteY4" fmla="*/ 76131 h 83279"/>
                  <a:gd name="connsiteX5" fmla="*/ 71556 w 84137"/>
                  <a:gd name="connsiteY5" fmla="*/ 23947 h 83279"/>
                  <a:gd name="connsiteX6" fmla="*/ 84137 w 84137"/>
                  <a:gd name="connsiteY6" fmla="*/ 9293 h 83279"/>
                  <a:gd name="connsiteX7" fmla="*/ 73271 w 84137"/>
                  <a:gd name="connsiteY7" fmla="*/ 0 h 83279"/>
                  <a:gd name="connsiteX8" fmla="*/ 63121 w 84137"/>
                  <a:gd name="connsiteY8" fmla="*/ 11795 h 83279"/>
                  <a:gd name="connsiteX9" fmla="*/ 7148 w 84137"/>
                  <a:gd name="connsiteY9" fmla="*/ 11795 h 83279"/>
                  <a:gd name="connsiteX10" fmla="*/ 0 w 84137"/>
                  <a:gd name="connsiteY10" fmla="*/ 18943 h 83279"/>
                  <a:gd name="connsiteX11" fmla="*/ 14368 w 84137"/>
                  <a:gd name="connsiteY11" fmla="*/ 26092 h 83279"/>
                  <a:gd name="connsiteX12" fmla="*/ 50897 w 84137"/>
                  <a:gd name="connsiteY12" fmla="*/ 26092 h 83279"/>
                  <a:gd name="connsiteX13" fmla="*/ 35385 w 84137"/>
                  <a:gd name="connsiteY13" fmla="*/ 44177 h 83279"/>
                  <a:gd name="connsiteX14" fmla="*/ 26521 w 84137"/>
                  <a:gd name="connsiteY14" fmla="*/ 35313 h 83279"/>
                  <a:gd name="connsiteX15" fmla="*/ 16441 w 84137"/>
                  <a:gd name="connsiteY15" fmla="*/ 45393 h 83279"/>
                  <a:gd name="connsiteX16" fmla="*/ 30738 w 84137"/>
                  <a:gd name="connsiteY16" fmla="*/ 59689 h 83279"/>
                  <a:gd name="connsiteX17" fmla="*/ 35814 w 84137"/>
                  <a:gd name="connsiteY17" fmla="*/ 61762 h 83279"/>
                  <a:gd name="connsiteX18" fmla="*/ 36100 w 84137"/>
                  <a:gd name="connsiteY18" fmla="*/ 61762 h 83279"/>
                  <a:gd name="connsiteX19" fmla="*/ 41246 w 84137"/>
                  <a:gd name="connsiteY19" fmla="*/ 59261 h 83279"/>
                  <a:gd name="connsiteX20" fmla="*/ 57259 w 84137"/>
                  <a:gd name="connsiteY20" fmla="*/ 40603 h 83279"/>
                  <a:gd name="connsiteX21" fmla="*/ 57259 w 84137"/>
                  <a:gd name="connsiteY21" fmla="*/ 68911 h 83279"/>
                  <a:gd name="connsiteX22" fmla="*/ 14368 w 84137"/>
                  <a:gd name="connsiteY22" fmla="*/ 68911 h 83279"/>
                  <a:gd name="connsiteX23" fmla="*/ 14368 w 84137"/>
                  <a:gd name="connsiteY23" fmla="*/ 26020 h 8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137" h="83279">
                    <a:moveTo>
                      <a:pt x="71" y="18943"/>
                    </a:moveTo>
                    <a:lnTo>
                      <a:pt x="71" y="76131"/>
                    </a:lnTo>
                    <a:cubicBezTo>
                      <a:pt x="71" y="80062"/>
                      <a:pt x="3288" y="83279"/>
                      <a:pt x="7220" y="83279"/>
                    </a:cubicBezTo>
                    <a:lnTo>
                      <a:pt x="64407" y="83279"/>
                    </a:lnTo>
                    <a:cubicBezTo>
                      <a:pt x="68339" y="83279"/>
                      <a:pt x="71556" y="80062"/>
                      <a:pt x="71556" y="76131"/>
                    </a:cubicBezTo>
                    <a:lnTo>
                      <a:pt x="71556" y="23947"/>
                    </a:lnTo>
                    <a:lnTo>
                      <a:pt x="84137" y="9293"/>
                    </a:lnTo>
                    <a:lnTo>
                      <a:pt x="73271" y="0"/>
                    </a:lnTo>
                    <a:lnTo>
                      <a:pt x="63121" y="11795"/>
                    </a:lnTo>
                    <a:lnTo>
                      <a:pt x="7148" y="11795"/>
                    </a:lnTo>
                    <a:cubicBezTo>
                      <a:pt x="3217" y="11795"/>
                      <a:pt x="0" y="15012"/>
                      <a:pt x="0" y="18943"/>
                    </a:cubicBezTo>
                    <a:close/>
                    <a:moveTo>
                      <a:pt x="14368" y="26092"/>
                    </a:moveTo>
                    <a:lnTo>
                      <a:pt x="50897" y="26092"/>
                    </a:lnTo>
                    <a:lnTo>
                      <a:pt x="35385" y="44177"/>
                    </a:lnTo>
                    <a:lnTo>
                      <a:pt x="26521" y="35313"/>
                    </a:lnTo>
                    <a:lnTo>
                      <a:pt x="16441" y="45393"/>
                    </a:lnTo>
                    <a:lnTo>
                      <a:pt x="30738" y="59689"/>
                    </a:lnTo>
                    <a:cubicBezTo>
                      <a:pt x="32096" y="61048"/>
                      <a:pt x="33884" y="61762"/>
                      <a:pt x="35814" y="61762"/>
                    </a:cubicBezTo>
                    <a:lnTo>
                      <a:pt x="36100" y="61762"/>
                    </a:lnTo>
                    <a:cubicBezTo>
                      <a:pt x="38101" y="61691"/>
                      <a:pt x="39960" y="60762"/>
                      <a:pt x="41246" y="59261"/>
                    </a:cubicBezTo>
                    <a:lnTo>
                      <a:pt x="57259" y="40603"/>
                    </a:lnTo>
                    <a:lnTo>
                      <a:pt x="57259" y="68911"/>
                    </a:lnTo>
                    <a:lnTo>
                      <a:pt x="14368" y="68911"/>
                    </a:lnTo>
                    <a:lnTo>
                      <a:pt x="14368" y="26020"/>
                    </a:lnTo>
                    <a:close/>
                  </a:path>
                </a:pathLst>
              </a:custGeom>
              <a:solidFill>
                <a:schemeClr val="accent2"/>
              </a:solidFill>
              <a:ln w="7144" cap="flat">
                <a:noFill/>
                <a:prstDash val="solid"/>
                <a:miter/>
              </a:ln>
            </p:spPr>
            <p:txBody>
              <a:bodyPr rtlCol="0" anchor="ctr"/>
              <a:lstStyle/>
              <a:p>
                <a:endParaRPr lang="pt-BR"/>
              </a:p>
            </p:txBody>
          </p:sp>
          <p:sp>
            <p:nvSpPr>
              <p:cNvPr id="17" name="Forma Livre: Forma 16">
                <a:extLst>
                  <a:ext uri="{FF2B5EF4-FFF2-40B4-BE49-F238E27FC236}">
                    <a16:creationId xmlns:a16="http://schemas.microsoft.com/office/drawing/2014/main" id="{3BEC88E5-8C3F-C9E8-3F89-AB9DCE399EC7}"/>
                  </a:ext>
                </a:extLst>
              </p:cNvPr>
              <p:cNvSpPr/>
              <p:nvPr/>
            </p:nvSpPr>
            <p:spPr>
              <a:xfrm>
                <a:off x="5260409" y="1405593"/>
                <a:ext cx="84137" cy="83279"/>
              </a:xfrm>
              <a:custGeom>
                <a:avLst/>
                <a:gdLst>
                  <a:gd name="connsiteX0" fmla="*/ 71 w 84137"/>
                  <a:gd name="connsiteY0" fmla="*/ 18943 h 83279"/>
                  <a:gd name="connsiteX1" fmla="*/ 71 w 84137"/>
                  <a:gd name="connsiteY1" fmla="*/ 76131 h 83279"/>
                  <a:gd name="connsiteX2" fmla="*/ 7220 w 84137"/>
                  <a:gd name="connsiteY2" fmla="*/ 83279 h 83279"/>
                  <a:gd name="connsiteX3" fmla="*/ 64407 w 84137"/>
                  <a:gd name="connsiteY3" fmla="*/ 83279 h 83279"/>
                  <a:gd name="connsiteX4" fmla="*/ 71556 w 84137"/>
                  <a:gd name="connsiteY4" fmla="*/ 76131 h 83279"/>
                  <a:gd name="connsiteX5" fmla="*/ 71556 w 84137"/>
                  <a:gd name="connsiteY5" fmla="*/ 23947 h 83279"/>
                  <a:gd name="connsiteX6" fmla="*/ 84137 w 84137"/>
                  <a:gd name="connsiteY6" fmla="*/ 9293 h 83279"/>
                  <a:gd name="connsiteX7" fmla="*/ 73271 w 84137"/>
                  <a:gd name="connsiteY7" fmla="*/ 0 h 83279"/>
                  <a:gd name="connsiteX8" fmla="*/ 63121 w 84137"/>
                  <a:gd name="connsiteY8" fmla="*/ 11795 h 83279"/>
                  <a:gd name="connsiteX9" fmla="*/ 7148 w 84137"/>
                  <a:gd name="connsiteY9" fmla="*/ 11795 h 83279"/>
                  <a:gd name="connsiteX10" fmla="*/ 0 w 84137"/>
                  <a:gd name="connsiteY10" fmla="*/ 18943 h 83279"/>
                  <a:gd name="connsiteX11" fmla="*/ 14368 w 84137"/>
                  <a:gd name="connsiteY11" fmla="*/ 26092 h 83279"/>
                  <a:gd name="connsiteX12" fmla="*/ 50897 w 84137"/>
                  <a:gd name="connsiteY12" fmla="*/ 26092 h 83279"/>
                  <a:gd name="connsiteX13" fmla="*/ 35385 w 84137"/>
                  <a:gd name="connsiteY13" fmla="*/ 44177 h 83279"/>
                  <a:gd name="connsiteX14" fmla="*/ 26521 w 84137"/>
                  <a:gd name="connsiteY14" fmla="*/ 35313 h 83279"/>
                  <a:gd name="connsiteX15" fmla="*/ 16441 w 84137"/>
                  <a:gd name="connsiteY15" fmla="*/ 45393 h 83279"/>
                  <a:gd name="connsiteX16" fmla="*/ 30738 w 84137"/>
                  <a:gd name="connsiteY16" fmla="*/ 59689 h 83279"/>
                  <a:gd name="connsiteX17" fmla="*/ 35814 w 84137"/>
                  <a:gd name="connsiteY17" fmla="*/ 61762 h 83279"/>
                  <a:gd name="connsiteX18" fmla="*/ 36100 w 84137"/>
                  <a:gd name="connsiteY18" fmla="*/ 61762 h 83279"/>
                  <a:gd name="connsiteX19" fmla="*/ 41246 w 84137"/>
                  <a:gd name="connsiteY19" fmla="*/ 59261 h 83279"/>
                  <a:gd name="connsiteX20" fmla="*/ 57259 w 84137"/>
                  <a:gd name="connsiteY20" fmla="*/ 40603 h 83279"/>
                  <a:gd name="connsiteX21" fmla="*/ 57259 w 84137"/>
                  <a:gd name="connsiteY21" fmla="*/ 68911 h 83279"/>
                  <a:gd name="connsiteX22" fmla="*/ 14368 w 84137"/>
                  <a:gd name="connsiteY22" fmla="*/ 68911 h 83279"/>
                  <a:gd name="connsiteX23" fmla="*/ 14368 w 84137"/>
                  <a:gd name="connsiteY23" fmla="*/ 26020 h 8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137" h="83279">
                    <a:moveTo>
                      <a:pt x="71" y="18943"/>
                    </a:moveTo>
                    <a:lnTo>
                      <a:pt x="71" y="76131"/>
                    </a:lnTo>
                    <a:cubicBezTo>
                      <a:pt x="71" y="80062"/>
                      <a:pt x="3288" y="83279"/>
                      <a:pt x="7220" y="83279"/>
                    </a:cubicBezTo>
                    <a:lnTo>
                      <a:pt x="64407" y="83279"/>
                    </a:lnTo>
                    <a:cubicBezTo>
                      <a:pt x="68339" y="83279"/>
                      <a:pt x="71556" y="80062"/>
                      <a:pt x="71556" y="76131"/>
                    </a:cubicBezTo>
                    <a:lnTo>
                      <a:pt x="71556" y="23947"/>
                    </a:lnTo>
                    <a:lnTo>
                      <a:pt x="84137" y="9293"/>
                    </a:lnTo>
                    <a:lnTo>
                      <a:pt x="73271" y="0"/>
                    </a:lnTo>
                    <a:lnTo>
                      <a:pt x="63121" y="11795"/>
                    </a:lnTo>
                    <a:lnTo>
                      <a:pt x="7148" y="11795"/>
                    </a:lnTo>
                    <a:cubicBezTo>
                      <a:pt x="3217" y="11795"/>
                      <a:pt x="0" y="15012"/>
                      <a:pt x="0" y="18943"/>
                    </a:cubicBezTo>
                    <a:close/>
                    <a:moveTo>
                      <a:pt x="14368" y="26092"/>
                    </a:moveTo>
                    <a:lnTo>
                      <a:pt x="50897" y="26092"/>
                    </a:lnTo>
                    <a:lnTo>
                      <a:pt x="35385" y="44177"/>
                    </a:lnTo>
                    <a:lnTo>
                      <a:pt x="26521" y="35313"/>
                    </a:lnTo>
                    <a:lnTo>
                      <a:pt x="16441" y="45393"/>
                    </a:lnTo>
                    <a:lnTo>
                      <a:pt x="30738" y="59689"/>
                    </a:lnTo>
                    <a:cubicBezTo>
                      <a:pt x="32096" y="61048"/>
                      <a:pt x="33884" y="61762"/>
                      <a:pt x="35814" y="61762"/>
                    </a:cubicBezTo>
                    <a:lnTo>
                      <a:pt x="36100" y="61762"/>
                    </a:lnTo>
                    <a:cubicBezTo>
                      <a:pt x="38101" y="61691"/>
                      <a:pt x="39960" y="60762"/>
                      <a:pt x="41246" y="59261"/>
                    </a:cubicBezTo>
                    <a:lnTo>
                      <a:pt x="57259" y="40603"/>
                    </a:lnTo>
                    <a:lnTo>
                      <a:pt x="57259" y="68911"/>
                    </a:lnTo>
                    <a:lnTo>
                      <a:pt x="14368" y="68911"/>
                    </a:lnTo>
                    <a:lnTo>
                      <a:pt x="14368" y="26020"/>
                    </a:lnTo>
                    <a:close/>
                  </a:path>
                </a:pathLst>
              </a:custGeom>
              <a:solidFill>
                <a:schemeClr val="accent2"/>
              </a:solidFill>
              <a:ln w="7144" cap="flat">
                <a:noFill/>
                <a:prstDash val="solid"/>
                <a:miter/>
              </a:ln>
            </p:spPr>
            <p:txBody>
              <a:bodyPr rtlCol="0" anchor="ctr"/>
              <a:lstStyle/>
              <a:p>
                <a:endParaRPr lang="pt-BR" dirty="0"/>
              </a:p>
            </p:txBody>
          </p:sp>
        </p:grpSp>
        <p:sp>
          <p:nvSpPr>
            <p:cNvPr id="18" name="Forma Livre: Forma 17">
              <a:extLst>
                <a:ext uri="{FF2B5EF4-FFF2-40B4-BE49-F238E27FC236}">
                  <a16:creationId xmlns:a16="http://schemas.microsoft.com/office/drawing/2014/main" id="{F8D014FE-D97B-E893-D7C9-6E20581E0427}"/>
                </a:ext>
              </a:extLst>
            </p:cNvPr>
            <p:cNvSpPr/>
            <p:nvPr/>
          </p:nvSpPr>
          <p:spPr>
            <a:xfrm>
              <a:off x="4761507" y="1279137"/>
              <a:ext cx="200155" cy="314531"/>
            </a:xfrm>
            <a:custGeom>
              <a:avLst/>
              <a:gdLst>
                <a:gd name="connsiteX0" fmla="*/ 200156 w 200155"/>
                <a:gd name="connsiteY0" fmla="*/ 100078 h 314531"/>
                <a:gd name="connsiteX1" fmla="*/ 114375 w 200155"/>
                <a:gd name="connsiteY1" fmla="*/ 1144 h 314531"/>
                <a:gd name="connsiteX2" fmla="*/ 100078 w 200155"/>
                <a:gd name="connsiteY2" fmla="*/ 0 h 314531"/>
                <a:gd name="connsiteX3" fmla="*/ 85781 w 200155"/>
                <a:gd name="connsiteY3" fmla="*/ 1144 h 314531"/>
                <a:gd name="connsiteX4" fmla="*/ 71484 w 200155"/>
                <a:gd name="connsiteY4" fmla="*/ 4218 h 314531"/>
                <a:gd name="connsiteX5" fmla="*/ 71 w 200155"/>
                <a:gd name="connsiteY5" fmla="*/ 103795 h 314531"/>
                <a:gd name="connsiteX6" fmla="*/ 78633 w 200155"/>
                <a:gd name="connsiteY6" fmla="*/ 197797 h 314531"/>
                <a:gd name="connsiteX7" fmla="*/ 78633 w 200155"/>
                <a:gd name="connsiteY7" fmla="*/ 207305 h 314531"/>
                <a:gd name="connsiteX8" fmla="*/ 71484 w 200155"/>
                <a:gd name="connsiteY8" fmla="*/ 214453 h 314531"/>
                <a:gd name="connsiteX9" fmla="*/ 71484 w 200155"/>
                <a:gd name="connsiteY9" fmla="*/ 235898 h 314531"/>
                <a:gd name="connsiteX10" fmla="*/ 71127 w 200155"/>
                <a:gd name="connsiteY10" fmla="*/ 235898 h 314531"/>
                <a:gd name="connsiteX11" fmla="*/ 71127 w 200155"/>
                <a:gd name="connsiteY11" fmla="*/ 250195 h 314531"/>
                <a:gd name="connsiteX12" fmla="*/ 71484 w 200155"/>
                <a:gd name="connsiteY12" fmla="*/ 250195 h 314531"/>
                <a:gd name="connsiteX13" fmla="*/ 71484 w 200155"/>
                <a:gd name="connsiteY13" fmla="*/ 264492 h 314531"/>
                <a:gd name="connsiteX14" fmla="*/ 71127 w 200155"/>
                <a:gd name="connsiteY14" fmla="*/ 264492 h 314531"/>
                <a:gd name="connsiteX15" fmla="*/ 71127 w 200155"/>
                <a:gd name="connsiteY15" fmla="*/ 278789 h 314531"/>
                <a:gd name="connsiteX16" fmla="*/ 71484 w 200155"/>
                <a:gd name="connsiteY16" fmla="*/ 278789 h 314531"/>
                <a:gd name="connsiteX17" fmla="*/ 71484 w 200155"/>
                <a:gd name="connsiteY17" fmla="*/ 285937 h 314531"/>
                <a:gd name="connsiteX18" fmla="*/ 100078 w 200155"/>
                <a:gd name="connsiteY18" fmla="*/ 314531 h 314531"/>
                <a:gd name="connsiteX19" fmla="*/ 128672 w 200155"/>
                <a:gd name="connsiteY19" fmla="*/ 285937 h 314531"/>
                <a:gd name="connsiteX20" fmla="*/ 128672 w 200155"/>
                <a:gd name="connsiteY20" fmla="*/ 214453 h 314531"/>
                <a:gd name="connsiteX21" fmla="*/ 121523 w 200155"/>
                <a:gd name="connsiteY21" fmla="*/ 207305 h 314531"/>
                <a:gd name="connsiteX22" fmla="*/ 121523 w 200155"/>
                <a:gd name="connsiteY22" fmla="*/ 197797 h 314531"/>
                <a:gd name="connsiteX23" fmla="*/ 200156 w 200155"/>
                <a:gd name="connsiteY23" fmla="*/ 100078 h 314531"/>
                <a:gd name="connsiteX24" fmla="*/ 114375 w 200155"/>
                <a:gd name="connsiteY24" fmla="*/ 285937 h 314531"/>
                <a:gd name="connsiteX25" fmla="*/ 100078 w 200155"/>
                <a:gd name="connsiteY25" fmla="*/ 300234 h 314531"/>
                <a:gd name="connsiteX26" fmla="*/ 85781 w 200155"/>
                <a:gd name="connsiteY26" fmla="*/ 285937 h 314531"/>
                <a:gd name="connsiteX27" fmla="*/ 85781 w 200155"/>
                <a:gd name="connsiteY27" fmla="*/ 221601 h 314531"/>
                <a:gd name="connsiteX28" fmla="*/ 114375 w 200155"/>
                <a:gd name="connsiteY28" fmla="*/ 221601 h 314531"/>
                <a:gd name="connsiteX29" fmla="*/ 114375 w 200155"/>
                <a:gd name="connsiteY29" fmla="*/ 285937 h 314531"/>
                <a:gd name="connsiteX30" fmla="*/ 92929 w 200155"/>
                <a:gd name="connsiteY30" fmla="*/ 207305 h 314531"/>
                <a:gd name="connsiteX31" fmla="*/ 92929 w 200155"/>
                <a:gd name="connsiteY31" fmla="*/ 199799 h 314531"/>
                <a:gd name="connsiteX32" fmla="*/ 100078 w 200155"/>
                <a:gd name="connsiteY32" fmla="*/ 200156 h 314531"/>
                <a:gd name="connsiteX33" fmla="*/ 107226 w 200155"/>
                <a:gd name="connsiteY33" fmla="*/ 199799 h 314531"/>
                <a:gd name="connsiteX34" fmla="*/ 107226 w 200155"/>
                <a:gd name="connsiteY34" fmla="*/ 207305 h 314531"/>
                <a:gd name="connsiteX35" fmla="*/ 92929 w 200155"/>
                <a:gd name="connsiteY35" fmla="*/ 207305 h 314531"/>
                <a:gd name="connsiteX36" fmla="*/ 100078 w 200155"/>
                <a:gd name="connsiteY36" fmla="*/ 185859 h 314531"/>
                <a:gd name="connsiteX37" fmla="*/ 14297 w 200155"/>
                <a:gd name="connsiteY37" fmla="*/ 100078 h 314531"/>
                <a:gd name="connsiteX38" fmla="*/ 100078 w 200155"/>
                <a:gd name="connsiteY38" fmla="*/ 14297 h 314531"/>
                <a:gd name="connsiteX39" fmla="*/ 185859 w 200155"/>
                <a:gd name="connsiteY39" fmla="*/ 100078 h 314531"/>
                <a:gd name="connsiteX40" fmla="*/ 100078 w 200155"/>
                <a:gd name="connsiteY40" fmla="*/ 185859 h 31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0155" h="314531">
                  <a:moveTo>
                    <a:pt x="200156" y="100078"/>
                  </a:moveTo>
                  <a:cubicBezTo>
                    <a:pt x="200084" y="50396"/>
                    <a:pt x="163556" y="8292"/>
                    <a:pt x="114375" y="1144"/>
                  </a:cubicBezTo>
                  <a:lnTo>
                    <a:pt x="100078" y="0"/>
                  </a:lnTo>
                  <a:cubicBezTo>
                    <a:pt x="95288" y="0"/>
                    <a:pt x="90499" y="429"/>
                    <a:pt x="85781" y="1144"/>
                  </a:cubicBezTo>
                  <a:lnTo>
                    <a:pt x="71484" y="4218"/>
                  </a:lnTo>
                  <a:cubicBezTo>
                    <a:pt x="27736" y="17228"/>
                    <a:pt x="-1644" y="58188"/>
                    <a:pt x="71" y="103795"/>
                  </a:cubicBezTo>
                  <a:cubicBezTo>
                    <a:pt x="1787" y="149402"/>
                    <a:pt x="34098" y="188075"/>
                    <a:pt x="78633" y="197797"/>
                  </a:cubicBezTo>
                  <a:lnTo>
                    <a:pt x="78633" y="207305"/>
                  </a:lnTo>
                  <a:cubicBezTo>
                    <a:pt x="74701" y="207305"/>
                    <a:pt x="71484" y="210521"/>
                    <a:pt x="71484" y="214453"/>
                  </a:cubicBezTo>
                  <a:lnTo>
                    <a:pt x="71484" y="235898"/>
                  </a:lnTo>
                  <a:lnTo>
                    <a:pt x="71127" y="235898"/>
                  </a:lnTo>
                  <a:lnTo>
                    <a:pt x="71127" y="250195"/>
                  </a:lnTo>
                  <a:lnTo>
                    <a:pt x="71484" y="250195"/>
                  </a:lnTo>
                  <a:lnTo>
                    <a:pt x="71484" y="264492"/>
                  </a:lnTo>
                  <a:lnTo>
                    <a:pt x="71127" y="264492"/>
                  </a:lnTo>
                  <a:lnTo>
                    <a:pt x="71127" y="278789"/>
                  </a:lnTo>
                  <a:lnTo>
                    <a:pt x="71484" y="278789"/>
                  </a:lnTo>
                  <a:lnTo>
                    <a:pt x="71484" y="285937"/>
                  </a:lnTo>
                  <a:cubicBezTo>
                    <a:pt x="71484" y="301735"/>
                    <a:pt x="84280" y="314531"/>
                    <a:pt x="100078" y="314531"/>
                  </a:cubicBezTo>
                  <a:cubicBezTo>
                    <a:pt x="115876" y="314531"/>
                    <a:pt x="128672" y="301735"/>
                    <a:pt x="128672" y="285937"/>
                  </a:cubicBezTo>
                  <a:lnTo>
                    <a:pt x="128672" y="214453"/>
                  </a:lnTo>
                  <a:cubicBezTo>
                    <a:pt x="128672" y="210521"/>
                    <a:pt x="125455" y="207305"/>
                    <a:pt x="121523" y="207305"/>
                  </a:cubicBezTo>
                  <a:lnTo>
                    <a:pt x="121523" y="197797"/>
                  </a:lnTo>
                  <a:cubicBezTo>
                    <a:pt x="167416" y="187718"/>
                    <a:pt x="200084" y="147043"/>
                    <a:pt x="200156" y="100078"/>
                  </a:cubicBezTo>
                  <a:close/>
                  <a:moveTo>
                    <a:pt x="114375" y="285937"/>
                  </a:moveTo>
                  <a:cubicBezTo>
                    <a:pt x="114375" y="293801"/>
                    <a:pt x="107941" y="300234"/>
                    <a:pt x="100078" y="300234"/>
                  </a:cubicBezTo>
                  <a:cubicBezTo>
                    <a:pt x="92215" y="300234"/>
                    <a:pt x="85781" y="293801"/>
                    <a:pt x="85781" y="285937"/>
                  </a:cubicBezTo>
                  <a:lnTo>
                    <a:pt x="85781" y="221601"/>
                  </a:lnTo>
                  <a:lnTo>
                    <a:pt x="114375" y="221601"/>
                  </a:lnTo>
                  <a:lnTo>
                    <a:pt x="114375" y="285937"/>
                  </a:lnTo>
                  <a:close/>
                  <a:moveTo>
                    <a:pt x="92929" y="207305"/>
                  </a:moveTo>
                  <a:lnTo>
                    <a:pt x="92929" y="199799"/>
                  </a:lnTo>
                  <a:cubicBezTo>
                    <a:pt x="95288" y="199942"/>
                    <a:pt x="97647" y="200156"/>
                    <a:pt x="100078" y="200156"/>
                  </a:cubicBezTo>
                  <a:cubicBezTo>
                    <a:pt x="102508" y="200156"/>
                    <a:pt x="104867" y="199942"/>
                    <a:pt x="107226" y="199799"/>
                  </a:cubicBezTo>
                  <a:lnTo>
                    <a:pt x="107226" y="207305"/>
                  </a:lnTo>
                  <a:lnTo>
                    <a:pt x="92929" y="207305"/>
                  </a:lnTo>
                  <a:close/>
                  <a:moveTo>
                    <a:pt x="100078" y="185859"/>
                  </a:moveTo>
                  <a:cubicBezTo>
                    <a:pt x="52684" y="185859"/>
                    <a:pt x="14297" y="147472"/>
                    <a:pt x="14297" y="100078"/>
                  </a:cubicBezTo>
                  <a:cubicBezTo>
                    <a:pt x="14297" y="52684"/>
                    <a:pt x="52684" y="14297"/>
                    <a:pt x="100078" y="14297"/>
                  </a:cubicBezTo>
                  <a:cubicBezTo>
                    <a:pt x="147400" y="14297"/>
                    <a:pt x="185788" y="52755"/>
                    <a:pt x="185859" y="100078"/>
                  </a:cubicBezTo>
                  <a:cubicBezTo>
                    <a:pt x="185859" y="147472"/>
                    <a:pt x="147472" y="185859"/>
                    <a:pt x="100078" y="185859"/>
                  </a:cubicBezTo>
                  <a:close/>
                </a:path>
              </a:pathLst>
            </a:custGeom>
            <a:solidFill>
              <a:srgbClr val="000532"/>
            </a:solidFill>
            <a:ln w="7144" cap="flat">
              <a:noFill/>
              <a:prstDash val="solid"/>
              <a:miter/>
            </a:ln>
          </p:spPr>
          <p:txBody>
            <a:bodyPr rtlCol="0" anchor="ctr"/>
            <a:lstStyle/>
            <a:p>
              <a:endParaRPr lang="pt-BR"/>
            </a:p>
          </p:txBody>
        </p:sp>
        <p:sp>
          <p:nvSpPr>
            <p:cNvPr id="19" name="Forma Livre: Forma 18">
              <a:extLst>
                <a:ext uri="{FF2B5EF4-FFF2-40B4-BE49-F238E27FC236}">
                  <a16:creationId xmlns:a16="http://schemas.microsoft.com/office/drawing/2014/main" id="{5643D410-71AC-503A-013F-C837C442CDF5}"/>
                </a:ext>
              </a:extLst>
            </p:cNvPr>
            <p:cNvSpPr/>
            <p:nvPr/>
          </p:nvSpPr>
          <p:spPr>
            <a:xfrm>
              <a:off x="4647132" y="1164763"/>
              <a:ext cx="142539" cy="100078"/>
            </a:xfrm>
            <a:custGeom>
              <a:avLst/>
              <a:gdLst>
                <a:gd name="connsiteX0" fmla="*/ 0 w 142539"/>
                <a:gd name="connsiteY0" fmla="*/ 85924 h 100078"/>
                <a:gd name="connsiteX1" fmla="*/ 14297 w 142539"/>
                <a:gd name="connsiteY1" fmla="*/ 100078 h 100078"/>
                <a:gd name="connsiteX2" fmla="*/ 128672 w 142539"/>
                <a:gd name="connsiteY2" fmla="*/ 100078 h 100078"/>
                <a:gd name="connsiteX3" fmla="*/ 142540 w 142539"/>
                <a:gd name="connsiteY3" fmla="*/ 89141 h 100078"/>
                <a:gd name="connsiteX4" fmla="*/ 142540 w 142539"/>
                <a:gd name="connsiteY4" fmla="*/ 10937 h 100078"/>
                <a:gd name="connsiteX5" fmla="*/ 128672 w 142539"/>
                <a:gd name="connsiteY5" fmla="*/ 0 h 100078"/>
                <a:gd name="connsiteX6" fmla="*/ 14297 w 142539"/>
                <a:gd name="connsiteY6" fmla="*/ 0 h 100078"/>
                <a:gd name="connsiteX7" fmla="*/ 0 w 142539"/>
                <a:gd name="connsiteY7" fmla="*/ 14154 h 100078"/>
                <a:gd name="connsiteX8" fmla="*/ 0 w 142539"/>
                <a:gd name="connsiteY8" fmla="*/ 85924 h 100078"/>
                <a:gd name="connsiteX9" fmla="*/ 14297 w 142539"/>
                <a:gd name="connsiteY9" fmla="*/ 14297 h 100078"/>
                <a:gd name="connsiteX10" fmla="*/ 128672 w 142539"/>
                <a:gd name="connsiteY10" fmla="*/ 14297 h 100078"/>
                <a:gd name="connsiteX11" fmla="*/ 128672 w 142539"/>
                <a:gd name="connsiteY11" fmla="*/ 85781 h 100078"/>
                <a:gd name="connsiteX12" fmla="*/ 14297 w 142539"/>
                <a:gd name="connsiteY12" fmla="*/ 85781 h 100078"/>
                <a:gd name="connsiteX13" fmla="*/ 14297 w 142539"/>
                <a:gd name="connsiteY13" fmla="*/ 14297 h 10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539" h="100078">
                  <a:moveTo>
                    <a:pt x="0" y="85924"/>
                  </a:moveTo>
                  <a:cubicBezTo>
                    <a:pt x="0" y="93787"/>
                    <a:pt x="6434" y="100078"/>
                    <a:pt x="14297" y="100078"/>
                  </a:cubicBezTo>
                  <a:lnTo>
                    <a:pt x="128672" y="100078"/>
                  </a:lnTo>
                  <a:cubicBezTo>
                    <a:pt x="135391" y="100078"/>
                    <a:pt x="141039" y="95432"/>
                    <a:pt x="142540" y="89141"/>
                  </a:cubicBezTo>
                  <a:lnTo>
                    <a:pt x="142540" y="10937"/>
                  </a:lnTo>
                  <a:cubicBezTo>
                    <a:pt x="141039" y="4646"/>
                    <a:pt x="135391" y="0"/>
                    <a:pt x="128672" y="0"/>
                  </a:cubicBezTo>
                  <a:lnTo>
                    <a:pt x="14297" y="0"/>
                  </a:lnTo>
                  <a:cubicBezTo>
                    <a:pt x="6434" y="0"/>
                    <a:pt x="71" y="6362"/>
                    <a:pt x="0" y="14154"/>
                  </a:cubicBezTo>
                  <a:lnTo>
                    <a:pt x="0" y="85924"/>
                  </a:lnTo>
                  <a:close/>
                  <a:moveTo>
                    <a:pt x="14297" y="14297"/>
                  </a:moveTo>
                  <a:lnTo>
                    <a:pt x="128672" y="14297"/>
                  </a:lnTo>
                  <a:lnTo>
                    <a:pt x="128672" y="85781"/>
                  </a:lnTo>
                  <a:lnTo>
                    <a:pt x="14297" y="85781"/>
                  </a:lnTo>
                  <a:lnTo>
                    <a:pt x="14297" y="14297"/>
                  </a:lnTo>
                  <a:close/>
                </a:path>
              </a:pathLst>
            </a:custGeom>
            <a:solidFill>
              <a:srgbClr val="000532"/>
            </a:solidFill>
            <a:ln w="7144" cap="flat">
              <a:noFill/>
              <a:prstDash val="solid"/>
              <a:miter/>
            </a:ln>
          </p:spPr>
          <p:txBody>
            <a:bodyPr rtlCol="0" anchor="ctr"/>
            <a:lstStyle/>
            <a:p>
              <a:endParaRPr lang="pt-BR"/>
            </a:p>
          </p:txBody>
        </p:sp>
        <p:sp>
          <p:nvSpPr>
            <p:cNvPr id="20" name="Forma Livre: Forma 19">
              <a:extLst>
                <a:ext uri="{FF2B5EF4-FFF2-40B4-BE49-F238E27FC236}">
                  <a16:creationId xmlns:a16="http://schemas.microsoft.com/office/drawing/2014/main" id="{12A9DD10-5098-C22B-0DF8-28147AC25EBD}"/>
                </a:ext>
              </a:extLst>
            </p:cNvPr>
            <p:cNvSpPr/>
            <p:nvPr/>
          </p:nvSpPr>
          <p:spPr>
            <a:xfrm>
              <a:off x="4790100" y="1307731"/>
              <a:ext cx="71484" cy="142968"/>
            </a:xfrm>
            <a:custGeom>
              <a:avLst/>
              <a:gdLst>
                <a:gd name="connsiteX0" fmla="*/ 0 w 71484"/>
                <a:gd name="connsiteY0" fmla="*/ 71484 h 142968"/>
                <a:gd name="connsiteX1" fmla="*/ 71484 w 71484"/>
                <a:gd name="connsiteY1" fmla="*/ 142969 h 142968"/>
                <a:gd name="connsiteX2" fmla="*/ 71484 w 71484"/>
                <a:gd name="connsiteY2" fmla="*/ 128672 h 142968"/>
                <a:gd name="connsiteX3" fmla="*/ 14297 w 71484"/>
                <a:gd name="connsiteY3" fmla="*/ 71484 h 142968"/>
                <a:gd name="connsiteX4" fmla="*/ 71484 w 71484"/>
                <a:gd name="connsiteY4" fmla="*/ 14297 h 142968"/>
                <a:gd name="connsiteX5" fmla="*/ 71484 w 71484"/>
                <a:gd name="connsiteY5" fmla="*/ 0 h 142968"/>
                <a:gd name="connsiteX6" fmla="*/ 0 w 71484"/>
                <a:gd name="connsiteY6" fmla="*/ 71484 h 14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84" h="142968">
                  <a:moveTo>
                    <a:pt x="0" y="71484"/>
                  </a:moveTo>
                  <a:cubicBezTo>
                    <a:pt x="0" y="110944"/>
                    <a:pt x="32025" y="142897"/>
                    <a:pt x="71484" y="142969"/>
                  </a:cubicBezTo>
                  <a:lnTo>
                    <a:pt x="71484" y="128672"/>
                  </a:lnTo>
                  <a:cubicBezTo>
                    <a:pt x="39888" y="128672"/>
                    <a:pt x="14297" y="103080"/>
                    <a:pt x="14297" y="71484"/>
                  </a:cubicBezTo>
                  <a:cubicBezTo>
                    <a:pt x="14297" y="39888"/>
                    <a:pt x="39888" y="14297"/>
                    <a:pt x="71484" y="14297"/>
                  </a:cubicBezTo>
                  <a:lnTo>
                    <a:pt x="71484" y="0"/>
                  </a:lnTo>
                  <a:cubicBezTo>
                    <a:pt x="32025" y="0"/>
                    <a:pt x="71" y="32025"/>
                    <a:pt x="0" y="71484"/>
                  </a:cubicBezTo>
                  <a:close/>
                </a:path>
              </a:pathLst>
            </a:custGeom>
            <a:solidFill>
              <a:schemeClr val="accent1"/>
            </a:solidFill>
            <a:ln w="7144" cap="flat">
              <a:noFill/>
              <a:prstDash val="solid"/>
              <a:miter/>
            </a:ln>
          </p:spPr>
          <p:txBody>
            <a:bodyPr rtlCol="0" anchor="ctr"/>
            <a:lstStyle/>
            <a:p>
              <a:endParaRPr lang="pt-BR"/>
            </a:p>
          </p:txBody>
        </p:sp>
        <p:sp>
          <p:nvSpPr>
            <p:cNvPr id="21" name="Forma Livre: Forma 20">
              <a:extLst>
                <a:ext uri="{FF2B5EF4-FFF2-40B4-BE49-F238E27FC236}">
                  <a16:creationId xmlns:a16="http://schemas.microsoft.com/office/drawing/2014/main" id="{992445EA-261D-6257-6397-3533C9AA6346}"/>
                </a:ext>
              </a:extLst>
            </p:cNvPr>
            <p:cNvSpPr/>
            <p:nvPr/>
          </p:nvSpPr>
          <p:spPr>
            <a:xfrm>
              <a:off x="4803039" y="1193356"/>
              <a:ext cx="72842" cy="74415"/>
            </a:xfrm>
            <a:custGeom>
              <a:avLst/>
              <a:gdLst>
                <a:gd name="connsiteX0" fmla="*/ 51397 w 72842"/>
                <a:gd name="connsiteY0" fmla="*/ 0 h 74415"/>
                <a:gd name="connsiteX1" fmla="*/ 0 w 72842"/>
                <a:gd name="connsiteY1" fmla="*/ 0 h 74415"/>
                <a:gd name="connsiteX2" fmla="*/ 0 w 72842"/>
                <a:gd name="connsiteY2" fmla="*/ 14297 h 74415"/>
                <a:gd name="connsiteX3" fmla="*/ 51397 w 72842"/>
                <a:gd name="connsiteY3" fmla="*/ 14297 h 74415"/>
                <a:gd name="connsiteX4" fmla="*/ 58546 w 72842"/>
                <a:gd name="connsiteY4" fmla="*/ 21445 h 74415"/>
                <a:gd name="connsiteX5" fmla="*/ 58546 w 72842"/>
                <a:gd name="connsiteY5" fmla="*/ 72986 h 74415"/>
                <a:gd name="connsiteX6" fmla="*/ 72842 w 72842"/>
                <a:gd name="connsiteY6" fmla="*/ 74415 h 74415"/>
                <a:gd name="connsiteX7" fmla="*/ 72842 w 72842"/>
                <a:gd name="connsiteY7" fmla="*/ 21445 h 74415"/>
                <a:gd name="connsiteX8" fmla="*/ 51397 w 72842"/>
                <a:gd name="connsiteY8" fmla="*/ 0 h 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2" h="74415">
                  <a:moveTo>
                    <a:pt x="51397" y="0"/>
                  </a:moveTo>
                  <a:lnTo>
                    <a:pt x="0" y="0"/>
                  </a:lnTo>
                  <a:lnTo>
                    <a:pt x="0" y="14297"/>
                  </a:lnTo>
                  <a:lnTo>
                    <a:pt x="51397" y="14297"/>
                  </a:lnTo>
                  <a:cubicBezTo>
                    <a:pt x="55329" y="14297"/>
                    <a:pt x="58546" y="17514"/>
                    <a:pt x="58546" y="21445"/>
                  </a:cubicBezTo>
                  <a:lnTo>
                    <a:pt x="58546" y="72986"/>
                  </a:lnTo>
                  <a:cubicBezTo>
                    <a:pt x="64264" y="72986"/>
                    <a:pt x="68982" y="73557"/>
                    <a:pt x="72842" y="74415"/>
                  </a:cubicBezTo>
                  <a:lnTo>
                    <a:pt x="72842" y="21445"/>
                  </a:lnTo>
                  <a:cubicBezTo>
                    <a:pt x="72842" y="9579"/>
                    <a:pt x="63264" y="0"/>
                    <a:pt x="51397" y="0"/>
                  </a:cubicBezTo>
                  <a:close/>
                </a:path>
              </a:pathLst>
            </a:custGeom>
            <a:solidFill>
              <a:srgbClr val="000532"/>
            </a:solidFill>
            <a:ln w="7144" cap="flat">
              <a:noFill/>
              <a:prstDash val="solid"/>
              <a:miter/>
            </a:ln>
          </p:spPr>
          <p:txBody>
            <a:bodyPr rtlCol="0" anchor="ctr"/>
            <a:lstStyle/>
            <a:p>
              <a:endParaRPr lang="pt-BR"/>
            </a:p>
          </p:txBody>
        </p:sp>
        <p:sp>
          <p:nvSpPr>
            <p:cNvPr id="22" name="Forma Livre: Forma 21">
              <a:extLst>
                <a:ext uri="{FF2B5EF4-FFF2-40B4-BE49-F238E27FC236}">
                  <a16:creationId xmlns:a16="http://schemas.microsoft.com/office/drawing/2014/main" id="{6511E11A-2196-F932-10F6-F08AE1EDAD6E}"/>
                </a:ext>
              </a:extLst>
            </p:cNvPr>
            <p:cNvSpPr/>
            <p:nvPr/>
          </p:nvSpPr>
          <p:spPr>
            <a:xfrm>
              <a:off x="4561351" y="1193356"/>
              <a:ext cx="255842" cy="364570"/>
            </a:xfrm>
            <a:custGeom>
              <a:avLst/>
              <a:gdLst>
                <a:gd name="connsiteX0" fmla="*/ 14297 w 255842"/>
                <a:gd name="connsiteY0" fmla="*/ 343125 h 364570"/>
                <a:gd name="connsiteX1" fmla="*/ 14297 w 255842"/>
                <a:gd name="connsiteY1" fmla="*/ 21445 h 364570"/>
                <a:gd name="connsiteX2" fmla="*/ 21445 w 255842"/>
                <a:gd name="connsiteY2" fmla="*/ 14297 h 364570"/>
                <a:gd name="connsiteX3" fmla="*/ 72414 w 255842"/>
                <a:gd name="connsiteY3" fmla="*/ 14297 h 364570"/>
                <a:gd name="connsiteX4" fmla="*/ 72414 w 255842"/>
                <a:gd name="connsiteY4" fmla="*/ 0 h 364570"/>
                <a:gd name="connsiteX5" fmla="*/ 21445 w 255842"/>
                <a:gd name="connsiteY5" fmla="*/ 0 h 364570"/>
                <a:gd name="connsiteX6" fmla="*/ 0 w 255842"/>
                <a:gd name="connsiteY6" fmla="*/ 21445 h 364570"/>
                <a:gd name="connsiteX7" fmla="*/ 0 w 255842"/>
                <a:gd name="connsiteY7" fmla="*/ 343125 h 364570"/>
                <a:gd name="connsiteX8" fmla="*/ 21445 w 255842"/>
                <a:gd name="connsiteY8" fmla="*/ 364570 h 364570"/>
                <a:gd name="connsiteX9" fmla="*/ 255842 w 255842"/>
                <a:gd name="connsiteY9" fmla="*/ 364570 h 364570"/>
                <a:gd name="connsiteX10" fmla="*/ 255842 w 255842"/>
                <a:gd name="connsiteY10" fmla="*/ 350273 h 364570"/>
                <a:gd name="connsiteX11" fmla="*/ 21445 w 255842"/>
                <a:gd name="connsiteY11" fmla="*/ 350273 h 364570"/>
                <a:gd name="connsiteX12" fmla="*/ 14297 w 255842"/>
                <a:gd name="connsiteY12" fmla="*/ 343125 h 36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5842" h="364570">
                  <a:moveTo>
                    <a:pt x="14297" y="343125"/>
                  </a:moveTo>
                  <a:lnTo>
                    <a:pt x="14297" y="21445"/>
                  </a:lnTo>
                  <a:cubicBezTo>
                    <a:pt x="14297" y="17514"/>
                    <a:pt x="17514" y="14297"/>
                    <a:pt x="21445" y="14297"/>
                  </a:cubicBezTo>
                  <a:lnTo>
                    <a:pt x="72414" y="14297"/>
                  </a:lnTo>
                  <a:lnTo>
                    <a:pt x="72414" y="0"/>
                  </a:lnTo>
                  <a:lnTo>
                    <a:pt x="21445" y="0"/>
                  </a:lnTo>
                  <a:cubicBezTo>
                    <a:pt x="9579" y="0"/>
                    <a:pt x="0" y="9579"/>
                    <a:pt x="0" y="21445"/>
                  </a:cubicBezTo>
                  <a:lnTo>
                    <a:pt x="0" y="343125"/>
                  </a:lnTo>
                  <a:cubicBezTo>
                    <a:pt x="0" y="354991"/>
                    <a:pt x="9579" y="364570"/>
                    <a:pt x="21445" y="364570"/>
                  </a:cubicBezTo>
                  <a:lnTo>
                    <a:pt x="255842" y="364570"/>
                  </a:lnTo>
                  <a:lnTo>
                    <a:pt x="255842" y="350273"/>
                  </a:lnTo>
                  <a:lnTo>
                    <a:pt x="21445" y="350273"/>
                  </a:lnTo>
                  <a:cubicBezTo>
                    <a:pt x="17514" y="350273"/>
                    <a:pt x="14297" y="347056"/>
                    <a:pt x="14297" y="343125"/>
                  </a:cubicBezTo>
                  <a:close/>
                </a:path>
              </a:pathLst>
            </a:custGeom>
            <a:solidFill>
              <a:srgbClr val="000532"/>
            </a:solidFill>
            <a:ln w="7144" cap="flat">
              <a:noFill/>
              <a:prstDash val="solid"/>
              <a:miter/>
            </a:ln>
          </p:spPr>
          <p:txBody>
            <a:bodyPr rtlCol="0" anchor="ctr"/>
            <a:lstStyle/>
            <a:p>
              <a:endParaRPr lang="pt-BR"/>
            </a:p>
          </p:txBody>
        </p:sp>
      </p:grpSp>
      <p:sp>
        <p:nvSpPr>
          <p:cNvPr id="56" name="Text Placeholder 2">
            <a:extLst>
              <a:ext uri="{FF2B5EF4-FFF2-40B4-BE49-F238E27FC236}">
                <a16:creationId xmlns:a16="http://schemas.microsoft.com/office/drawing/2014/main" id="{9A554DBE-6A21-2D37-76AD-906BA4083C87}"/>
              </a:ext>
            </a:extLst>
          </p:cNvPr>
          <p:cNvSpPr txBox="1">
            <a:spLocks/>
          </p:cNvSpPr>
          <p:nvPr/>
        </p:nvSpPr>
        <p:spPr>
          <a:xfrm>
            <a:off x="8526231" y="5352014"/>
            <a:ext cx="1902948" cy="44567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50000"/>
              </a:lnSpc>
            </a:pPr>
            <a:r>
              <a:rPr lang="pt-BR" sz="1800" dirty="0"/>
              <a:t>Softwares</a:t>
            </a:r>
          </a:p>
        </p:txBody>
      </p:sp>
      <p:grpSp>
        <p:nvGrpSpPr>
          <p:cNvPr id="80" name="Agrupar 79">
            <a:extLst>
              <a:ext uri="{FF2B5EF4-FFF2-40B4-BE49-F238E27FC236}">
                <a16:creationId xmlns:a16="http://schemas.microsoft.com/office/drawing/2014/main" id="{B1F1038F-B325-21AF-8564-BF0FF0D797EE}"/>
              </a:ext>
            </a:extLst>
          </p:cNvPr>
          <p:cNvGrpSpPr/>
          <p:nvPr/>
        </p:nvGrpSpPr>
        <p:grpSpPr>
          <a:xfrm>
            <a:off x="1698098" y="4311666"/>
            <a:ext cx="3161665" cy="423449"/>
            <a:chOff x="1698098" y="4311666"/>
            <a:chExt cx="3161665" cy="423449"/>
          </a:xfrm>
        </p:grpSpPr>
        <p:sp>
          <p:nvSpPr>
            <p:cNvPr id="51" name="CaixaDeTexto 50">
              <a:extLst>
                <a:ext uri="{FF2B5EF4-FFF2-40B4-BE49-F238E27FC236}">
                  <a16:creationId xmlns:a16="http://schemas.microsoft.com/office/drawing/2014/main" id="{4E9F6F0C-5E78-DE65-D646-D1482617B45F}"/>
                </a:ext>
              </a:extLst>
            </p:cNvPr>
            <p:cNvSpPr txBox="1"/>
            <p:nvPr/>
          </p:nvSpPr>
          <p:spPr>
            <a:xfrm>
              <a:off x="2044802" y="4311666"/>
              <a:ext cx="2814961" cy="423449"/>
            </a:xfrm>
            <a:prstGeom prst="rect">
              <a:avLst/>
            </a:prstGeom>
            <a:noFill/>
          </p:spPr>
          <p:txBody>
            <a:bodyPr wrap="square">
              <a:spAutoFit/>
            </a:bodyPr>
            <a:lstStyle/>
            <a:p>
              <a:pPr>
                <a:lnSpc>
                  <a:spcPct val="150000"/>
                </a:lnSpc>
              </a:pPr>
              <a:r>
                <a:rPr lang="pt-BR" sz="1600" b="1" dirty="0"/>
                <a:t>Life Cycle Impact Assessment;</a:t>
              </a:r>
            </a:p>
          </p:txBody>
        </p:sp>
        <p:sp>
          <p:nvSpPr>
            <p:cNvPr id="12" name="Elipse 54">
              <a:extLst>
                <a:ext uri="{FF2B5EF4-FFF2-40B4-BE49-F238E27FC236}">
                  <a16:creationId xmlns:a16="http://schemas.microsoft.com/office/drawing/2014/main" id="{79B35411-0B95-4197-8E9C-13D742775A23}"/>
                </a:ext>
              </a:extLst>
            </p:cNvPr>
            <p:cNvSpPr/>
            <p:nvPr/>
          </p:nvSpPr>
          <p:spPr>
            <a:xfrm>
              <a:off x="1698098" y="4521224"/>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79" name="Agrupar 78">
            <a:extLst>
              <a:ext uri="{FF2B5EF4-FFF2-40B4-BE49-F238E27FC236}">
                <a16:creationId xmlns:a16="http://schemas.microsoft.com/office/drawing/2014/main" id="{A5DC7BD7-4C7C-49AA-0B51-35DCFA9F1696}"/>
              </a:ext>
            </a:extLst>
          </p:cNvPr>
          <p:cNvGrpSpPr/>
          <p:nvPr/>
        </p:nvGrpSpPr>
        <p:grpSpPr>
          <a:xfrm>
            <a:off x="1698098" y="3915153"/>
            <a:ext cx="3161664" cy="423449"/>
            <a:chOff x="1698098" y="3915153"/>
            <a:chExt cx="3161664" cy="423449"/>
          </a:xfrm>
        </p:grpSpPr>
        <p:sp>
          <p:nvSpPr>
            <p:cNvPr id="49" name="CaixaDeTexto 48">
              <a:extLst>
                <a:ext uri="{FF2B5EF4-FFF2-40B4-BE49-F238E27FC236}">
                  <a16:creationId xmlns:a16="http://schemas.microsoft.com/office/drawing/2014/main" id="{4CFDB96D-55B8-9BCB-3682-42D251E21293}"/>
                </a:ext>
              </a:extLst>
            </p:cNvPr>
            <p:cNvSpPr txBox="1"/>
            <p:nvPr/>
          </p:nvSpPr>
          <p:spPr>
            <a:xfrm>
              <a:off x="2044802" y="3915153"/>
              <a:ext cx="2814960" cy="423449"/>
            </a:xfrm>
            <a:prstGeom prst="rect">
              <a:avLst/>
            </a:prstGeom>
            <a:noFill/>
          </p:spPr>
          <p:txBody>
            <a:bodyPr wrap="square">
              <a:spAutoFit/>
            </a:bodyPr>
            <a:lstStyle/>
            <a:p>
              <a:pPr>
                <a:lnSpc>
                  <a:spcPct val="150000"/>
                </a:lnSpc>
              </a:pPr>
              <a:r>
                <a:rPr lang="pt-BR" sz="1600" b="1" dirty="0"/>
                <a:t>Life Cycle Inventories;</a:t>
              </a:r>
            </a:p>
          </p:txBody>
        </p:sp>
        <p:sp>
          <p:nvSpPr>
            <p:cNvPr id="13" name="Elipse 54">
              <a:extLst>
                <a:ext uri="{FF2B5EF4-FFF2-40B4-BE49-F238E27FC236}">
                  <a16:creationId xmlns:a16="http://schemas.microsoft.com/office/drawing/2014/main" id="{E383F2AB-7789-A0A7-0C9D-D424610EA0CD}"/>
                </a:ext>
              </a:extLst>
            </p:cNvPr>
            <p:cNvSpPr/>
            <p:nvPr/>
          </p:nvSpPr>
          <p:spPr>
            <a:xfrm>
              <a:off x="1698098" y="4126781"/>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78" name="Agrupar 77">
            <a:extLst>
              <a:ext uri="{FF2B5EF4-FFF2-40B4-BE49-F238E27FC236}">
                <a16:creationId xmlns:a16="http://schemas.microsoft.com/office/drawing/2014/main" id="{5DDA4062-8545-0A7B-371B-E5352EA5693B}"/>
              </a:ext>
            </a:extLst>
          </p:cNvPr>
          <p:cNvGrpSpPr/>
          <p:nvPr/>
        </p:nvGrpSpPr>
        <p:grpSpPr>
          <a:xfrm>
            <a:off x="1698098" y="3528368"/>
            <a:ext cx="3251597" cy="423449"/>
            <a:chOff x="1698098" y="3528368"/>
            <a:chExt cx="3251597" cy="423449"/>
          </a:xfrm>
        </p:grpSpPr>
        <p:sp>
          <p:nvSpPr>
            <p:cNvPr id="46" name="CaixaDeTexto 45">
              <a:extLst>
                <a:ext uri="{FF2B5EF4-FFF2-40B4-BE49-F238E27FC236}">
                  <a16:creationId xmlns:a16="http://schemas.microsoft.com/office/drawing/2014/main" id="{E22B80D9-3965-F388-82CF-C6A729314FE9}"/>
                </a:ext>
              </a:extLst>
            </p:cNvPr>
            <p:cNvSpPr txBox="1"/>
            <p:nvPr/>
          </p:nvSpPr>
          <p:spPr>
            <a:xfrm>
              <a:off x="2044802" y="3528368"/>
              <a:ext cx="2904893" cy="423449"/>
            </a:xfrm>
            <a:prstGeom prst="rect">
              <a:avLst/>
            </a:prstGeom>
            <a:noFill/>
          </p:spPr>
          <p:txBody>
            <a:bodyPr wrap="square">
              <a:spAutoFit/>
            </a:bodyPr>
            <a:lstStyle/>
            <a:p>
              <a:pPr>
                <a:lnSpc>
                  <a:spcPct val="150000"/>
                </a:lnSpc>
              </a:pPr>
              <a:r>
                <a:rPr lang="en-US" sz="1600" b="1" dirty="0"/>
                <a:t>Secondary databases;</a:t>
              </a:r>
              <a:endParaRPr lang="pt-BR" sz="1600" b="1" dirty="0"/>
            </a:p>
          </p:txBody>
        </p:sp>
        <p:sp>
          <p:nvSpPr>
            <p:cNvPr id="25" name="Elipse 54">
              <a:extLst>
                <a:ext uri="{FF2B5EF4-FFF2-40B4-BE49-F238E27FC236}">
                  <a16:creationId xmlns:a16="http://schemas.microsoft.com/office/drawing/2014/main" id="{F5E7160C-3E38-B438-49FF-4B227A906D78}"/>
                </a:ext>
              </a:extLst>
            </p:cNvPr>
            <p:cNvSpPr/>
            <p:nvPr/>
          </p:nvSpPr>
          <p:spPr>
            <a:xfrm>
              <a:off x="1698098" y="3747002"/>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77" name="Agrupar 76">
            <a:extLst>
              <a:ext uri="{FF2B5EF4-FFF2-40B4-BE49-F238E27FC236}">
                <a16:creationId xmlns:a16="http://schemas.microsoft.com/office/drawing/2014/main" id="{5D83E233-90CE-7841-D402-B4719E3BE829}"/>
              </a:ext>
            </a:extLst>
          </p:cNvPr>
          <p:cNvGrpSpPr/>
          <p:nvPr/>
        </p:nvGrpSpPr>
        <p:grpSpPr>
          <a:xfrm>
            <a:off x="1698098" y="3112399"/>
            <a:ext cx="3528156" cy="423449"/>
            <a:chOff x="1698098" y="3112399"/>
            <a:chExt cx="3528156" cy="423449"/>
          </a:xfrm>
        </p:grpSpPr>
        <p:sp>
          <p:nvSpPr>
            <p:cNvPr id="2" name="CaixaDeTexto 25">
              <a:extLst>
                <a:ext uri="{FF2B5EF4-FFF2-40B4-BE49-F238E27FC236}">
                  <a16:creationId xmlns:a16="http://schemas.microsoft.com/office/drawing/2014/main" id="{2E5F1E2C-2C12-35F1-4834-47D944BAAEA0}"/>
                </a:ext>
              </a:extLst>
            </p:cNvPr>
            <p:cNvSpPr txBox="1"/>
            <p:nvPr/>
          </p:nvSpPr>
          <p:spPr>
            <a:xfrm>
              <a:off x="2044802" y="3112399"/>
              <a:ext cx="3181452" cy="423449"/>
            </a:xfrm>
            <a:prstGeom prst="rect">
              <a:avLst/>
            </a:prstGeom>
            <a:noFill/>
          </p:spPr>
          <p:txBody>
            <a:bodyPr wrap="square">
              <a:spAutoFit/>
            </a:bodyPr>
            <a:lstStyle/>
            <a:p>
              <a:pPr>
                <a:lnSpc>
                  <a:spcPct val="150000"/>
                </a:lnSpc>
              </a:pPr>
              <a:r>
                <a:rPr lang="en-US" sz="1600" b="1" dirty="0"/>
                <a:t>Scenarios definition;</a:t>
              </a:r>
              <a:endParaRPr lang="pt-BR" sz="1600" b="1" dirty="0"/>
            </a:p>
          </p:txBody>
        </p:sp>
        <p:sp>
          <p:nvSpPr>
            <p:cNvPr id="27" name="Elipse 54">
              <a:extLst>
                <a:ext uri="{FF2B5EF4-FFF2-40B4-BE49-F238E27FC236}">
                  <a16:creationId xmlns:a16="http://schemas.microsoft.com/office/drawing/2014/main" id="{31DBB190-A8D7-FFA8-2C87-DD44D431E2A2}"/>
                </a:ext>
              </a:extLst>
            </p:cNvPr>
            <p:cNvSpPr/>
            <p:nvPr/>
          </p:nvSpPr>
          <p:spPr>
            <a:xfrm>
              <a:off x="1698098" y="3333976"/>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76" name="Agrupar 75">
            <a:extLst>
              <a:ext uri="{FF2B5EF4-FFF2-40B4-BE49-F238E27FC236}">
                <a16:creationId xmlns:a16="http://schemas.microsoft.com/office/drawing/2014/main" id="{9377FF08-D25B-5A8F-9D5B-63131B090893}"/>
              </a:ext>
            </a:extLst>
          </p:cNvPr>
          <p:cNvGrpSpPr/>
          <p:nvPr/>
        </p:nvGrpSpPr>
        <p:grpSpPr>
          <a:xfrm>
            <a:off x="1698098" y="2725614"/>
            <a:ext cx="3528156" cy="423449"/>
            <a:chOff x="1698098" y="2725614"/>
            <a:chExt cx="3528156" cy="423449"/>
          </a:xfrm>
        </p:grpSpPr>
        <p:sp>
          <p:nvSpPr>
            <p:cNvPr id="26" name="CaixaDeTexto 25">
              <a:extLst>
                <a:ext uri="{FF2B5EF4-FFF2-40B4-BE49-F238E27FC236}">
                  <a16:creationId xmlns:a16="http://schemas.microsoft.com/office/drawing/2014/main" id="{AE0E2798-9EBC-7DDE-D3D2-DA143E8F038E}"/>
                </a:ext>
              </a:extLst>
            </p:cNvPr>
            <p:cNvSpPr txBox="1"/>
            <p:nvPr/>
          </p:nvSpPr>
          <p:spPr>
            <a:xfrm>
              <a:off x="2044802" y="2725614"/>
              <a:ext cx="3181452" cy="423449"/>
            </a:xfrm>
            <a:prstGeom prst="rect">
              <a:avLst/>
            </a:prstGeom>
            <a:noFill/>
          </p:spPr>
          <p:txBody>
            <a:bodyPr wrap="square">
              <a:spAutoFit/>
            </a:bodyPr>
            <a:lstStyle/>
            <a:p>
              <a:pPr>
                <a:lnSpc>
                  <a:spcPct val="150000"/>
                </a:lnSpc>
              </a:pPr>
              <a:r>
                <a:rPr lang="en-US" sz="1600" b="1" dirty="0"/>
                <a:t>Mapping of primary data;</a:t>
              </a:r>
              <a:endParaRPr lang="pt-BR" sz="1600" b="1" dirty="0"/>
            </a:p>
          </p:txBody>
        </p:sp>
        <p:sp>
          <p:nvSpPr>
            <p:cNvPr id="28" name="Elipse 54">
              <a:extLst>
                <a:ext uri="{FF2B5EF4-FFF2-40B4-BE49-F238E27FC236}">
                  <a16:creationId xmlns:a16="http://schemas.microsoft.com/office/drawing/2014/main" id="{EA30B37E-97D7-D097-5957-56A0CC3A1EF4}"/>
                </a:ext>
              </a:extLst>
            </p:cNvPr>
            <p:cNvSpPr/>
            <p:nvPr/>
          </p:nvSpPr>
          <p:spPr>
            <a:xfrm>
              <a:off x="1698098" y="2933183"/>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75" name="Agrupar 74">
            <a:extLst>
              <a:ext uri="{FF2B5EF4-FFF2-40B4-BE49-F238E27FC236}">
                <a16:creationId xmlns:a16="http://schemas.microsoft.com/office/drawing/2014/main" id="{906072C5-F7B0-7B43-E240-E3C9A5BC7D20}"/>
              </a:ext>
            </a:extLst>
          </p:cNvPr>
          <p:cNvGrpSpPr/>
          <p:nvPr/>
        </p:nvGrpSpPr>
        <p:grpSpPr>
          <a:xfrm>
            <a:off x="1698098" y="2329101"/>
            <a:ext cx="4058642" cy="423449"/>
            <a:chOff x="1698098" y="2329101"/>
            <a:chExt cx="4058642" cy="423449"/>
          </a:xfrm>
        </p:grpSpPr>
        <p:sp>
          <p:nvSpPr>
            <p:cNvPr id="7" name="CaixaDeTexto 25">
              <a:extLst>
                <a:ext uri="{FF2B5EF4-FFF2-40B4-BE49-F238E27FC236}">
                  <a16:creationId xmlns:a16="http://schemas.microsoft.com/office/drawing/2014/main" id="{35B7BDD6-28A3-EB47-5DA5-206CBC2911B1}"/>
                </a:ext>
              </a:extLst>
            </p:cNvPr>
            <p:cNvSpPr txBox="1"/>
            <p:nvPr/>
          </p:nvSpPr>
          <p:spPr>
            <a:xfrm>
              <a:off x="2044801" y="2329101"/>
              <a:ext cx="3711939" cy="423449"/>
            </a:xfrm>
            <a:prstGeom prst="rect">
              <a:avLst/>
            </a:prstGeom>
            <a:noFill/>
          </p:spPr>
          <p:txBody>
            <a:bodyPr wrap="square">
              <a:spAutoFit/>
            </a:bodyPr>
            <a:lstStyle/>
            <a:p>
              <a:pPr>
                <a:lnSpc>
                  <a:spcPct val="150000"/>
                </a:lnSpc>
              </a:pPr>
              <a:r>
                <a:rPr lang="en-US" sz="1600" b="1" dirty="0"/>
                <a:t>ABNT NBR:ISO 14040/ NBR:ISO 14044;</a:t>
              </a:r>
              <a:endParaRPr lang="pt-BR" sz="1600" b="1" dirty="0"/>
            </a:p>
          </p:txBody>
        </p:sp>
        <p:sp>
          <p:nvSpPr>
            <p:cNvPr id="29" name="Elipse 54">
              <a:extLst>
                <a:ext uri="{FF2B5EF4-FFF2-40B4-BE49-F238E27FC236}">
                  <a16:creationId xmlns:a16="http://schemas.microsoft.com/office/drawing/2014/main" id="{34BE5C75-95C1-9209-0D77-43E91D555854}"/>
                </a:ext>
              </a:extLst>
            </p:cNvPr>
            <p:cNvSpPr/>
            <p:nvPr/>
          </p:nvSpPr>
          <p:spPr>
            <a:xfrm>
              <a:off x="1698098" y="2538085"/>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72" name="Agrupar 71">
            <a:extLst>
              <a:ext uri="{FF2B5EF4-FFF2-40B4-BE49-F238E27FC236}">
                <a16:creationId xmlns:a16="http://schemas.microsoft.com/office/drawing/2014/main" id="{45188C12-6685-6454-5A44-B17F8273263F}"/>
              </a:ext>
            </a:extLst>
          </p:cNvPr>
          <p:cNvGrpSpPr/>
          <p:nvPr/>
        </p:nvGrpSpPr>
        <p:grpSpPr>
          <a:xfrm>
            <a:off x="8164380" y="4143038"/>
            <a:ext cx="2563623" cy="1208976"/>
            <a:chOff x="8358933" y="4143038"/>
            <a:chExt cx="2563623" cy="1208976"/>
          </a:xfrm>
          <a:effectLst>
            <a:outerShdw blurRad="50800" dist="38100" dir="2700000" algn="tl" rotWithShape="0">
              <a:prstClr val="black">
                <a:alpha val="15000"/>
              </a:prstClr>
            </a:outerShdw>
          </a:effectLst>
        </p:grpSpPr>
        <p:grpSp>
          <p:nvGrpSpPr>
            <p:cNvPr id="69" name="Agrupar 68">
              <a:extLst>
                <a:ext uri="{FF2B5EF4-FFF2-40B4-BE49-F238E27FC236}">
                  <a16:creationId xmlns:a16="http://schemas.microsoft.com/office/drawing/2014/main" id="{6AA74054-5044-3AC5-04A9-1D966B6FFD44}"/>
                </a:ext>
              </a:extLst>
            </p:cNvPr>
            <p:cNvGrpSpPr/>
            <p:nvPr/>
          </p:nvGrpSpPr>
          <p:grpSpPr>
            <a:xfrm>
              <a:off x="8358933" y="4143038"/>
              <a:ext cx="2563623" cy="1208976"/>
              <a:chOff x="8358933" y="4143038"/>
              <a:chExt cx="2563623" cy="1208976"/>
            </a:xfrm>
          </p:grpSpPr>
          <p:sp>
            <p:nvSpPr>
              <p:cNvPr id="68" name="Retângulo 67">
                <a:extLst>
                  <a:ext uri="{FF2B5EF4-FFF2-40B4-BE49-F238E27FC236}">
                    <a16:creationId xmlns:a16="http://schemas.microsoft.com/office/drawing/2014/main" id="{AA049321-A4F6-ACAF-1EE0-8125B6487725}"/>
                  </a:ext>
                </a:extLst>
              </p:cNvPr>
              <p:cNvSpPr/>
              <p:nvPr/>
            </p:nvSpPr>
            <p:spPr>
              <a:xfrm>
                <a:off x="8368660" y="4143038"/>
                <a:ext cx="2553896" cy="1208976"/>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9" name="Conector reto 58">
                <a:extLst>
                  <a:ext uri="{FF2B5EF4-FFF2-40B4-BE49-F238E27FC236}">
                    <a16:creationId xmlns:a16="http://schemas.microsoft.com/office/drawing/2014/main" id="{60E4D0D5-A518-F6A2-AE11-07DBAD67988B}"/>
                  </a:ext>
                </a:extLst>
              </p:cNvPr>
              <p:cNvCxnSpPr>
                <a:cxnSpLocks/>
              </p:cNvCxnSpPr>
              <p:nvPr/>
            </p:nvCxnSpPr>
            <p:spPr>
              <a:xfrm>
                <a:off x="8358933" y="4143038"/>
                <a:ext cx="0" cy="120897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1" name="Imagem 40">
              <a:extLst>
                <a:ext uri="{FF2B5EF4-FFF2-40B4-BE49-F238E27FC236}">
                  <a16:creationId xmlns:a16="http://schemas.microsoft.com/office/drawing/2014/main" id="{4903D5B7-E8DE-87AE-5427-65DCE6C11105}"/>
                </a:ext>
              </a:extLst>
            </p:cNvPr>
            <p:cNvPicPr>
              <a:picLocks noChangeAspect="1"/>
            </p:cNvPicPr>
            <p:nvPr/>
          </p:nvPicPr>
          <p:blipFill rotWithShape="1">
            <a:blip r:embed="rId3">
              <a:extLst>
                <a:ext uri="{28A0092B-C50C-407E-A947-70E740481C1C}">
                  <a14:useLocalDpi xmlns:a14="http://schemas.microsoft.com/office/drawing/2010/main" val="0"/>
                </a:ext>
              </a:extLst>
            </a:blip>
            <a:srcRect t="9848" b="39228"/>
            <a:stretch/>
          </p:blipFill>
          <p:spPr>
            <a:xfrm>
              <a:off x="8397844" y="4143038"/>
              <a:ext cx="2257003" cy="1208976"/>
            </a:xfrm>
            <a:prstGeom prst="rect">
              <a:avLst/>
            </a:prstGeom>
            <a:effectLst/>
          </p:spPr>
        </p:pic>
      </p:grpSp>
      <p:grpSp>
        <p:nvGrpSpPr>
          <p:cNvPr id="71" name="Agrupar 70">
            <a:extLst>
              <a:ext uri="{FF2B5EF4-FFF2-40B4-BE49-F238E27FC236}">
                <a16:creationId xmlns:a16="http://schemas.microsoft.com/office/drawing/2014/main" id="{1F2D8F17-FAB5-0DF2-A0BE-DF3856A1825C}"/>
              </a:ext>
            </a:extLst>
          </p:cNvPr>
          <p:cNvGrpSpPr/>
          <p:nvPr/>
        </p:nvGrpSpPr>
        <p:grpSpPr>
          <a:xfrm>
            <a:off x="8164380" y="2752550"/>
            <a:ext cx="2563623" cy="1090105"/>
            <a:chOff x="8358933" y="2752550"/>
            <a:chExt cx="2563623" cy="1090105"/>
          </a:xfrm>
          <a:effectLst>
            <a:outerShdw blurRad="50800" dist="38100" dir="2700000" algn="tl" rotWithShape="0">
              <a:prstClr val="black">
                <a:alpha val="15000"/>
              </a:prstClr>
            </a:outerShdw>
          </a:effectLst>
        </p:grpSpPr>
        <p:grpSp>
          <p:nvGrpSpPr>
            <p:cNvPr id="70" name="Agrupar 69">
              <a:extLst>
                <a:ext uri="{FF2B5EF4-FFF2-40B4-BE49-F238E27FC236}">
                  <a16:creationId xmlns:a16="http://schemas.microsoft.com/office/drawing/2014/main" id="{6DEF8FCA-5CB4-2FF2-264D-909972156AF1}"/>
                </a:ext>
              </a:extLst>
            </p:cNvPr>
            <p:cNvGrpSpPr/>
            <p:nvPr/>
          </p:nvGrpSpPr>
          <p:grpSpPr>
            <a:xfrm>
              <a:off x="8358933" y="2752550"/>
              <a:ext cx="2563623" cy="1090105"/>
              <a:chOff x="8358933" y="2752550"/>
              <a:chExt cx="2563623" cy="1090105"/>
            </a:xfrm>
          </p:grpSpPr>
          <p:sp>
            <p:nvSpPr>
              <p:cNvPr id="60" name="Retângulo 59">
                <a:extLst>
                  <a:ext uri="{FF2B5EF4-FFF2-40B4-BE49-F238E27FC236}">
                    <a16:creationId xmlns:a16="http://schemas.microsoft.com/office/drawing/2014/main" id="{4030CE81-0586-78A1-B2F8-9595D1F272C8}"/>
                  </a:ext>
                </a:extLst>
              </p:cNvPr>
              <p:cNvSpPr/>
              <p:nvPr/>
            </p:nvSpPr>
            <p:spPr>
              <a:xfrm>
                <a:off x="8368660" y="2752550"/>
                <a:ext cx="2553896" cy="109010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8" name="Conector reto 57">
                <a:extLst>
                  <a:ext uri="{FF2B5EF4-FFF2-40B4-BE49-F238E27FC236}">
                    <a16:creationId xmlns:a16="http://schemas.microsoft.com/office/drawing/2014/main" id="{E7AE88D7-1E23-7F1A-87A9-924B1E977038}"/>
                  </a:ext>
                </a:extLst>
              </p:cNvPr>
              <p:cNvCxnSpPr>
                <a:cxnSpLocks/>
              </p:cNvCxnSpPr>
              <p:nvPr/>
            </p:nvCxnSpPr>
            <p:spPr>
              <a:xfrm>
                <a:off x="8358933" y="2752550"/>
                <a:ext cx="0" cy="1090105"/>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5" name="Imagem 44">
              <a:extLst>
                <a:ext uri="{FF2B5EF4-FFF2-40B4-BE49-F238E27FC236}">
                  <a16:creationId xmlns:a16="http://schemas.microsoft.com/office/drawing/2014/main" id="{7CD05BBF-C90F-F1DC-4BFF-2C69D307E1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76611" y="2831131"/>
              <a:ext cx="1972024" cy="920542"/>
            </a:xfrm>
            <a:prstGeom prst="rect">
              <a:avLst/>
            </a:prstGeom>
          </p:spPr>
        </p:pic>
      </p:grpSp>
      <p:grpSp>
        <p:nvGrpSpPr>
          <p:cNvPr id="84" name="Agrupar 83">
            <a:extLst>
              <a:ext uri="{FF2B5EF4-FFF2-40B4-BE49-F238E27FC236}">
                <a16:creationId xmlns:a16="http://schemas.microsoft.com/office/drawing/2014/main" id="{2D1EA721-5250-C76C-FA7F-FF7CAABAC510}"/>
              </a:ext>
            </a:extLst>
          </p:cNvPr>
          <p:cNvGrpSpPr/>
          <p:nvPr/>
        </p:nvGrpSpPr>
        <p:grpSpPr>
          <a:xfrm>
            <a:off x="1698098" y="4708180"/>
            <a:ext cx="3635023" cy="589407"/>
            <a:chOff x="1698098" y="4708180"/>
            <a:chExt cx="3635023" cy="589407"/>
          </a:xfrm>
        </p:grpSpPr>
        <p:sp>
          <p:nvSpPr>
            <p:cNvPr id="30" name="Elipse 54">
              <a:extLst>
                <a:ext uri="{FF2B5EF4-FFF2-40B4-BE49-F238E27FC236}">
                  <a16:creationId xmlns:a16="http://schemas.microsoft.com/office/drawing/2014/main" id="{F30034BD-2098-35D7-3263-B704071540A5}"/>
                </a:ext>
              </a:extLst>
            </p:cNvPr>
            <p:cNvSpPr/>
            <p:nvPr/>
          </p:nvSpPr>
          <p:spPr>
            <a:xfrm>
              <a:off x="1698098" y="4920292"/>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3" name="Text Placeholder 2">
              <a:extLst>
                <a:ext uri="{FF2B5EF4-FFF2-40B4-BE49-F238E27FC236}">
                  <a16:creationId xmlns:a16="http://schemas.microsoft.com/office/drawing/2014/main" id="{7DCEA1E7-2B09-6730-1A52-788EE44CA3A4}"/>
                </a:ext>
              </a:extLst>
            </p:cNvPr>
            <p:cNvSpPr txBox="1">
              <a:spLocks/>
            </p:cNvSpPr>
            <p:nvPr/>
          </p:nvSpPr>
          <p:spPr>
            <a:xfrm>
              <a:off x="2044802" y="4708180"/>
              <a:ext cx="3288319" cy="58940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pt-BR" sz="1600" b="1" dirty="0" err="1"/>
                <a:t>Certifications</a:t>
              </a:r>
              <a:r>
                <a:rPr lang="pt-BR" sz="1600" b="1" dirty="0"/>
                <a:t> / Self-</a:t>
              </a:r>
              <a:r>
                <a:rPr lang="pt-BR" sz="1600" b="1" dirty="0" err="1"/>
                <a:t>declarations</a:t>
              </a:r>
              <a:r>
                <a:rPr lang="pt-BR" sz="1600" b="1" dirty="0"/>
                <a:t>.</a:t>
              </a:r>
            </a:p>
          </p:txBody>
        </p:sp>
      </p:grpSp>
    </p:spTree>
    <p:extLst>
      <p:ext uri="{BB962C8B-B14F-4D97-AF65-F5344CB8AC3E}">
        <p14:creationId xmlns:p14="http://schemas.microsoft.com/office/powerpoint/2010/main" val="26685843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3F7F3-F94C-4487-83C0-D86C873AF91B}"/>
              </a:ext>
            </a:extLst>
          </p:cNvPr>
          <p:cNvSpPr>
            <a:spLocks noGrp="1"/>
          </p:cNvSpPr>
          <p:nvPr>
            <p:ph type="title"/>
          </p:nvPr>
        </p:nvSpPr>
        <p:spPr>
          <a:xfrm>
            <a:off x="1667413" y="496343"/>
            <a:ext cx="2778127" cy="1058162"/>
          </a:xfrm>
        </p:spPr>
        <p:txBody>
          <a:bodyPr/>
          <a:lstStyle/>
          <a:p>
            <a:pPr algn="l"/>
            <a:r>
              <a:rPr lang="en-US" sz="4000" dirty="0"/>
              <a:t>D4CE of Packaging </a:t>
            </a:r>
          </a:p>
        </p:txBody>
      </p:sp>
      <p:grpSp>
        <p:nvGrpSpPr>
          <p:cNvPr id="64" name="Agrupar 63">
            <a:extLst>
              <a:ext uri="{FF2B5EF4-FFF2-40B4-BE49-F238E27FC236}">
                <a16:creationId xmlns:a16="http://schemas.microsoft.com/office/drawing/2014/main" id="{935CE896-0ADA-6907-A9B9-E5BBA872CF87}"/>
              </a:ext>
            </a:extLst>
          </p:cNvPr>
          <p:cNvGrpSpPr/>
          <p:nvPr/>
        </p:nvGrpSpPr>
        <p:grpSpPr>
          <a:xfrm>
            <a:off x="112578" y="293165"/>
            <a:ext cx="1536437" cy="1536437"/>
            <a:chOff x="2351303" y="3025675"/>
            <a:chExt cx="808992" cy="808992"/>
          </a:xfrm>
        </p:grpSpPr>
        <p:sp>
          <p:nvSpPr>
            <p:cNvPr id="20" name="Oval 11">
              <a:extLst>
                <a:ext uri="{FF2B5EF4-FFF2-40B4-BE49-F238E27FC236}">
                  <a16:creationId xmlns:a16="http://schemas.microsoft.com/office/drawing/2014/main" id="{12500859-322F-E2B8-D70A-4E1200CE41E8}"/>
                </a:ext>
              </a:extLst>
            </p:cNvPr>
            <p:cNvSpPr/>
            <p:nvPr/>
          </p:nvSpPr>
          <p:spPr>
            <a:xfrm>
              <a:off x="2351303" y="3025675"/>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21" name="Graphic 22">
              <a:extLst>
                <a:ext uri="{FF2B5EF4-FFF2-40B4-BE49-F238E27FC236}">
                  <a16:creationId xmlns:a16="http://schemas.microsoft.com/office/drawing/2014/main" id="{F5555A93-CE4D-695A-6A5E-515F93209F1E}"/>
                </a:ext>
              </a:extLst>
            </p:cNvPr>
            <p:cNvGrpSpPr/>
            <p:nvPr/>
          </p:nvGrpSpPr>
          <p:grpSpPr>
            <a:xfrm>
              <a:off x="2508071" y="3176595"/>
              <a:ext cx="517678" cy="517790"/>
              <a:chOff x="6647196" y="2870769"/>
              <a:chExt cx="517678" cy="517790"/>
            </a:xfrm>
            <a:solidFill>
              <a:srgbClr val="000532"/>
            </a:solidFill>
          </p:grpSpPr>
          <p:sp>
            <p:nvSpPr>
              <p:cNvPr id="22" name="Forma Livre: Forma 21">
                <a:extLst>
                  <a:ext uri="{FF2B5EF4-FFF2-40B4-BE49-F238E27FC236}">
                    <a16:creationId xmlns:a16="http://schemas.microsoft.com/office/drawing/2014/main" id="{66AA805D-812E-C665-4DFC-947260A9E075}"/>
                  </a:ext>
                </a:extLst>
              </p:cNvPr>
              <p:cNvSpPr/>
              <p:nvPr/>
            </p:nvSpPr>
            <p:spPr>
              <a:xfrm>
                <a:off x="7145336" y="2975737"/>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8"/>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23" name="Forma Livre: Forma 22">
                <a:extLst>
                  <a:ext uri="{FF2B5EF4-FFF2-40B4-BE49-F238E27FC236}">
                    <a16:creationId xmlns:a16="http://schemas.microsoft.com/office/drawing/2014/main" id="{3F8E1773-093D-D151-DF27-F5C71BCC7688}"/>
                  </a:ext>
                </a:extLst>
              </p:cNvPr>
              <p:cNvSpPr/>
              <p:nvPr/>
            </p:nvSpPr>
            <p:spPr>
              <a:xfrm>
                <a:off x="6786314" y="3180384"/>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24" name="Forma Livre: Forma 23">
                <a:extLst>
                  <a:ext uri="{FF2B5EF4-FFF2-40B4-BE49-F238E27FC236}">
                    <a16:creationId xmlns:a16="http://schemas.microsoft.com/office/drawing/2014/main" id="{935B3448-57CF-A467-D042-8F74D72533C4}"/>
                  </a:ext>
                </a:extLst>
              </p:cNvPr>
              <p:cNvSpPr/>
              <p:nvPr/>
            </p:nvSpPr>
            <p:spPr>
              <a:xfrm>
                <a:off x="6750430" y="3201101"/>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25" name="Forma Livre: Forma 24">
                <a:extLst>
                  <a:ext uri="{FF2B5EF4-FFF2-40B4-BE49-F238E27FC236}">
                    <a16:creationId xmlns:a16="http://schemas.microsoft.com/office/drawing/2014/main" id="{6B7AF8E0-84E1-0850-327E-A83FDE485EA5}"/>
                  </a:ext>
                </a:extLst>
              </p:cNvPr>
              <p:cNvSpPr/>
              <p:nvPr/>
            </p:nvSpPr>
            <p:spPr>
              <a:xfrm>
                <a:off x="6678660" y="3242533"/>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26" name="Forma Livre: Forma 25">
                <a:extLst>
                  <a:ext uri="{FF2B5EF4-FFF2-40B4-BE49-F238E27FC236}">
                    <a16:creationId xmlns:a16="http://schemas.microsoft.com/office/drawing/2014/main" id="{01A761EA-E7C0-9F22-8A84-F26FC5AEB373}"/>
                  </a:ext>
                </a:extLst>
              </p:cNvPr>
              <p:cNvSpPr/>
              <p:nvPr/>
            </p:nvSpPr>
            <p:spPr>
              <a:xfrm>
                <a:off x="7109365" y="2993766"/>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27" name="Forma Livre: Forma 26">
                <a:extLst>
                  <a:ext uri="{FF2B5EF4-FFF2-40B4-BE49-F238E27FC236}">
                    <a16:creationId xmlns:a16="http://schemas.microsoft.com/office/drawing/2014/main" id="{D4FDED39-AC6F-FC2D-566C-DFD216196B37}"/>
                  </a:ext>
                </a:extLst>
              </p:cNvPr>
              <p:cNvSpPr/>
              <p:nvPr/>
            </p:nvSpPr>
            <p:spPr>
              <a:xfrm>
                <a:off x="6822199" y="3159582"/>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0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0"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28" name="Forma Livre: Forma 27">
                <a:extLst>
                  <a:ext uri="{FF2B5EF4-FFF2-40B4-BE49-F238E27FC236}">
                    <a16:creationId xmlns:a16="http://schemas.microsoft.com/office/drawing/2014/main" id="{C8D51310-F9C7-F61F-4707-BD387137D75D}"/>
                  </a:ext>
                </a:extLst>
              </p:cNvPr>
              <p:cNvSpPr/>
              <p:nvPr/>
            </p:nvSpPr>
            <p:spPr>
              <a:xfrm>
                <a:off x="6858084" y="3138865"/>
                <a:ext cx="24218" cy="20343"/>
              </a:xfrm>
              <a:custGeom>
                <a:avLst/>
                <a:gdLst>
                  <a:gd name="connsiteX0" fmla="*/ 23118 w 24218"/>
                  <a:gd name="connsiteY0" fmla="*/ 3788 h 20343"/>
                  <a:gd name="connsiteX1" fmla="*/ 12803 w 24218"/>
                  <a:gd name="connsiteY1" fmla="*/ 1015 h 20343"/>
                  <a:gd name="connsiteX2" fmla="*/ 3788 w 24218"/>
                  <a:gd name="connsiteY2" fmla="*/ 6215 h 20343"/>
                  <a:gd name="connsiteX3" fmla="*/ 1015 w 24218"/>
                  <a:gd name="connsiteY3" fmla="*/ 16530 h 20343"/>
                  <a:gd name="connsiteX4" fmla="*/ 7602 w 24218"/>
                  <a:gd name="connsiteY4" fmla="*/ 20344 h 20343"/>
                  <a:gd name="connsiteX5" fmla="*/ 11416 w 24218"/>
                  <a:gd name="connsiteY5" fmla="*/ 19304 h 20343"/>
                  <a:gd name="connsiteX6" fmla="*/ 20431 w 24218"/>
                  <a:gd name="connsiteY6" fmla="*/ 14103 h 20343"/>
                  <a:gd name="connsiteX7" fmla="*/ 23204 w 24218"/>
                  <a:gd name="connsiteY7" fmla="*/ 3788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3118" y="3788"/>
                    </a:moveTo>
                    <a:cubicBezTo>
                      <a:pt x="21037" y="148"/>
                      <a:pt x="16357" y="-1066"/>
                      <a:pt x="12803" y="1015"/>
                    </a:cubicBezTo>
                    <a:lnTo>
                      <a:pt x="3788" y="6215"/>
                    </a:lnTo>
                    <a:cubicBezTo>
                      <a:pt x="148" y="8296"/>
                      <a:pt x="-1066" y="12976"/>
                      <a:pt x="1015" y="16530"/>
                    </a:cubicBezTo>
                    <a:cubicBezTo>
                      <a:pt x="2401" y="18957"/>
                      <a:pt x="5002" y="20344"/>
                      <a:pt x="7602" y="20344"/>
                    </a:cubicBezTo>
                    <a:cubicBezTo>
                      <a:pt x="8902" y="20344"/>
                      <a:pt x="10202" y="19997"/>
                      <a:pt x="11416" y="19304"/>
                    </a:cubicBezTo>
                    <a:lnTo>
                      <a:pt x="20431" y="14103"/>
                    </a:lnTo>
                    <a:cubicBezTo>
                      <a:pt x="24071" y="12023"/>
                      <a:pt x="25284" y="7342"/>
                      <a:pt x="23204" y="3788"/>
                    </a:cubicBezTo>
                    <a:close/>
                  </a:path>
                </a:pathLst>
              </a:custGeom>
              <a:solidFill>
                <a:srgbClr val="000532"/>
              </a:solidFill>
              <a:ln w="8572" cap="flat">
                <a:noFill/>
                <a:prstDash val="solid"/>
                <a:miter/>
              </a:ln>
            </p:spPr>
            <p:txBody>
              <a:bodyPr rtlCol="0" anchor="ctr"/>
              <a:lstStyle/>
              <a:p>
                <a:endParaRPr lang="pt-BR"/>
              </a:p>
            </p:txBody>
          </p:sp>
          <p:sp>
            <p:nvSpPr>
              <p:cNvPr id="29" name="Forma Livre: Forma 28">
                <a:extLst>
                  <a:ext uri="{FF2B5EF4-FFF2-40B4-BE49-F238E27FC236}">
                    <a16:creationId xmlns:a16="http://schemas.microsoft.com/office/drawing/2014/main" id="{56A13F3C-F47A-BDE3-03EC-B355F222B8E1}"/>
                  </a:ext>
                </a:extLst>
              </p:cNvPr>
              <p:cNvSpPr/>
              <p:nvPr/>
            </p:nvSpPr>
            <p:spPr>
              <a:xfrm>
                <a:off x="6647456" y="3263249"/>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30" name="Forma Livre: Forma 29">
                <a:extLst>
                  <a:ext uri="{FF2B5EF4-FFF2-40B4-BE49-F238E27FC236}">
                    <a16:creationId xmlns:a16="http://schemas.microsoft.com/office/drawing/2014/main" id="{BEE8FB6B-4C87-BC9C-BFD9-E39DF7E2BA95}"/>
                  </a:ext>
                </a:extLst>
              </p:cNvPr>
              <p:cNvSpPr/>
              <p:nvPr/>
            </p:nvSpPr>
            <p:spPr>
              <a:xfrm>
                <a:off x="7145336" y="3171630"/>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31" name="Forma Livre: Forma 30">
                <a:extLst>
                  <a:ext uri="{FF2B5EF4-FFF2-40B4-BE49-F238E27FC236}">
                    <a16:creationId xmlns:a16="http://schemas.microsoft.com/office/drawing/2014/main" id="{CD0013B1-0C1B-B96D-1E9F-23AFD0DFF907}"/>
                  </a:ext>
                </a:extLst>
              </p:cNvPr>
              <p:cNvSpPr/>
              <p:nvPr/>
            </p:nvSpPr>
            <p:spPr>
              <a:xfrm>
                <a:off x="6831041" y="3350621"/>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32" name="Forma Livre: Forma 31">
                <a:extLst>
                  <a:ext uri="{FF2B5EF4-FFF2-40B4-BE49-F238E27FC236}">
                    <a16:creationId xmlns:a16="http://schemas.microsoft.com/office/drawing/2014/main" id="{53973311-F040-3285-6E11-7B4DBA00D8A2}"/>
                  </a:ext>
                </a:extLst>
              </p:cNvPr>
              <p:cNvSpPr/>
              <p:nvPr/>
            </p:nvSpPr>
            <p:spPr>
              <a:xfrm>
                <a:off x="7110318" y="3189312"/>
                <a:ext cx="23958" cy="20257"/>
              </a:xfrm>
              <a:custGeom>
                <a:avLst/>
                <a:gdLst>
                  <a:gd name="connsiteX0" fmla="*/ 22858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8"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33" name="Forma Livre: Forma 32">
                <a:extLst>
                  <a:ext uri="{FF2B5EF4-FFF2-40B4-BE49-F238E27FC236}">
                    <a16:creationId xmlns:a16="http://schemas.microsoft.com/office/drawing/2014/main" id="{7EEE8026-2D37-7199-6918-091AC6E53353}"/>
                  </a:ext>
                </a:extLst>
              </p:cNvPr>
              <p:cNvSpPr/>
              <p:nvPr/>
            </p:nvSpPr>
            <p:spPr>
              <a:xfrm>
                <a:off x="6800530" y="3370817"/>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34" name="Forma Livre: Forma 33">
                <a:extLst>
                  <a:ext uri="{FF2B5EF4-FFF2-40B4-BE49-F238E27FC236}">
                    <a16:creationId xmlns:a16="http://schemas.microsoft.com/office/drawing/2014/main" id="{F204EEB8-E8AD-E699-2CB1-9F64174F1340}"/>
                  </a:ext>
                </a:extLst>
              </p:cNvPr>
              <p:cNvSpPr/>
              <p:nvPr/>
            </p:nvSpPr>
            <p:spPr>
              <a:xfrm>
                <a:off x="6647196" y="3070996"/>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sp>
            <p:nvSpPr>
              <p:cNvPr id="35" name="Forma Livre: Forma 34">
                <a:extLst>
                  <a:ext uri="{FF2B5EF4-FFF2-40B4-BE49-F238E27FC236}">
                    <a16:creationId xmlns:a16="http://schemas.microsoft.com/office/drawing/2014/main" id="{F4FB7568-4FE5-6C01-49A2-78FEDFEB6E58}"/>
                  </a:ext>
                </a:extLst>
              </p:cNvPr>
              <p:cNvSpPr/>
              <p:nvPr/>
            </p:nvSpPr>
            <p:spPr>
              <a:xfrm>
                <a:off x="6957591" y="2888538"/>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36" name="Forma Livre: Forma 35">
                <a:extLst>
                  <a:ext uri="{FF2B5EF4-FFF2-40B4-BE49-F238E27FC236}">
                    <a16:creationId xmlns:a16="http://schemas.microsoft.com/office/drawing/2014/main" id="{BFC8A000-03DF-B5DA-9308-AED411EF264E}"/>
                  </a:ext>
                </a:extLst>
              </p:cNvPr>
              <p:cNvSpPr/>
              <p:nvPr/>
            </p:nvSpPr>
            <p:spPr>
              <a:xfrm>
                <a:off x="6922573" y="2908821"/>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37" name="Forma Livre: Forma 36">
                <a:extLst>
                  <a:ext uri="{FF2B5EF4-FFF2-40B4-BE49-F238E27FC236}">
                    <a16:creationId xmlns:a16="http://schemas.microsoft.com/office/drawing/2014/main" id="{7E9F0180-2714-FF19-2E9C-952DA9582334}"/>
                  </a:ext>
                </a:extLst>
              </p:cNvPr>
              <p:cNvSpPr/>
              <p:nvPr/>
            </p:nvSpPr>
            <p:spPr>
              <a:xfrm>
                <a:off x="6677707" y="3050714"/>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38" name="Forma Livre: Forma 37">
                <a:extLst>
                  <a:ext uri="{FF2B5EF4-FFF2-40B4-BE49-F238E27FC236}">
                    <a16:creationId xmlns:a16="http://schemas.microsoft.com/office/drawing/2014/main" id="{0AAD691F-4B5F-274C-C806-6AB40C2C944C}"/>
                  </a:ext>
                </a:extLst>
              </p:cNvPr>
              <p:cNvSpPr/>
              <p:nvPr/>
            </p:nvSpPr>
            <p:spPr>
              <a:xfrm>
                <a:off x="6992609" y="2870769"/>
                <a:ext cx="19538" cy="17743"/>
              </a:xfrm>
              <a:custGeom>
                <a:avLst/>
                <a:gdLst>
                  <a:gd name="connsiteX0" fmla="*/ 18437 w 19538"/>
                  <a:gd name="connsiteY0" fmla="*/ 3788 h 17743"/>
                  <a:gd name="connsiteX1" fmla="*/ 8122 w 19538"/>
                  <a:gd name="connsiteY1" fmla="*/ 1015 h 17743"/>
                  <a:gd name="connsiteX2" fmla="*/ 3788 w 19538"/>
                  <a:gd name="connsiteY2" fmla="*/ 3528 h 17743"/>
                  <a:gd name="connsiteX3" fmla="*/ 1015 w 19538"/>
                  <a:gd name="connsiteY3" fmla="*/ 13930 h 17743"/>
                  <a:gd name="connsiteX4" fmla="*/ 7602 w 19538"/>
                  <a:gd name="connsiteY4" fmla="*/ 17743 h 17743"/>
                  <a:gd name="connsiteX5" fmla="*/ 11416 w 19538"/>
                  <a:gd name="connsiteY5" fmla="*/ 16703 h 17743"/>
                  <a:gd name="connsiteX6" fmla="*/ 15750 w 19538"/>
                  <a:gd name="connsiteY6" fmla="*/ 14190 h 17743"/>
                  <a:gd name="connsiteX7" fmla="*/ 18524 w 19538"/>
                  <a:gd name="connsiteY7" fmla="*/ 378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8437" y="3788"/>
                    </a:moveTo>
                    <a:cubicBezTo>
                      <a:pt x="16357" y="148"/>
                      <a:pt x="11676" y="-1066"/>
                      <a:pt x="8122" y="1015"/>
                    </a:cubicBezTo>
                    <a:lnTo>
                      <a:pt x="3788" y="3528"/>
                    </a:lnTo>
                    <a:cubicBezTo>
                      <a:pt x="148" y="5609"/>
                      <a:pt x="-1066" y="10289"/>
                      <a:pt x="1015" y="13930"/>
                    </a:cubicBezTo>
                    <a:cubicBezTo>
                      <a:pt x="2401" y="16357"/>
                      <a:pt x="5002" y="17743"/>
                      <a:pt x="7602" y="17743"/>
                    </a:cubicBezTo>
                    <a:cubicBezTo>
                      <a:pt x="8902" y="17743"/>
                      <a:pt x="10202" y="17397"/>
                      <a:pt x="11416" y="16703"/>
                    </a:cubicBezTo>
                    <a:lnTo>
                      <a:pt x="15750" y="14190"/>
                    </a:lnTo>
                    <a:cubicBezTo>
                      <a:pt x="19390" y="12109"/>
                      <a:pt x="20604" y="7429"/>
                      <a:pt x="18524" y="3788"/>
                    </a:cubicBezTo>
                    <a:close/>
                  </a:path>
                </a:pathLst>
              </a:custGeom>
              <a:solidFill>
                <a:srgbClr val="000532"/>
              </a:solidFill>
              <a:ln w="8572" cap="flat">
                <a:noFill/>
                <a:prstDash val="solid"/>
                <a:miter/>
              </a:ln>
            </p:spPr>
            <p:txBody>
              <a:bodyPr rtlCol="0" anchor="ctr"/>
              <a:lstStyle/>
              <a:p>
                <a:endParaRPr lang="pt-BR"/>
              </a:p>
            </p:txBody>
          </p:sp>
        </p:grpSp>
        <p:sp>
          <p:nvSpPr>
            <p:cNvPr id="39" name="Forma Livre: Forma 38">
              <a:extLst>
                <a:ext uri="{FF2B5EF4-FFF2-40B4-BE49-F238E27FC236}">
                  <a16:creationId xmlns:a16="http://schemas.microsoft.com/office/drawing/2014/main" id="{C99DE09B-A8B7-DD50-1467-E9394753835D}"/>
                </a:ext>
              </a:extLst>
            </p:cNvPr>
            <p:cNvSpPr/>
            <p:nvPr/>
          </p:nvSpPr>
          <p:spPr>
            <a:xfrm>
              <a:off x="2508331" y="3279223"/>
              <a:ext cx="19538" cy="17743"/>
            </a:xfrm>
            <a:custGeom>
              <a:avLst/>
              <a:gdLst>
                <a:gd name="connsiteX0" fmla="*/ 15663 w 19538"/>
                <a:gd name="connsiteY0" fmla="*/ 3528 h 17743"/>
                <a:gd name="connsiteX1" fmla="*/ 11329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663" y="3528"/>
                  </a:moveTo>
                  <a:lnTo>
                    <a:pt x="11329" y="1015"/>
                  </a:lnTo>
                  <a:cubicBezTo>
                    <a:pt x="7689" y="-1066"/>
                    <a:pt x="3095" y="148"/>
                    <a:pt x="1015" y="3788"/>
                  </a:cubicBezTo>
                  <a:cubicBezTo>
                    <a:pt x="-1066" y="7429"/>
                    <a:pt x="148" y="12023"/>
                    <a:pt x="3788" y="14190"/>
                  </a:cubicBezTo>
                  <a:lnTo>
                    <a:pt x="8122" y="16703"/>
                  </a:lnTo>
                  <a:cubicBezTo>
                    <a:pt x="9336" y="17397"/>
                    <a:pt x="10636" y="17743"/>
                    <a:pt x="11936" y="17743"/>
                  </a:cubicBezTo>
                  <a:cubicBezTo>
                    <a:pt x="14536" y="17743"/>
                    <a:pt x="17137"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40" name="Forma Livre: Forma 39">
              <a:extLst>
                <a:ext uri="{FF2B5EF4-FFF2-40B4-BE49-F238E27FC236}">
                  <a16:creationId xmlns:a16="http://schemas.microsoft.com/office/drawing/2014/main" id="{9748BC39-AB25-0C6B-5066-79C66D49CA82}"/>
                </a:ext>
              </a:extLst>
            </p:cNvPr>
            <p:cNvSpPr/>
            <p:nvPr/>
          </p:nvSpPr>
          <p:spPr>
            <a:xfrm>
              <a:off x="2539535" y="3297252"/>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0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0" y="6215"/>
                  </a:cubicBezTo>
                  <a:close/>
                </a:path>
              </a:pathLst>
            </a:custGeom>
            <a:solidFill>
              <a:srgbClr val="000532"/>
            </a:solidFill>
            <a:ln w="8572" cap="flat">
              <a:noFill/>
              <a:prstDash val="solid"/>
              <a:miter/>
            </a:ln>
          </p:spPr>
          <p:txBody>
            <a:bodyPr rtlCol="0" anchor="ctr"/>
            <a:lstStyle/>
            <a:p>
              <a:endParaRPr lang="pt-BR"/>
            </a:p>
          </p:txBody>
        </p:sp>
        <p:sp>
          <p:nvSpPr>
            <p:cNvPr id="41" name="Forma Livre: Forma 40">
              <a:extLst>
                <a:ext uri="{FF2B5EF4-FFF2-40B4-BE49-F238E27FC236}">
                  <a16:creationId xmlns:a16="http://schemas.microsoft.com/office/drawing/2014/main" id="{3ECC8224-8294-4D22-52D4-8E20669CE553}"/>
                </a:ext>
              </a:extLst>
            </p:cNvPr>
            <p:cNvSpPr/>
            <p:nvPr/>
          </p:nvSpPr>
          <p:spPr>
            <a:xfrm>
              <a:off x="2826700" y="3465408"/>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1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1" y="6215"/>
                  </a:cubicBezTo>
                  <a:close/>
                </a:path>
              </a:pathLst>
            </a:custGeom>
            <a:solidFill>
              <a:srgbClr val="000532"/>
            </a:solidFill>
            <a:ln w="8572" cap="flat">
              <a:noFill/>
              <a:prstDash val="solid"/>
              <a:miter/>
            </a:ln>
          </p:spPr>
          <p:txBody>
            <a:bodyPr rtlCol="0" anchor="ctr"/>
            <a:lstStyle/>
            <a:p>
              <a:endParaRPr lang="pt-BR"/>
            </a:p>
          </p:txBody>
        </p:sp>
        <p:sp>
          <p:nvSpPr>
            <p:cNvPr id="42" name="Forma Livre: Forma 41">
              <a:extLst>
                <a:ext uri="{FF2B5EF4-FFF2-40B4-BE49-F238E27FC236}">
                  <a16:creationId xmlns:a16="http://schemas.microsoft.com/office/drawing/2014/main" id="{ABBA35D1-ABE3-A6F9-CD96-E398BAD9EF84}"/>
                </a:ext>
              </a:extLst>
            </p:cNvPr>
            <p:cNvSpPr/>
            <p:nvPr/>
          </p:nvSpPr>
          <p:spPr>
            <a:xfrm>
              <a:off x="2898470" y="3506840"/>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1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1" y="6215"/>
                  </a:cubicBezTo>
                  <a:close/>
                </a:path>
              </a:pathLst>
            </a:custGeom>
            <a:solidFill>
              <a:srgbClr val="000532"/>
            </a:solidFill>
            <a:ln w="8572" cap="flat">
              <a:noFill/>
              <a:prstDash val="solid"/>
              <a:miter/>
            </a:ln>
          </p:spPr>
          <p:txBody>
            <a:bodyPr rtlCol="0" anchor="ctr"/>
            <a:lstStyle/>
            <a:p>
              <a:endParaRPr lang="pt-BR"/>
            </a:p>
          </p:txBody>
        </p:sp>
        <p:sp>
          <p:nvSpPr>
            <p:cNvPr id="43" name="Forma Livre: Forma 42">
              <a:extLst>
                <a:ext uri="{FF2B5EF4-FFF2-40B4-BE49-F238E27FC236}">
                  <a16:creationId xmlns:a16="http://schemas.microsoft.com/office/drawing/2014/main" id="{EAE1428A-88A7-ABC3-6E3E-5B1F1E787BFF}"/>
                </a:ext>
              </a:extLst>
            </p:cNvPr>
            <p:cNvSpPr/>
            <p:nvPr/>
          </p:nvSpPr>
          <p:spPr>
            <a:xfrm>
              <a:off x="2862585" y="3486124"/>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1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1" y="6215"/>
                  </a:cubicBezTo>
                  <a:close/>
                </a:path>
              </a:pathLst>
            </a:custGeom>
            <a:solidFill>
              <a:srgbClr val="000532"/>
            </a:solidFill>
            <a:ln w="8572" cap="flat">
              <a:noFill/>
              <a:prstDash val="solid"/>
              <a:miter/>
            </a:ln>
          </p:spPr>
          <p:txBody>
            <a:bodyPr rtlCol="0" anchor="ctr"/>
            <a:lstStyle/>
            <a:p>
              <a:endParaRPr lang="pt-BR"/>
            </a:p>
          </p:txBody>
        </p:sp>
        <p:sp>
          <p:nvSpPr>
            <p:cNvPr id="44" name="Forma Livre: Forma 43">
              <a:extLst>
                <a:ext uri="{FF2B5EF4-FFF2-40B4-BE49-F238E27FC236}">
                  <a16:creationId xmlns:a16="http://schemas.microsoft.com/office/drawing/2014/main" id="{5A03F9A3-93B2-9BD3-D275-9722C98DE6A6}"/>
                </a:ext>
              </a:extLst>
            </p:cNvPr>
            <p:cNvSpPr/>
            <p:nvPr/>
          </p:nvSpPr>
          <p:spPr>
            <a:xfrm>
              <a:off x="2790729" y="3444691"/>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0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0" y="6215"/>
                  </a:cubicBezTo>
                  <a:close/>
                </a:path>
              </a:pathLst>
            </a:custGeom>
            <a:solidFill>
              <a:srgbClr val="000532"/>
            </a:solidFill>
            <a:ln w="8572" cap="flat">
              <a:noFill/>
              <a:prstDash val="solid"/>
              <a:miter/>
            </a:ln>
          </p:spPr>
          <p:txBody>
            <a:bodyPr rtlCol="0" anchor="ctr"/>
            <a:lstStyle/>
            <a:p>
              <a:endParaRPr lang="pt-BR"/>
            </a:p>
          </p:txBody>
        </p:sp>
        <p:sp>
          <p:nvSpPr>
            <p:cNvPr id="45" name="Forma Livre: Forma 44">
              <a:extLst>
                <a:ext uri="{FF2B5EF4-FFF2-40B4-BE49-F238E27FC236}">
                  <a16:creationId xmlns:a16="http://schemas.microsoft.com/office/drawing/2014/main" id="{1CAE909D-F111-53A8-B284-977D7157231D}"/>
                </a:ext>
              </a:extLst>
            </p:cNvPr>
            <p:cNvSpPr/>
            <p:nvPr/>
          </p:nvSpPr>
          <p:spPr>
            <a:xfrm>
              <a:off x="2970240" y="3548359"/>
              <a:ext cx="24218" cy="20343"/>
            </a:xfrm>
            <a:custGeom>
              <a:avLst/>
              <a:gdLst>
                <a:gd name="connsiteX0" fmla="*/ 20344 w 24218"/>
                <a:gd name="connsiteY0" fmla="*/ 6215 h 20343"/>
                <a:gd name="connsiteX1" fmla="*/ 11329 w 24218"/>
                <a:gd name="connsiteY1" fmla="*/ 1015 h 20343"/>
                <a:gd name="connsiteX2" fmla="*/ 1015 w 24218"/>
                <a:gd name="connsiteY2" fmla="*/ 3788 h 20343"/>
                <a:gd name="connsiteX3" fmla="*/ 3788 w 24218"/>
                <a:gd name="connsiteY3" fmla="*/ 14103 h 20343"/>
                <a:gd name="connsiteX4" fmla="*/ 12803 w 24218"/>
                <a:gd name="connsiteY4" fmla="*/ 19304 h 20343"/>
                <a:gd name="connsiteX5" fmla="*/ 16617 w 24218"/>
                <a:gd name="connsiteY5" fmla="*/ 20344 h 20343"/>
                <a:gd name="connsiteX6" fmla="*/ 23204 w 24218"/>
                <a:gd name="connsiteY6" fmla="*/ 16530 h 20343"/>
                <a:gd name="connsiteX7" fmla="*/ 20430 w 24218"/>
                <a:gd name="connsiteY7" fmla="*/ 6215 h 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8" h="20343">
                  <a:moveTo>
                    <a:pt x="20344" y="6215"/>
                  </a:moveTo>
                  <a:lnTo>
                    <a:pt x="11329" y="1015"/>
                  </a:lnTo>
                  <a:cubicBezTo>
                    <a:pt x="7689" y="-1066"/>
                    <a:pt x="3095" y="148"/>
                    <a:pt x="1015" y="3788"/>
                  </a:cubicBezTo>
                  <a:cubicBezTo>
                    <a:pt x="-1066" y="7429"/>
                    <a:pt x="148" y="12023"/>
                    <a:pt x="3788" y="14103"/>
                  </a:cubicBezTo>
                  <a:lnTo>
                    <a:pt x="12803" y="19304"/>
                  </a:lnTo>
                  <a:cubicBezTo>
                    <a:pt x="14016" y="19997"/>
                    <a:pt x="15316" y="20344"/>
                    <a:pt x="16617" y="20344"/>
                  </a:cubicBezTo>
                  <a:cubicBezTo>
                    <a:pt x="19217" y="20344"/>
                    <a:pt x="21817" y="18957"/>
                    <a:pt x="23204" y="16530"/>
                  </a:cubicBezTo>
                  <a:cubicBezTo>
                    <a:pt x="25284" y="12889"/>
                    <a:pt x="24071" y="8296"/>
                    <a:pt x="20430" y="6215"/>
                  </a:cubicBezTo>
                  <a:close/>
                </a:path>
              </a:pathLst>
            </a:custGeom>
            <a:solidFill>
              <a:srgbClr val="000532"/>
            </a:solidFill>
            <a:ln w="8572" cap="flat">
              <a:noFill/>
              <a:prstDash val="solid"/>
              <a:miter/>
            </a:ln>
          </p:spPr>
          <p:txBody>
            <a:bodyPr rtlCol="0" anchor="ctr"/>
            <a:lstStyle/>
            <a:p>
              <a:endParaRPr lang="pt-BR"/>
            </a:p>
          </p:txBody>
        </p:sp>
        <p:sp>
          <p:nvSpPr>
            <p:cNvPr id="46" name="Forma Livre: Forma 45">
              <a:extLst>
                <a:ext uri="{FF2B5EF4-FFF2-40B4-BE49-F238E27FC236}">
                  <a16:creationId xmlns:a16="http://schemas.microsoft.com/office/drawing/2014/main" id="{5FB311F0-BD2E-8220-815D-791B136F464A}"/>
                </a:ext>
              </a:extLst>
            </p:cNvPr>
            <p:cNvSpPr/>
            <p:nvPr/>
          </p:nvSpPr>
          <p:spPr>
            <a:xfrm>
              <a:off x="3006124" y="3567749"/>
              <a:ext cx="19466" cy="19069"/>
            </a:xfrm>
            <a:custGeom>
              <a:avLst/>
              <a:gdLst>
                <a:gd name="connsiteX0" fmla="*/ 13323 w 19466"/>
                <a:gd name="connsiteY0" fmla="*/ 2514 h 19069"/>
                <a:gd name="connsiteX1" fmla="*/ 8989 w 19466"/>
                <a:gd name="connsiteY1" fmla="*/ 0 h 19069"/>
                <a:gd name="connsiteX2" fmla="*/ 1015 w 19466"/>
                <a:gd name="connsiteY2" fmla="*/ 5114 h 19069"/>
                <a:gd name="connsiteX3" fmla="*/ 3788 w 19466"/>
                <a:gd name="connsiteY3" fmla="*/ 15515 h 19069"/>
                <a:gd name="connsiteX4" fmla="*/ 8122 w 19466"/>
                <a:gd name="connsiteY4" fmla="*/ 18029 h 19069"/>
                <a:gd name="connsiteX5" fmla="*/ 11936 w 19466"/>
                <a:gd name="connsiteY5" fmla="*/ 19069 h 19069"/>
                <a:gd name="connsiteX6" fmla="*/ 18524 w 19466"/>
                <a:gd name="connsiteY6" fmla="*/ 15255 h 19069"/>
                <a:gd name="connsiteX7" fmla="*/ 13410 w 19466"/>
                <a:gd name="connsiteY7" fmla="*/ 2514 h 1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66" h="19069">
                  <a:moveTo>
                    <a:pt x="13323" y="2514"/>
                  </a:moveTo>
                  <a:lnTo>
                    <a:pt x="8989" y="0"/>
                  </a:lnTo>
                  <a:cubicBezTo>
                    <a:pt x="7775" y="260"/>
                    <a:pt x="3095" y="1560"/>
                    <a:pt x="1015" y="5114"/>
                  </a:cubicBezTo>
                  <a:cubicBezTo>
                    <a:pt x="-1066" y="8754"/>
                    <a:pt x="148" y="13348"/>
                    <a:pt x="3788" y="15515"/>
                  </a:cubicBezTo>
                  <a:lnTo>
                    <a:pt x="8122" y="18029"/>
                  </a:lnTo>
                  <a:cubicBezTo>
                    <a:pt x="9336" y="18723"/>
                    <a:pt x="10636" y="19069"/>
                    <a:pt x="11936" y="19069"/>
                  </a:cubicBezTo>
                  <a:cubicBezTo>
                    <a:pt x="14536" y="19069"/>
                    <a:pt x="17137" y="17682"/>
                    <a:pt x="18524" y="15255"/>
                  </a:cubicBezTo>
                  <a:cubicBezTo>
                    <a:pt x="20604" y="11615"/>
                    <a:pt x="19390" y="7021"/>
                    <a:pt x="13410" y="2514"/>
                  </a:cubicBezTo>
                  <a:close/>
                </a:path>
              </a:pathLst>
            </a:custGeom>
            <a:solidFill>
              <a:srgbClr val="000532"/>
            </a:solidFill>
            <a:ln w="8572" cap="flat">
              <a:noFill/>
              <a:prstDash val="solid"/>
              <a:miter/>
            </a:ln>
          </p:spPr>
          <p:txBody>
            <a:bodyPr rtlCol="0" anchor="ctr"/>
            <a:lstStyle/>
            <a:p>
              <a:endParaRPr lang="pt-BR"/>
            </a:p>
          </p:txBody>
        </p:sp>
        <p:sp>
          <p:nvSpPr>
            <p:cNvPr id="47" name="Forma Livre: Forma 46">
              <a:extLst>
                <a:ext uri="{FF2B5EF4-FFF2-40B4-BE49-F238E27FC236}">
                  <a16:creationId xmlns:a16="http://schemas.microsoft.com/office/drawing/2014/main" id="{CE25291A-69E9-539A-CE77-D85AB8F4354E}"/>
                </a:ext>
              </a:extLst>
            </p:cNvPr>
            <p:cNvSpPr/>
            <p:nvPr/>
          </p:nvSpPr>
          <p:spPr>
            <a:xfrm>
              <a:off x="2508331" y="3477456"/>
              <a:ext cx="19538" cy="17743"/>
            </a:xfrm>
            <a:custGeom>
              <a:avLst/>
              <a:gdLst>
                <a:gd name="connsiteX0" fmla="*/ 15663 w 19538"/>
                <a:gd name="connsiteY0" fmla="*/ 3528 h 17743"/>
                <a:gd name="connsiteX1" fmla="*/ 11329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663" y="3528"/>
                  </a:moveTo>
                  <a:lnTo>
                    <a:pt x="11329" y="1015"/>
                  </a:lnTo>
                  <a:cubicBezTo>
                    <a:pt x="7689" y="-1066"/>
                    <a:pt x="3095" y="148"/>
                    <a:pt x="1015" y="3788"/>
                  </a:cubicBezTo>
                  <a:cubicBezTo>
                    <a:pt x="-1066" y="7429"/>
                    <a:pt x="148" y="12023"/>
                    <a:pt x="3788" y="14190"/>
                  </a:cubicBezTo>
                  <a:lnTo>
                    <a:pt x="8122" y="16703"/>
                  </a:lnTo>
                  <a:cubicBezTo>
                    <a:pt x="9336" y="17397"/>
                    <a:pt x="10636" y="17743"/>
                    <a:pt x="11936" y="17743"/>
                  </a:cubicBezTo>
                  <a:cubicBezTo>
                    <a:pt x="14536" y="17743"/>
                    <a:pt x="17137"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48" name="Forma Livre: Forma 47">
              <a:extLst>
                <a:ext uri="{FF2B5EF4-FFF2-40B4-BE49-F238E27FC236}">
                  <a16:creationId xmlns:a16="http://schemas.microsoft.com/office/drawing/2014/main" id="{9A2A699E-9E87-46D0-5026-DE74618BB689}"/>
                </a:ext>
              </a:extLst>
            </p:cNvPr>
            <p:cNvSpPr/>
            <p:nvPr/>
          </p:nvSpPr>
          <p:spPr>
            <a:xfrm>
              <a:off x="2783188" y="3636251"/>
              <a:ext cx="23958" cy="20257"/>
            </a:xfrm>
            <a:custGeom>
              <a:avLst/>
              <a:gdLst>
                <a:gd name="connsiteX0" fmla="*/ 20084 w 23958"/>
                <a:gd name="connsiteY0" fmla="*/ 6042 h 20257"/>
                <a:gd name="connsiteX1" fmla="*/ 11329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084" y="6042"/>
                  </a:moveTo>
                  <a:lnTo>
                    <a:pt x="11329" y="1015"/>
                  </a:lnTo>
                  <a:cubicBezTo>
                    <a:pt x="7689" y="-1066"/>
                    <a:pt x="3095" y="148"/>
                    <a:pt x="1015" y="3788"/>
                  </a:cubicBezTo>
                  <a:cubicBezTo>
                    <a:pt x="-1066" y="7429"/>
                    <a:pt x="148" y="12023"/>
                    <a:pt x="3788" y="14190"/>
                  </a:cubicBezTo>
                  <a:lnTo>
                    <a:pt x="12543" y="19217"/>
                  </a:lnTo>
                  <a:cubicBezTo>
                    <a:pt x="13756" y="19910"/>
                    <a:pt x="15056" y="20257"/>
                    <a:pt x="16357" y="20257"/>
                  </a:cubicBezTo>
                  <a:cubicBezTo>
                    <a:pt x="18957" y="20257"/>
                    <a:pt x="21557"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49" name="Forma Livre: Forma 48">
              <a:extLst>
                <a:ext uri="{FF2B5EF4-FFF2-40B4-BE49-F238E27FC236}">
                  <a16:creationId xmlns:a16="http://schemas.microsoft.com/office/drawing/2014/main" id="{55EB5893-F479-3993-71B1-5A53DA0130D8}"/>
                </a:ext>
              </a:extLst>
            </p:cNvPr>
            <p:cNvSpPr/>
            <p:nvPr/>
          </p:nvSpPr>
          <p:spPr>
            <a:xfrm>
              <a:off x="2818119" y="3656447"/>
              <a:ext cx="23958" cy="20257"/>
            </a:xfrm>
            <a:custGeom>
              <a:avLst/>
              <a:gdLst>
                <a:gd name="connsiteX0" fmla="*/ 20084 w 23958"/>
                <a:gd name="connsiteY0" fmla="*/ 6042 h 20257"/>
                <a:gd name="connsiteX1" fmla="*/ 11329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084" y="6042"/>
                  </a:moveTo>
                  <a:lnTo>
                    <a:pt x="11329" y="1015"/>
                  </a:lnTo>
                  <a:cubicBezTo>
                    <a:pt x="7689" y="-1066"/>
                    <a:pt x="3095" y="148"/>
                    <a:pt x="1015" y="3788"/>
                  </a:cubicBezTo>
                  <a:cubicBezTo>
                    <a:pt x="-1066" y="7429"/>
                    <a:pt x="148" y="12023"/>
                    <a:pt x="3788" y="14190"/>
                  </a:cubicBezTo>
                  <a:lnTo>
                    <a:pt x="12543" y="19217"/>
                  </a:lnTo>
                  <a:cubicBezTo>
                    <a:pt x="13756" y="19910"/>
                    <a:pt x="15056" y="20257"/>
                    <a:pt x="16357" y="20257"/>
                  </a:cubicBezTo>
                  <a:cubicBezTo>
                    <a:pt x="18957" y="20257"/>
                    <a:pt x="21557"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50" name="Forma Livre: Forma 49">
              <a:extLst>
                <a:ext uri="{FF2B5EF4-FFF2-40B4-BE49-F238E27FC236}">
                  <a16:creationId xmlns:a16="http://schemas.microsoft.com/office/drawing/2014/main" id="{983FB369-422C-C2AF-D795-6DFB109D3A00}"/>
                </a:ext>
              </a:extLst>
            </p:cNvPr>
            <p:cNvSpPr/>
            <p:nvPr/>
          </p:nvSpPr>
          <p:spPr>
            <a:xfrm>
              <a:off x="2538842" y="3495138"/>
              <a:ext cx="23958" cy="20257"/>
            </a:xfrm>
            <a:custGeom>
              <a:avLst/>
              <a:gdLst>
                <a:gd name="connsiteX0" fmla="*/ 20084 w 23958"/>
                <a:gd name="connsiteY0" fmla="*/ 6042 h 20257"/>
                <a:gd name="connsiteX1" fmla="*/ 11329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084" y="6042"/>
                  </a:moveTo>
                  <a:lnTo>
                    <a:pt x="11329" y="1015"/>
                  </a:lnTo>
                  <a:cubicBezTo>
                    <a:pt x="7689" y="-1066"/>
                    <a:pt x="3095" y="148"/>
                    <a:pt x="1015" y="3788"/>
                  </a:cubicBezTo>
                  <a:cubicBezTo>
                    <a:pt x="-1066" y="7429"/>
                    <a:pt x="148" y="12023"/>
                    <a:pt x="3788" y="14190"/>
                  </a:cubicBezTo>
                  <a:lnTo>
                    <a:pt x="12543" y="19217"/>
                  </a:lnTo>
                  <a:cubicBezTo>
                    <a:pt x="13756" y="19910"/>
                    <a:pt x="15056" y="20257"/>
                    <a:pt x="16357" y="20257"/>
                  </a:cubicBezTo>
                  <a:cubicBezTo>
                    <a:pt x="18957" y="20257"/>
                    <a:pt x="21557"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51" name="Forma Livre: Forma 50">
              <a:extLst>
                <a:ext uri="{FF2B5EF4-FFF2-40B4-BE49-F238E27FC236}">
                  <a16:creationId xmlns:a16="http://schemas.microsoft.com/office/drawing/2014/main" id="{73D8EEC9-7ABD-0811-05D1-2D4B9FF3D103}"/>
                </a:ext>
              </a:extLst>
            </p:cNvPr>
            <p:cNvSpPr/>
            <p:nvPr/>
          </p:nvSpPr>
          <p:spPr>
            <a:xfrm>
              <a:off x="2853137" y="3676643"/>
              <a:ext cx="19538" cy="17743"/>
            </a:xfrm>
            <a:custGeom>
              <a:avLst/>
              <a:gdLst>
                <a:gd name="connsiteX0" fmla="*/ 15663 w 19538"/>
                <a:gd name="connsiteY0" fmla="*/ 3528 h 17743"/>
                <a:gd name="connsiteX1" fmla="*/ 11329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663" y="3528"/>
                  </a:moveTo>
                  <a:lnTo>
                    <a:pt x="11329" y="1015"/>
                  </a:lnTo>
                  <a:cubicBezTo>
                    <a:pt x="7689" y="-1066"/>
                    <a:pt x="3095" y="148"/>
                    <a:pt x="1015" y="3788"/>
                  </a:cubicBezTo>
                  <a:cubicBezTo>
                    <a:pt x="-1066" y="7429"/>
                    <a:pt x="148" y="12023"/>
                    <a:pt x="3788" y="14190"/>
                  </a:cubicBezTo>
                  <a:lnTo>
                    <a:pt x="8122" y="16703"/>
                  </a:lnTo>
                  <a:cubicBezTo>
                    <a:pt x="9336" y="17397"/>
                    <a:pt x="10636" y="17743"/>
                    <a:pt x="11936" y="17743"/>
                  </a:cubicBezTo>
                  <a:cubicBezTo>
                    <a:pt x="14536" y="17743"/>
                    <a:pt x="17137"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52" name="Forma Livre: Forma 51">
              <a:extLst>
                <a:ext uri="{FF2B5EF4-FFF2-40B4-BE49-F238E27FC236}">
                  <a16:creationId xmlns:a16="http://schemas.microsoft.com/office/drawing/2014/main" id="{B8C3D5CC-FD2C-16FB-9C0F-E9F2E5D26D15}"/>
                </a:ext>
              </a:extLst>
            </p:cNvPr>
            <p:cNvSpPr/>
            <p:nvPr/>
          </p:nvSpPr>
          <p:spPr>
            <a:xfrm>
              <a:off x="3003784" y="3374482"/>
              <a:ext cx="19538" cy="17743"/>
            </a:xfrm>
            <a:custGeom>
              <a:avLst/>
              <a:gdLst>
                <a:gd name="connsiteX0" fmla="*/ 15750 w 19538"/>
                <a:gd name="connsiteY0" fmla="*/ 3528 h 17743"/>
                <a:gd name="connsiteX1" fmla="*/ 11416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750" y="3528"/>
                  </a:moveTo>
                  <a:lnTo>
                    <a:pt x="11416" y="1015"/>
                  </a:lnTo>
                  <a:cubicBezTo>
                    <a:pt x="7775" y="-1066"/>
                    <a:pt x="3181" y="148"/>
                    <a:pt x="1015" y="3788"/>
                  </a:cubicBezTo>
                  <a:cubicBezTo>
                    <a:pt x="-1066" y="7429"/>
                    <a:pt x="148" y="12023"/>
                    <a:pt x="3788" y="14190"/>
                  </a:cubicBezTo>
                  <a:lnTo>
                    <a:pt x="8122" y="16703"/>
                  </a:lnTo>
                  <a:cubicBezTo>
                    <a:pt x="9336" y="17397"/>
                    <a:pt x="10636" y="17743"/>
                    <a:pt x="11936" y="17743"/>
                  </a:cubicBezTo>
                  <a:cubicBezTo>
                    <a:pt x="14536" y="17743"/>
                    <a:pt x="17050"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53" name="Forma Livre: Forma 52">
              <a:extLst>
                <a:ext uri="{FF2B5EF4-FFF2-40B4-BE49-F238E27FC236}">
                  <a16:creationId xmlns:a16="http://schemas.microsoft.com/office/drawing/2014/main" id="{262F3972-877B-B641-4B49-2C33CA198BE5}"/>
                </a:ext>
              </a:extLst>
            </p:cNvPr>
            <p:cNvSpPr/>
            <p:nvPr/>
          </p:nvSpPr>
          <p:spPr>
            <a:xfrm>
              <a:off x="2727107" y="3212307"/>
              <a:ext cx="23958" cy="20257"/>
            </a:xfrm>
            <a:custGeom>
              <a:avLst/>
              <a:gdLst>
                <a:gd name="connsiteX0" fmla="*/ 20170 w 23958"/>
                <a:gd name="connsiteY0" fmla="*/ 6042 h 20257"/>
                <a:gd name="connsiteX1" fmla="*/ 11416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170" y="6042"/>
                  </a:moveTo>
                  <a:lnTo>
                    <a:pt x="11416" y="1015"/>
                  </a:lnTo>
                  <a:cubicBezTo>
                    <a:pt x="7775" y="-1066"/>
                    <a:pt x="3182" y="148"/>
                    <a:pt x="1015" y="3788"/>
                  </a:cubicBezTo>
                  <a:cubicBezTo>
                    <a:pt x="-1066" y="7429"/>
                    <a:pt x="148" y="12023"/>
                    <a:pt x="3788" y="14190"/>
                  </a:cubicBezTo>
                  <a:lnTo>
                    <a:pt x="12543" y="19217"/>
                  </a:lnTo>
                  <a:cubicBezTo>
                    <a:pt x="13756" y="19910"/>
                    <a:pt x="15056" y="20257"/>
                    <a:pt x="16357" y="20257"/>
                  </a:cubicBezTo>
                  <a:cubicBezTo>
                    <a:pt x="18957" y="20257"/>
                    <a:pt x="21471"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54" name="Forma Livre: Forma 53">
              <a:extLst>
                <a:ext uri="{FF2B5EF4-FFF2-40B4-BE49-F238E27FC236}">
                  <a16:creationId xmlns:a16="http://schemas.microsoft.com/office/drawing/2014/main" id="{22700246-239E-1380-882D-91200B70C13B}"/>
                </a:ext>
              </a:extLst>
            </p:cNvPr>
            <p:cNvSpPr/>
            <p:nvPr/>
          </p:nvSpPr>
          <p:spPr>
            <a:xfrm>
              <a:off x="2692224" y="3192024"/>
              <a:ext cx="23997" cy="20257"/>
            </a:xfrm>
            <a:custGeom>
              <a:avLst/>
              <a:gdLst>
                <a:gd name="connsiteX0" fmla="*/ 20209 w 23997"/>
                <a:gd name="connsiteY0" fmla="*/ 6042 h 20257"/>
                <a:gd name="connsiteX1" fmla="*/ 11454 w 23997"/>
                <a:gd name="connsiteY1" fmla="*/ 1015 h 20257"/>
                <a:gd name="connsiteX2" fmla="*/ 1053 w 23997"/>
                <a:gd name="connsiteY2" fmla="*/ 3788 h 20257"/>
                <a:gd name="connsiteX3" fmla="*/ 3827 w 23997"/>
                <a:gd name="connsiteY3" fmla="*/ 14190 h 20257"/>
                <a:gd name="connsiteX4" fmla="*/ 12581 w 23997"/>
                <a:gd name="connsiteY4" fmla="*/ 19217 h 20257"/>
                <a:gd name="connsiteX5" fmla="*/ 16395 w 23997"/>
                <a:gd name="connsiteY5" fmla="*/ 20257 h 20257"/>
                <a:gd name="connsiteX6" fmla="*/ 22983 w 23997"/>
                <a:gd name="connsiteY6" fmla="*/ 16443 h 20257"/>
                <a:gd name="connsiteX7" fmla="*/ 20209 w 23997"/>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97" h="20257">
                  <a:moveTo>
                    <a:pt x="20209" y="6042"/>
                  </a:moveTo>
                  <a:lnTo>
                    <a:pt x="11454" y="1015"/>
                  </a:lnTo>
                  <a:cubicBezTo>
                    <a:pt x="7814" y="-1066"/>
                    <a:pt x="3220" y="148"/>
                    <a:pt x="1053" y="3788"/>
                  </a:cubicBezTo>
                  <a:cubicBezTo>
                    <a:pt x="-1114" y="7429"/>
                    <a:pt x="186" y="12023"/>
                    <a:pt x="3827" y="14190"/>
                  </a:cubicBezTo>
                  <a:lnTo>
                    <a:pt x="12581" y="19217"/>
                  </a:lnTo>
                  <a:cubicBezTo>
                    <a:pt x="13795" y="19910"/>
                    <a:pt x="15095" y="20257"/>
                    <a:pt x="16395" y="20257"/>
                  </a:cubicBezTo>
                  <a:cubicBezTo>
                    <a:pt x="18995" y="20257"/>
                    <a:pt x="21509" y="18870"/>
                    <a:pt x="22983" y="16443"/>
                  </a:cubicBezTo>
                  <a:cubicBezTo>
                    <a:pt x="25063" y="12803"/>
                    <a:pt x="23849" y="8209"/>
                    <a:pt x="20209" y="6042"/>
                  </a:cubicBezTo>
                  <a:close/>
                </a:path>
              </a:pathLst>
            </a:custGeom>
            <a:solidFill>
              <a:srgbClr val="000532"/>
            </a:solidFill>
            <a:ln w="8572" cap="flat">
              <a:noFill/>
              <a:prstDash val="solid"/>
              <a:miter/>
            </a:ln>
          </p:spPr>
          <p:txBody>
            <a:bodyPr rtlCol="0" anchor="ctr"/>
            <a:lstStyle/>
            <a:p>
              <a:endParaRPr lang="pt-BR"/>
            </a:p>
          </p:txBody>
        </p:sp>
        <p:sp>
          <p:nvSpPr>
            <p:cNvPr id="55" name="Forma Livre: Forma 54">
              <a:extLst>
                <a:ext uri="{FF2B5EF4-FFF2-40B4-BE49-F238E27FC236}">
                  <a16:creationId xmlns:a16="http://schemas.microsoft.com/office/drawing/2014/main" id="{BDDECD7D-1039-2940-3204-D1DE534E6D24}"/>
                </a:ext>
              </a:extLst>
            </p:cNvPr>
            <p:cNvSpPr/>
            <p:nvPr/>
          </p:nvSpPr>
          <p:spPr>
            <a:xfrm>
              <a:off x="2971193" y="3354199"/>
              <a:ext cx="23958" cy="20257"/>
            </a:xfrm>
            <a:custGeom>
              <a:avLst/>
              <a:gdLst>
                <a:gd name="connsiteX0" fmla="*/ 20170 w 23958"/>
                <a:gd name="connsiteY0" fmla="*/ 6042 h 20257"/>
                <a:gd name="connsiteX1" fmla="*/ 11416 w 23958"/>
                <a:gd name="connsiteY1" fmla="*/ 1015 h 20257"/>
                <a:gd name="connsiteX2" fmla="*/ 1015 w 23958"/>
                <a:gd name="connsiteY2" fmla="*/ 3788 h 20257"/>
                <a:gd name="connsiteX3" fmla="*/ 3788 w 23958"/>
                <a:gd name="connsiteY3" fmla="*/ 14190 h 20257"/>
                <a:gd name="connsiteX4" fmla="*/ 12543 w 23958"/>
                <a:gd name="connsiteY4" fmla="*/ 19217 h 20257"/>
                <a:gd name="connsiteX5" fmla="*/ 16357 w 23958"/>
                <a:gd name="connsiteY5" fmla="*/ 20257 h 20257"/>
                <a:gd name="connsiteX6" fmla="*/ 22944 w 23958"/>
                <a:gd name="connsiteY6" fmla="*/ 16443 h 20257"/>
                <a:gd name="connsiteX7" fmla="*/ 20170 w 23958"/>
                <a:gd name="connsiteY7" fmla="*/ 6042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0170" y="6042"/>
                  </a:moveTo>
                  <a:lnTo>
                    <a:pt x="11416" y="1015"/>
                  </a:lnTo>
                  <a:cubicBezTo>
                    <a:pt x="7775" y="-1066"/>
                    <a:pt x="3182" y="148"/>
                    <a:pt x="1015" y="3788"/>
                  </a:cubicBezTo>
                  <a:cubicBezTo>
                    <a:pt x="-1066" y="7429"/>
                    <a:pt x="148" y="12023"/>
                    <a:pt x="3788" y="14190"/>
                  </a:cubicBezTo>
                  <a:lnTo>
                    <a:pt x="12543" y="19217"/>
                  </a:lnTo>
                  <a:cubicBezTo>
                    <a:pt x="13756" y="19910"/>
                    <a:pt x="15056" y="20257"/>
                    <a:pt x="16357" y="20257"/>
                  </a:cubicBezTo>
                  <a:cubicBezTo>
                    <a:pt x="18957" y="20257"/>
                    <a:pt x="21471" y="18870"/>
                    <a:pt x="22944" y="16443"/>
                  </a:cubicBezTo>
                  <a:cubicBezTo>
                    <a:pt x="25024" y="12803"/>
                    <a:pt x="23811" y="8209"/>
                    <a:pt x="20170" y="6042"/>
                  </a:cubicBezTo>
                  <a:close/>
                </a:path>
              </a:pathLst>
            </a:custGeom>
            <a:solidFill>
              <a:srgbClr val="000532"/>
            </a:solidFill>
            <a:ln w="8572" cap="flat">
              <a:noFill/>
              <a:prstDash val="solid"/>
              <a:miter/>
            </a:ln>
          </p:spPr>
          <p:txBody>
            <a:bodyPr rtlCol="0" anchor="ctr"/>
            <a:lstStyle/>
            <a:p>
              <a:endParaRPr lang="pt-BR"/>
            </a:p>
          </p:txBody>
        </p:sp>
        <p:sp>
          <p:nvSpPr>
            <p:cNvPr id="56" name="Forma Livre: Forma 55">
              <a:extLst>
                <a:ext uri="{FF2B5EF4-FFF2-40B4-BE49-F238E27FC236}">
                  <a16:creationId xmlns:a16="http://schemas.microsoft.com/office/drawing/2014/main" id="{9B55C6D8-8814-975A-83AA-968E5A7AA4ED}"/>
                </a:ext>
              </a:extLst>
            </p:cNvPr>
            <p:cNvSpPr/>
            <p:nvPr/>
          </p:nvSpPr>
          <p:spPr>
            <a:xfrm>
              <a:off x="2661838" y="3174255"/>
              <a:ext cx="19538" cy="17743"/>
            </a:xfrm>
            <a:custGeom>
              <a:avLst/>
              <a:gdLst>
                <a:gd name="connsiteX0" fmla="*/ 15750 w 19538"/>
                <a:gd name="connsiteY0" fmla="*/ 3528 h 17743"/>
                <a:gd name="connsiteX1" fmla="*/ 11416 w 19538"/>
                <a:gd name="connsiteY1" fmla="*/ 1015 h 17743"/>
                <a:gd name="connsiteX2" fmla="*/ 1015 w 19538"/>
                <a:gd name="connsiteY2" fmla="*/ 3788 h 17743"/>
                <a:gd name="connsiteX3" fmla="*/ 3788 w 19538"/>
                <a:gd name="connsiteY3" fmla="*/ 14190 h 17743"/>
                <a:gd name="connsiteX4" fmla="*/ 8122 w 19538"/>
                <a:gd name="connsiteY4" fmla="*/ 16703 h 17743"/>
                <a:gd name="connsiteX5" fmla="*/ 11936 w 19538"/>
                <a:gd name="connsiteY5" fmla="*/ 17743 h 17743"/>
                <a:gd name="connsiteX6" fmla="*/ 18524 w 19538"/>
                <a:gd name="connsiteY6" fmla="*/ 13930 h 17743"/>
                <a:gd name="connsiteX7" fmla="*/ 15750 w 19538"/>
                <a:gd name="connsiteY7" fmla="*/ 3528 h 1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8" h="17743">
                  <a:moveTo>
                    <a:pt x="15750" y="3528"/>
                  </a:moveTo>
                  <a:lnTo>
                    <a:pt x="11416" y="1015"/>
                  </a:lnTo>
                  <a:cubicBezTo>
                    <a:pt x="7775" y="-1066"/>
                    <a:pt x="3182" y="148"/>
                    <a:pt x="1015" y="3788"/>
                  </a:cubicBezTo>
                  <a:cubicBezTo>
                    <a:pt x="-1066" y="7429"/>
                    <a:pt x="148" y="12023"/>
                    <a:pt x="3788" y="14190"/>
                  </a:cubicBezTo>
                  <a:lnTo>
                    <a:pt x="8122" y="16703"/>
                  </a:lnTo>
                  <a:cubicBezTo>
                    <a:pt x="9336" y="17397"/>
                    <a:pt x="10636" y="17743"/>
                    <a:pt x="11936" y="17743"/>
                  </a:cubicBezTo>
                  <a:cubicBezTo>
                    <a:pt x="14536" y="17743"/>
                    <a:pt x="17050" y="16357"/>
                    <a:pt x="18524" y="13930"/>
                  </a:cubicBezTo>
                  <a:cubicBezTo>
                    <a:pt x="20604" y="10289"/>
                    <a:pt x="19390" y="5695"/>
                    <a:pt x="15750" y="3528"/>
                  </a:cubicBezTo>
                  <a:close/>
                </a:path>
              </a:pathLst>
            </a:custGeom>
            <a:solidFill>
              <a:srgbClr val="000532"/>
            </a:solidFill>
            <a:ln w="8572" cap="flat">
              <a:noFill/>
              <a:prstDash val="solid"/>
              <a:miter/>
            </a:ln>
          </p:spPr>
          <p:txBody>
            <a:bodyPr rtlCol="0" anchor="ctr"/>
            <a:lstStyle/>
            <a:p>
              <a:endParaRPr lang="pt-BR"/>
            </a:p>
          </p:txBody>
        </p:sp>
        <p:sp>
          <p:nvSpPr>
            <p:cNvPr id="57" name="Forma Livre: Forma 56">
              <a:extLst>
                <a:ext uri="{FF2B5EF4-FFF2-40B4-BE49-F238E27FC236}">
                  <a16:creationId xmlns:a16="http://schemas.microsoft.com/office/drawing/2014/main" id="{E577DF2F-3DA9-4611-30D2-B992A0E898E6}"/>
                </a:ext>
              </a:extLst>
            </p:cNvPr>
            <p:cNvSpPr/>
            <p:nvPr/>
          </p:nvSpPr>
          <p:spPr>
            <a:xfrm>
              <a:off x="2574033" y="3395086"/>
              <a:ext cx="386187" cy="242265"/>
            </a:xfrm>
            <a:custGeom>
              <a:avLst/>
              <a:gdLst>
                <a:gd name="connsiteX0" fmla="*/ 380666 w 386187"/>
                <a:gd name="connsiteY0" fmla="*/ 138772 h 242265"/>
                <a:gd name="connsiteX1" fmla="*/ 377719 w 386187"/>
                <a:gd name="connsiteY1" fmla="*/ 137038 h 242265"/>
                <a:gd name="connsiteX2" fmla="*/ 382399 w 386187"/>
                <a:gd name="connsiteY2" fmla="*/ 134351 h 242265"/>
                <a:gd name="connsiteX3" fmla="*/ 385173 w 386187"/>
                <a:gd name="connsiteY3" fmla="*/ 123950 h 242265"/>
                <a:gd name="connsiteX4" fmla="*/ 374858 w 386187"/>
                <a:gd name="connsiteY4" fmla="*/ 121176 h 242265"/>
                <a:gd name="connsiteX5" fmla="*/ 367317 w 386187"/>
                <a:gd name="connsiteY5" fmla="*/ 125510 h 242265"/>
                <a:gd name="connsiteX6" fmla="*/ 367317 w 386187"/>
                <a:gd name="connsiteY6" fmla="*/ 104967 h 242265"/>
                <a:gd name="connsiteX7" fmla="*/ 359776 w 386187"/>
                <a:gd name="connsiteY7" fmla="*/ 97426 h 242265"/>
                <a:gd name="connsiteX8" fmla="*/ 352235 w 386187"/>
                <a:gd name="connsiteY8" fmla="*/ 104967 h 242265"/>
                <a:gd name="connsiteX9" fmla="*/ 352235 w 386187"/>
                <a:gd name="connsiteY9" fmla="*/ 134265 h 242265"/>
                <a:gd name="connsiteX10" fmla="*/ 340014 w 386187"/>
                <a:gd name="connsiteY10" fmla="*/ 141286 h 242265"/>
                <a:gd name="connsiteX11" fmla="*/ 340014 w 386187"/>
                <a:gd name="connsiteY11" fmla="*/ 141286 h 242265"/>
                <a:gd name="connsiteX12" fmla="*/ 331259 w 386187"/>
                <a:gd name="connsiteY12" fmla="*/ 146313 h 242265"/>
                <a:gd name="connsiteX13" fmla="*/ 331259 w 386187"/>
                <a:gd name="connsiteY13" fmla="*/ 146313 h 242265"/>
                <a:gd name="connsiteX14" fmla="*/ 200635 w 386187"/>
                <a:gd name="connsiteY14" fmla="*/ 221723 h 242265"/>
                <a:gd name="connsiteX15" fmla="*/ 200635 w 386187"/>
                <a:gd name="connsiteY15" fmla="*/ 218169 h 242265"/>
                <a:gd name="connsiteX16" fmla="*/ 193094 w 386187"/>
                <a:gd name="connsiteY16" fmla="*/ 210628 h 242265"/>
                <a:gd name="connsiteX17" fmla="*/ 185553 w 386187"/>
                <a:gd name="connsiteY17" fmla="*/ 218169 h 242265"/>
                <a:gd name="connsiteX18" fmla="*/ 185553 w 386187"/>
                <a:gd name="connsiteY18" fmla="*/ 221723 h 242265"/>
                <a:gd name="connsiteX19" fmla="*/ 33952 w 386187"/>
                <a:gd name="connsiteY19" fmla="*/ 134178 h 242265"/>
                <a:gd name="connsiteX20" fmla="*/ 33952 w 386187"/>
                <a:gd name="connsiteY20" fmla="*/ 7541 h 242265"/>
                <a:gd name="connsiteX21" fmla="*/ 26411 w 386187"/>
                <a:gd name="connsiteY21" fmla="*/ 0 h 242265"/>
                <a:gd name="connsiteX22" fmla="*/ 18870 w 386187"/>
                <a:gd name="connsiteY22" fmla="*/ 7541 h 242265"/>
                <a:gd name="connsiteX23" fmla="*/ 18870 w 386187"/>
                <a:gd name="connsiteY23" fmla="*/ 125424 h 242265"/>
                <a:gd name="connsiteX24" fmla="*/ 11329 w 386187"/>
                <a:gd name="connsiteY24" fmla="*/ 121090 h 242265"/>
                <a:gd name="connsiteX25" fmla="*/ 1015 w 386187"/>
                <a:gd name="connsiteY25" fmla="*/ 123863 h 242265"/>
                <a:gd name="connsiteX26" fmla="*/ 3788 w 386187"/>
                <a:gd name="connsiteY26" fmla="*/ 134265 h 242265"/>
                <a:gd name="connsiteX27" fmla="*/ 8469 w 386187"/>
                <a:gd name="connsiteY27" fmla="*/ 136952 h 242265"/>
                <a:gd name="connsiteX28" fmla="*/ 5522 w 386187"/>
                <a:gd name="connsiteY28" fmla="*/ 138685 h 242265"/>
                <a:gd name="connsiteX29" fmla="*/ 2748 w 386187"/>
                <a:gd name="connsiteY29" fmla="*/ 149000 h 242265"/>
                <a:gd name="connsiteX30" fmla="*/ 9336 w 386187"/>
                <a:gd name="connsiteY30" fmla="*/ 152814 h 242265"/>
                <a:gd name="connsiteX31" fmla="*/ 13150 w 386187"/>
                <a:gd name="connsiteY31" fmla="*/ 151774 h 242265"/>
                <a:gd name="connsiteX32" fmla="*/ 22164 w 386187"/>
                <a:gd name="connsiteY32" fmla="*/ 146573 h 242265"/>
                <a:gd name="connsiteX33" fmla="*/ 23551 w 386187"/>
                <a:gd name="connsiteY33" fmla="*/ 145533 h 242265"/>
                <a:gd name="connsiteX34" fmla="*/ 189540 w 386187"/>
                <a:gd name="connsiteY34" fmla="*/ 241399 h 242265"/>
                <a:gd name="connsiteX35" fmla="*/ 189540 w 386187"/>
                <a:gd name="connsiteY35" fmla="*/ 241399 h 242265"/>
                <a:gd name="connsiteX36" fmla="*/ 190233 w 386187"/>
                <a:gd name="connsiteY36" fmla="*/ 241746 h 242265"/>
                <a:gd name="connsiteX37" fmla="*/ 190493 w 386187"/>
                <a:gd name="connsiteY37" fmla="*/ 241746 h 242265"/>
                <a:gd name="connsiteX38" fmla="*/ 191100 w 386187"/>
                <a:gd name="connsiteY38" fmla="*/ 242093 h 242265"/>
                <a:gd name="connsiteX39" fmla="*/ 191447 w 386187"/>
                <a:gd name="connsiteY39" fmla="*/ 242179 h 242265"/>
                <a:gd name="connsiteX40" fmla="*/ 192054 w 386187"/>
                <a:gd name="connsiteY40" fmla="*/ 242266 h 242265"/>
                <a:gd name="connsiteX41" fmla="*/ 192400 w 386187"/>
                <a:gd name="connsiteY41" fmla="*/ 242266 h 242265"/>
                <a:gd name="connsiteX42" fmla="*/ 193354 w 386187"/>
                <a:gd name="connsiteY42" fmla="*/ 242266 h 242265"/>
                <a:gd name="connsiteX43" fmla="*/ 196214 w 386187"/>
                <a:gd name="connsiteY43" fmla="*/ 241659 h 242265"/>
                <a:gd name="connsiteX44" fmla="*/ 196734 w 386187"/>
                <a:gd name="connsiteY44" fmla="*/ 241399 h 242265"/>
                <a:gd name="connsiteX45" fmla="*/ 197168 w 386187"/>
                <a:gd name="connsiteY45" fmla="*/ 241226 h 242265"/>
                <a:gd name="connsiteX46" fmla="*/ 199508 w 386187"/>
                <a:gd name="connsiteY46" fmla="*/ 239926 h 242265"/>
                <a:gd name="connsiteX47" fmla="*/ 199508 w 386187"/>
                <a:gd name="connsiteY47" fmla="*/ 239926 h 242265"/>
                <a:gd name="connsiteX48" fmla="*/ 208262 w 386187"/>
                <a:gd name="connsiteY48" fmla="*/ 234898 h 242265"/>
                <a:gd name="connsiteX49" fmla="*/ 208262 w 386187"/>
                <a:gd name="connsiteY49" fmla="*/ 234898 h 242265"/>
                <a:gd name="connsiteX50" fmla="*/ 234353 w 386187"/>
                <a:gd name="connsiteY50" fmla="*/ 219816 h 242265"/>
                <a:gd name="connsiteX51" fmla="*/ 234353 w 386187"/>
                <a:gd name="connsiteY51" fmla="*/ 219816 h 242265"/>
                <a:gd name="connsiteX52" fmla="*/ 243107 w 386187"/>
                <a:gd name="connsiteY52" fmla="*/ 214789 h 242265"/>
                <a:gd name="connsiteX53" fmla="*/ 243107 w 386187"/>
                <a:gd name="connsiteY53" fmla="*/ 214789 h 242265"/>
                <a:gd name="connsiteX54" fmla="*/ 269284 w 386187"/>
                <a:gd name="connsiteY54" fmla="*/ 199707 h 242265"/>
                <a:gd name="connsiteX55" fmla="*/ 269284 w 386187"/>
                <a:gd name="connsiteY55" fmla="*/ 199707 h 242265"/>
                <a:gd name="connsiteX56" fmla="*/ 278039 w 386187"/>
                <a:gd name="connsiteY56" fmla="*/ 194680 h 242265"/>
                <a:gd name="connsiteX57" fmla="*/ 278039 w 386187"/>
                <a:gd name="connsiteY57" fmla="*/ 194680 h 242265"/>
                <a:gd name="connsiteX58" fmla="*/ 304215 w 386187"/>
                <a:gd name="connsiteY58" fmla="*/ 179598 h 242265"/>
                <a:gd name="connsiteX59" fmla="*/ 304215 w 386187"/>
                <a:gd name="connsiteY59" fmla="*/ 179598 h 242265"/>
                <a:gd name="connsiteX60" fmla="*/ 312970 w 386187"/>
                <a:gd name="connsiteY60" fmla="*/ 174570 h 242265"/>
                <a:gd name="connsiteX61" fmla="*/ 312970 w 386187"/>
                <a:gd name="connsiteY61" fmla="*/ 174570 h 242265"/>
                <a:gd name="connsiteX62" fmla="*/ 363157 w 386187"/>
                <a:gd name="connsiteY62" fmla="*/ 145533 h 242265"/>
                <a:gd name="connsiteX63" fmla="*/ 364543 w 386187"/>
                <a:gd name="connsiteY63" fmla="*/ 146573 h 242265"/>
                <a:gd name="connsiteX64" fmla="*/ 373558 w 386187"/>
                <a:gd name="connsiteY64" fmla="*/ 151774 h 242265"/>
                <a:gd name="connsiteX65" fmla="*/ 377372 w 386187"/>
                <a:gd name="connsiteY65" fmla="*/ 152814 h 242265"/>
                <a:gd name="connsiteX66" fmla="*/ 383959 w 386187"/>
                <a:gd name="connsiteY66" fmla="*/ 149000 h 242265"/>
                <a:gd name="connsiteX67" fmla="*/ 381186 w 386187"/>
                <a:gd name="connsiteY67" fmla="*/ 138685 h 24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86187" h="242265">
                  <a:moveTo>
                    <a:pt x="380666" y="138772"/>
                  </a:moveTo>
                  <a:lnTo>
                    <a:pt x="377719" y="137038"/>
                  </a:lnTo>
                  <a:lnTo>
                    <a:pt x="382399" y="134351"/>
                  </a:lnTo>
                  <a:cubicBezTo>
                    <a:pt x="386040" y="132271"/>
                    <a:pt x="387253" y="127591"/>
                    <a:pt x="385173" y="123950"/>
                  </a:cubicBezTo>
                  <a:cubicBezTo>
                    <a:pt x="383093" y="120310"/>
                    <a:pt x="378412" y="119096"/>
                    <a:pt x="374858" y="121176"/>
                  </a:cubicBezTo>
                  <a:lnTo>
                    <a:pt x="367317" y="125510"/>
                  </a:lnTo>
                  <a:lnTo>
                    <a:pt x="367317" y="104967"/>
                  </a:lnTo>
                  <a:cubicBezTo>
                    <a:pt x="367317" y="100807"/>
                    <a:pt x="363937" y="97426"/>
                    <a:pt x="359776" y="97426"/>
                  </a:cubicBezTo>
                  <a:cubicBezTo>
                    <a:pt x="355616" y="97426"/>
                    <a:pt x="352235" y="100807"/>
                    <a:pt x="352235" y="104967"/>
                  </a:cubicBezTo>
                  <a:lnTo>
                    <a:pt x="352235" y="134265"/>
                  </a:lnTo>
                  <a:lnTo>
                    <a:pt x="340014" y="141286"/>
                  </a:lnTo>
                  <a:lnTo>
                    <a:pt x="340014" y="141286"/>
                  </a:lnTo>
                  <a:lnTo>
                    <a:pt x="331259" y="146313"/>
                  </a:lnTo>
                  <a:lnTo>
                    <a:pt x="331259" y="146313"/>
                  </a:lnTo>
                  <a:lnTo>
                    <a:pt x="200635" y="221723"/>
                  </a:lnTo>
                  <a:lnTo>
                    <a:pt x="200635" y="218169"/>
                  </a:lnTo>
                  <a:cubicBezTo>
                    <a:pt x="200635" y="214009"/>
                    <a:pt x="197254" y="210628"/>
                    <a:pt x="193094" y="210628"/>
                  </a:cubicBezTo>
                  <a:cubicBezTo>
                    <a:pt x="188933" y="210628"/>
                    <a:pt x="185553" y="214009"/>
                    <a:pt x="185553" y="218169"/>
                  </a:cubicBezTo>
                  <a:lnTo>
                    <a:pt x="185553" y="221723"/>
                  </a:lnTo>
                  <a:lnTo>
                    <a:pt x="33952" y="134178"/>
                  </a:lnTo>
                  <a:lnTo>
                    <a:pt x="33952" y="7541"/>
                  </a:lnTo>
                  <a:cubicBezTo>
                    <a:pt x="33952" y="3380"/>
                    <a:pt x="30572" y="0"/>
                    <a:pt x="26411" y="0"/>
                  </a:cubicBezTo>
                  <a:cubicBezTo>
                    <a:pt x="22251" y="0"/>
                    <a:pt x="18870" y="3380"/>
                    <a:pt x="18870" y="7541"/>
                  </a:cubicBezTo>
                  <a:lnTo>
                    <a:pt x="18870" y="125424"/>
                  </a:lnTo>
                  <a:lnTo>
                    <a:pt x="11329" y="121090"/>
                  </a:lnTo>
                  <a:cubicBezTo>
                    <a:pt x="7689" y="119009"/>
                    <a:pt x="3095" y="120223"/>
                    <a:pt x="1015" y="123863"/>
                  </a:cubicBezTo>
                  <a:cubicBezTo>
                    <a:pt x="-1066" y="127504"/>
                    <a:pt x="148" y="132098"/>
                    <a:pt x="3788" y="134265"/>
                  </a:cubicBezTo>
                  <a:lnTo>
                    <a:pt x="8469" y="136952"/>
                  </a:lnTo>
                  <a:lnTo>
                    <a:pt x="5522" y="138685"/>
                  </a:lnTo>
                  <a:cubicBezTo>
                    <a:pt x="1881" y="140766"/>
                    <a:pt x="668" y="145446"/>
                    <a:pt x="2748" y="149000"/>
                  </a:cubicBezTo>
                  <a:cubicBezTo>
                    <a:pt x="4135" y="151427"/>
                    <a:pt x="6735" y="152814"/>
                    <a:pt x="9336" y="152814"/>
                  </a:cubicBezTo>
                  <a:cubicBezTo>
                    <a:pt x="10636" y="152814"/>
                    <a:pt x="11936" y="152467"/>
                    <a:pt x="13150" y="151774"/>
                  </a:cubicBezTo>
                  <a:lnTo>
                    <a:pt x="22164" y="146573"/>
                  </a:lnTo>
                  <a:cubicBezTo>
                    <a:pt x="22684" y="146313"/>
                    <a:pt x="23118" y="145966"/>
                    <a:pt x="23551" y="145533"/>
                  </a:cubicBezTo>
                  <a:lnTo>
                    <a:pt x="189540" y="241399"/>
                  </a:lnTo>
                  <a:lnTo>
                    <a:pt x="189540" y="241399"/>
                  </a:lnTo>
                  <a:cubicBezTo>
                    <a:pt x="189540" y="241399"/>
                    <a:pt x="189973" y="241659"/>
                    <a:pt x="190233" y="241746"/>
                  </a:cubicBezTo>
                  <a:lnTo>
                    <a:pt x="190493" y="241746"/>
                  </a:lnTo>
                  <a:cubicBezTo>
                    <a:pt x="190493" y="241746"/>
                    <a:pt x="190927" y="242006"/>
                    <a:pt x="191100" y="242093"/>
                  </a:cubicBezTo>
                  <a:cubicBezTo>
                    <a:pt x="191187" y="242093"/>
                    <a:pt x="191274" y="242093"/>
                    <a:pt x="191447" y="242179"/>
                  </a:cubicBezTo>
                  <a:cubicBezTo>
                    <a:pt x="191620" y="242179"/>
                    <a:pt x="191880" y="242266"/>
                    <a:pt x="192054" y="242266"/>
                  </a:cubicBezTo>
                  <a:cubicBezTo>
                    <a:pt x="192140" y="242266"/>
                    <a:pt x="192227" y="242266"/>
                    <a:pt x="192400" y="242266"/>
                  </a:cubicBezTo>
                  <a:cubicBezTo>
                    <a:pt x="192747" y="242266"/>
                    <a:pt x="193094" y="242266"/>
                    <a:pt x="193354" y="242266"/>
                  </a:cubicBezTo>
                  <a:cubicBezTo>
                    <a:pt x="194307" y="242266"/>
                    <a:pt x="195261" y="242093"/>
                    <a:pt x="196214" y="241659"/>
                  </a:cubicBezTo>
                  <a:cubicBezTo>
                    <a:pt x="196388" y="241659"/>
                    <a:pt x="196561" y="241486"/>
                    <a:pt x="196734" y="241399"/>
                  </a:cubicBezTo>
                  <a:cubicBezTo>
                    <a:pt x="196908" y="241399"/>
                    <a:pt x="196994" y="241312"/>
                    <a:pt x="197168" y="241226"/>
                  </a:cubicBezTo>
                  <a:lnTo>
                    <a:pt x="199508" y="239926"/>
                  </a:lnTo>
                  <a:lnTo>
                    <a:pt x="199508" y="239926"/>
                  </a:lnTo>
                  <a:lnTo>
                    <a:pt x="208262" y="234898"/>
                  </a:lnTo>
                  <a:lnTo>
                    <a:pt x="208262" y="234898"/>
                  </a:lnTo>
                  <a:lnTo>
                    <a:pt x="234353" y="219816"/>
                  </a:lnTo>
                  <a:lnTo>
                    <a:pt x="234353" y="219816"/>
                  </a:lnTo>
                  <a:lnTo>
                    <a:pt x="243107" y="214789"/>
                  </a:lnTo>
                  <a:lnTo>
                    <a:pt x="243107" y="214789"/>
                  </a:lnTo>
                  <a:lnTo>
                    <a:pt x="269284" y="199707"/>
                  </a:lnTo>
                  <a:lnTo>
                    <a:pt x="269284" y="199707"/>
                  </a:lnTo>
                  <a:lnTo>
                    <a:pt x="278039" y="194680"/>
                  </a:lnTo>
                  <a:lnTo>
                    <a:pt x="278039" y="194680"/>
                  </a:lnTo>
                  <a:lnTo>
                    <a:pt x="304215" y="179598"/>
                  </a:lnTo>
                  <a:lnTo>
                    <a:pt x="304215" y="179598"/>
                  </a:lnTo>
                  <a:lnTo>
                    <a:pt x="312970" y="174570"/>
                  </a:lnTo>
                  <a:lnTo>
                    <a:pt x="312970" y="174570"/>
                  </a:lnTo>
                  <a:lnTo>
                    <a:pt x="363157" y="145533"/>
                  </a:lnTo>
                  <a:cubicBezTo>
                    <a:pt x="363157" y="145533"/>
                    <a:pt x="364023" y="146226"/>
                    <a:pt x="364543" y="146573"/>
                  </a:cubicBezTo>
                  <a:lnTo>
                    <a:pt x="373558" y="151774"/>
                  </a:lnTo>
                  <a:cubicBezTo>
                    <a:pt x="374772" y="152467"/>
                    <a:pt x="376072" y="152814"/>
                    <a:pt x="377372" y="152814"/>
                  </a:cubicBezTo>
                  <a:cubicBezTo>
                    <a:pt x="379972" y="152814"/>
                    <a:pt x="382573" y="151427"/>
                    <a:pt x="383959" y="149000"/>
                  </a:cubicBezTo>
                  <a:cubicBezTo>
                    <a:pt x="386040" y="145360"/>
                    <a:pt x="384826" y="140766"/>
                    <a:pt x="381186" y="138685"/>
                  </a:cubicBezTo>
                  <a:close/>
                </a:path>
              </a:pathLst>
            </a:custGeom>
            <a:solidFill>
              <a:schemeClr val="accent3"/>
            </a:solidFill>
            <a:ln w="8572" cap="flat">
              <a:noFill/>
              <a:prstDash val="solid"/>
              <a:miter/>
            </a:ln>
          </p:spPr>
          <p:txBody>
            <a:bodyPr rtlCol="0" anchor="ctr"/>
            <a:lstStyle/>
            <a:p>
              <a:endParaRPr lang="pt-BR"/>
            </a:p>
          </p:txBody>
        </p:sp>
        <p:sp>
          <p:nvSpPr>
            <p:cNvPr id="58" name="Forma Livre: Forma 57">
              <a:extLst>
                <a:ext uri="{FF2B5EF4-FFF2-40B4-BE49-F238E27FC236}">
                  <a16:creationId xmlns:a16="http://schemas.microsoft.com/office/drawing/2014/main" id="{50E8B326-5A96-862C-67B4-01D06F8EF9F4}"/>
                </a:ext>
              </a:extLst>
            </p:cNvPr>
            <p:cNvSpPr/>
            <p:nvPr/>
          </p:nvSpPr>
          <p:spPr>
            <a:xfrm>
              <a:off x="2726847" y="3636251"/>
              <a:ext cx="23958" cy="20257"/>
            </a:xfrm>
            <a:custGeom>
              <a:avLst/>
              <a:gdLst>
                <a:gd name="connsiteX0" fmla="*/ 22857 w 23958"/>
                <a:gd name="connsiteY0" fmla="*/ 3788 h 20257"/>
                <a:gd name="connsiteX1" fmla="*/ 12543 w 23958"/>
                <a:gd name="connsiteY1" fmla="*/ 1015 h 20257"/>
                <a:gd name="connsiteX2" fmla="*/ 3788 w 23958"/>
                <a:gd name="connsiteY2" fmla="*/ 6042 h 20257"/>
                <a:gd name="connsiteX3" fmla="*/ 1015 w 23958"/>
                <a:gd name="connsiteY3" fmla="*/ 16443 h 20257"/>
                <a:gd name="connsiteX4" fmla="*/ 7602 w 23958"/>
                <a:gd name="connsiteY4" fmla="*/ 20257 h 20257"/>
                <a:gd name="connsiteX5" fmla="*/ 11416 w 23958"/>
                <a:gd name="connsiteY5" fmla="*/ 19217 h 20257"/>
                <a:gd name="connsiteX6" fmla="*/ 20170 w 23958"/>
                <a:gd name="connsiteY6" fmla="*/ 14190 h 20257"/>
                <a:gd name="connsiteX7" fmla="*/ 22944 w 23958"/>
                <a:gd name="connsiteY7" fmla="*/ 3788 h 2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8" h="20257">
                  <a:moveTo>
                    <a:pt x="22857" y="3788"/>
                  </a:moveTo>
                  <a:cubicBezTo>
                    <a:pt x="20777" y="148"/>
                    <a:pt x="16097" y="-1066"/>
                    <a:pt x="12543" y="1015"/>
                  </a:cubicBezTo>
                  <a:lnTo>
                    <a:pt x="3788" y="6042"/>
                  </a:lnTo>
                  <a:cubicBezTo>
                    <a:pt x="148" y="8122"/>
                    <a:pt x="-1066" y="12803"/>
                    <a:pt x="1015" y="16443"/>
                  </a:cubicBezTo>
                  <a:cubicBezTo>
                    <a:pt x="2401" y="18870"/>
                    <a:pt x="5002" y="20257"/>
                    <a:pt x="7602" y="20257"/>
                  </a:cubicBezTo>
                  <a:cubicBezTo>
                    <a:pt x="8902" y="20257"/>
                    <a:pt x="10202" y="19910"/>
                    <a:pt x="11416" y="19217"/>
                  </a:cubicBezTo>
                  <a:lnTo>
                    <a:pt x="20170" y="14190"/>
                  </a:lnTo>
                  <a:cubicBezTo>
                    <a:pt x="23811" y="12109"/>
                    <a:pt x="25024" y="7429"/>
                    <a:pt x="22944" y="3788"/>
                  </a:cubicBezTo>
                  <a:close/>
                </a:path>
              </a:pathLst>
            </a:custGeom>
            <a:solidFill>
              <a:srgbClr val="000532"/>
            </a:solidFill>
            <a:ln w="8572" cap="flat">
              <a:noFill/>
              <a:prstDash val="solid"/>
              <a:miter/>
            </a:ln>
          </p:spPr>
          <p:txBody>
            <a:bodyPr rtlCol="0" anchor="ctr"/>
            <a:lstStyle/>
            <a:p>
              <a:endParaRPr lang="pt-BR"/>
            </a:p>
          </p:txBody>
        </p:sp>
        <p:sp>
          <p:nvSpPr>
            <p:cNvPr id="59" name="Forma Livre: Forma 58">
              <a:extLst>
                <a:ext uri="{FF2B5EF4-FFF2-40B4-BE49-F238E27FC236}">
                  <a16:creationId xmlns:a16="http://schemas.microsoft.com/office/drawing/2014/main" id="{167565E7-733F-B4CE-DB77-511911859769}"/>
                </a:ext>
              </a:extLst>
            </p:cNvPr>
            <p:cNvSpPr/>
            <p:nvPr/>
          </p:nvSpPr>
          <p:spPr>
            <a:xfrm>
              <a:off x="2573513" y="3233344"/>
              <a:ext cx="386534" cy="354514"/>
            </a:xfrm>
            <a:custGeom>
              <a:avLst/>
              <a:gdLst>
                <a:gd name="connsiteX0" fmla="*/ 383006 w 386534"/>
                <a:gd name="connsiteY0" fmla="*/ 109041 h 354514"/>
                <a:gd name="connsiteX1" fmla="*/ 375292 w 386534"/>
                <a:gd name="connsiteY1" fmla="*/ 104534 h 354514"/>
                <a:gd name="connsiteX2" fmla="*/ 381186 w 386534"/>
                <a:gd name="connsiteY2" fmla="*/ 101154 h 354514"/>
                <a:gd name="connsiteX3" fmla="*/ 383959 w 386534"/>
                <a:gd name="connsiteY3" fmla="*/ 90839 h 354514"/>
                <a:gd name="connsiteX4" fmla="*/ 373645 w 386534"/>
                <a:gd name="connsiteY4" fmla="*/ 88065 h 354514"/>
                <a:gd name="connsiteX5" fmla="*/ 364630 w 386534"/>
                <a:gd name="connsiteY5" fmla="*/ 93266 h 354514"/>
                <a:gd name="connsiteX6" fmla="*/ 361596 w 386534"/>
                <a:gd name="connsiteY6" fmla="*/ 96646 h 354514"/>
                <a:gd name="connsiteX7" fmla="*/ 197254 w 386534"/>
                <a:gd name="connsiteY7" fmla="*/ 953 h 354514"/>
                <a:gd name="connsiteX8" fmla="*/ 197254 w 386534"/>
                <a:gd name="connsiteY8" fmla="*/ 953 h 354514"/>
                <a:gd name="connsiteX9" fmla="*/ 196388 w 386534"/>
                <a:gd name="connsiteY9" fmla="*/ 520 h 354514"/>
                <a:gd name="connsiteX10" fmla="*/ 196388 w 386534"/>
                <a:gd name="connsiteY10" fmla="*/ 520 h 354514"/>
                <a:gd name="connsiteX11" fmla="*/ 195521 w 386534"/>
                <a:gd name="connsiteY11" fmla="*/ 260 h 354514"/>
                <a:gd name="connsiteX12" fmla="*/ 195261 w 386534"/>
                <a:gd name="connsiteY12" fmla="*/ 260 h 354514"/>
                <a:gd name="connsiteX13" fmla="*/ 194567 w 386534"/>
                <a:gd name="connsiteY13" fmla="*/ 87 h 354514"/>
                <a:gd name="connsiteX14" fmla="*/ 194307 w 386534"/>
                <a:gd name="connsiteY14" fmla="*/ 87 h 354514"/>
                <a:gd name="connsiteX15" fmla="*/ 193440 w 386534"/>
                <a:gd name="connsiteY15" fmla="*/ 0 h 354514"/>
                <a:gd name="connsiteX16" fmla="*/ 193440 w 386534"/>
                <a:gd name="connsiteY16" fmla="*/ 0 h 354514"/>
                <a:gd name="connsiteX17" fmla="*/ 192574 w 386534"/>
                <a:gd name="connsiteY17" fmla="*/ 0 h 354514"/>
                <a:gd name="connsiteX18" fmla="*/ 192314 w 386534"/>
                <a:gd name="connsiteY18" fmla="*/ 0 h 354514"/>
                <a:gd name="connsiteX19" fmla="*/ 191620 w 386534"/>
                <a:gd name="connsiteY19" fmla="*/ 173 h 354514"/>
                <a:gd name="connsiteX20" fmla="*/ 191360 w 386534"/>
                <a:gd name="connsiteY20" fmla="*/ 173 h 354514"/>
                <a:gd name="connsiteX21" fmla="*/ 190493 w 386534"/>
                <a:gd name="connsiteY21" fmla="*/ 520 h 354514"/>
                <a:gd name="connsiteX22" fmla="*/ 190493 w 386534"/>
                <a:gd name="connsiteY22" fmla="*/ 520 h 354514"/>
                <a:gd name="connsiteX23" fmla="*/ 189627 w 386534"/>
                <a:gd name="connsiteY23" fmla="*/ 953 h 354514"/>
                <a:gd name="connsiteX24" fmla="*/ 189627 w 386534"/>
                <a:gd name="connsiteY24" fmla="*/ 953 h 354514"/>
                <a:gd name="connsiteX25" fmla="*/ 25284 w 386534"/>
                <a:gd name="connsiteY25" fmla="*/ 96560 h 354514"/>
                <a:gd name="connsiteX26" fmla="*/ 22251 w 386534"/>
                <a:gd name="connsiteY26" fmla="*/ 93179 h 354514"/>
                <a:gd name="connsiteX27" fmla="*/ 13236 w 386534"/>
                <a:gd name="connsiteY27" fmla="*/ 87979 h 354514"/>
                <a:gd name="connsiteX28" fmla="*/ 2921 w 386534"/>
                <a:gd name="connsiteY28" fmla="*/ 90752 h 354514"/>
                <a:gd name="connsiteX29" fmla="*/ 5695 w 386534"/>
                <a:gd name="connsiteY29" fmla="*/ 101067 h 354514"/>
                <a:gd name="connsiteX30" fmla="*/ 11503 w 386534"/>
                <a:gd name="connsiteY30" fmla="*/ 104447 h 354514"/>
                <a:gd name="connsiteX31" fmla="*/ 3788 w 386534"/>
                <a:gd name="connsiteY31" fmla="*/ 108955 h 354514"/>
                <a:gd name="connsiteX32" fmla="*/ 1015 w 386534"/>
                <a:gd name="connsiteY32" fmla="*/ 119356 h 354514"/>
                <a:gd name="connsiteX33" fmla="*/ 7602 w 386534"/>
                <a:gd name="connsiteY33" fmla="*/ 123170 h 354514"/>
                <a:gd name="connsiteX34" fmla="*/ 11416 w 386534"/>
                <a:gd name="connsiteY34" fmla="*/ 122130 h 354514"/>
                <a:gd name="connsiteX35" fmla="*/ 19130 w 386534"/>
                <a:gd name="connsiteY35" fmla="*/ 117709 h 354514"/>
                <a:gd name="connsiteX36" fmla="*/ 19130 w 386534"/>
                <a:gd name="connsiteY36" fmla="*/ 137298 h 354514"/>
                <a:gd name="connsiteX37" fmla="*/ 26671 w 386534"/>
                <a:gd name="connsiteY37" fmla="*/ 144840 h 354514"/>
                <a:gd name="connsiteX38" fmla="*/ 34212 w 386534"/>
                <a:gd name="connsiteY38" fmla="*/ 137298 h 354514"/>
                <a:gd name="connsiteX39" fmla="*/ 34212 w 386534"/>
                <a:gd name="connsiteY39" fmla="*/ 117709 h 354514"/>
                <a:gd name="connsiteX40" fmla="*/ 181392 w 386534"/>
                <a:gd name="connsiteY40" fmla="*/ 202654 h 354514"/>
                <a:gd name="connsiteX41" fmla="*/ 182346 w 386534"/>
                <a:gd name="connsiteY41" fmla="*/ 207248 h 354514"/>
                <a:gd name="connsiteX42" fmla="*/ 185813 w 386534"/>
                <a:gd name="connsiteY42" fmla="*/ 210368 h 354514"/>
                <a:gd name="connsiteX43" fmla="*/ 185813 w 386534"/>
                <a:gd name="connsiteY43" fmla="*/ 346973 h 354514"/>
                <a:gd name="connsiteX44" fmla="*/ 193354 w 386534"/>
                <a:gd name="connsiteY44" fmla="*/ 354514 h 354514"/>
                <a:gd name="connsiteX45" fmla="*/ 200895 w 386534"/>
                <a:gd name="connsiteY45" fmla="*/ 346973 h 354514"/>
                <a:gd name="connsiteX46" fmla="*/ 200895 w 386534"/>
                <a:gd name="connsiteY46" fmla="*/ 210368 h 354514"/>
                <a:gd name="connsiteX47" fmla="*/ 204362 w 386534"/>
                <a:gd name="connsiteY47" fmla="*/ 207248 h 354514"/>
                <a:gd name="connsiteX48" fmla="*/ 205315 w 386534"/>
                <a:gd name="connsiteY48" fmla="*/ 202654 h 354514"/>
                <a:gd name="connsiteX49" fmla="*/ 352409 w 386534"/>
                <a:gd name="connsiteY49" fmla="*/ 117709 h 354514"/>
                <a:gd name="connsiteX50" fmla="*/ 352409 w 386534"/>
                <a:gd name="connsiteY50" fmla="*/ 117709 h 354514"/>
                <a:gd name="connsiteX51" fmla="*/ 352409 w 386534"/>
                <a:gd name="connsiteY51" fmla="*/ 234032 h 354514"/>
                <a:gd name="connsiteX52" fmla="*/ 359950 w 386534"/>
                <a:gd name="connsiteY52" fmla="*/ 241573 h 354514"/>
                <a:gd name="connsiteX53" fmla="*/ 367491 w 386534"/>
                <a:gd name="connsiteY53" fmla="*/ 234032 h 354514"/>
                <a:gd name="connsiteX54" fmla="*/ 367491 w 386534"/>
                <a:gd name="connsiteY54" fmla="*/ 117796 h 354514"/>
                <a:gd name="connsiteX55" fmla="*/ 375118 w 386534"/>
                <a:gd name="connsiteY55" fmla="*/ 122216 h 354514"/>
                <a:gd name="connsiteX56" fmla="*/ 378932 w 386534"/>
                <a:gd name="connsiteY56" fmla="*/ 123257 h 354514"/>
                <a:gd name="connsiteX57" fmla="*/ 385520 w 386534"/>
                <a:gd name="connsiteY57" fmla="*/ 119443 h 354514"/>
                <a:gd name="connsiteX58" fmla="*/ 382746 w 386534"/>
                <a:gd name="connsiteY58" fmla="*/ 109041 h 354514"/>
                <a:gd name="connsiteX59" fmla="*/ 193440 w 386534"/>
                <a:gd name="connsiteY59" fmla="*/ 192079 h 354514"/>
                <a:gd name="connsiteX60" fmla="*/ 41840 w 386534"/>
                <a:gd name="connsiteY60" fmla="*/ 104534 h 354514"/>
                <a:gd name="connsiteX61" fmla="*/ 186333 w 386534"/>
                <a:gd name="connsiteY61" fmla="*/ 20803 h 354514"/>
                <a:gd name="connsiteX62" fmla="*/ 186506 w 386534"/>
                <a:gd name="connsiteY62" fmla="*/ 20803 h 354514"/>
                <a:gd name="connsiteX63" fmla="*/ 193440 w 386534"/>
                <a:gd name="connsiteY63" fmla="*/ 25223 h 354514"/>
                <a:gd name="connsiteX64" fmla="*/ 200461 w 386534"/>
                <a:gd name="connsiteY64" fmla="*/ 20456 h 354514"/>
                <a:gd name="connsiteX65" fmla="*/ 201068 w 386534"/>
                <a:gd name="connsiteY65" fmla="*/ 20803 h 354514"/>
                <a:gd name="connsiteX66" fmla="*/ 202022 w 386534"/>
                <a:gd name="connsiteY66" fmla="*/ 21236 h 354514"/>
                <a:gd name="connsiteX67" fmla="*/ 226465 w 386534"/>
                <a:gd name="connsiteY67" fmla="*/ 35451 h 354514"/>
                <a:gd name="connsiteX68" fmla="*/ 227245 w 386534"/>
                <a:gd name="connsiteY68" fmla="*/ 35972 h 354514"/>
                <a:gd name="connsiteX69" fmla="*/ 236000 w 386534"/>
                <a:gd name="connsiteY69" fmla="*/ 40999 h 354514"/>
                <a:gd name="connsiteX70" fmla="*/ 236780 w 386534"/>
                <a:gd name="connsiteY70" fmla="*/ 41346 h 354514"/>
                <a:gd name="connsiteX71" fmla="*/ 261483 w 386534"/>
                <a:gd name="connsiteY71" fmla="*/ 55734 h 354514"/>
                <a:gd name="connsiteX72" fmla="*/ 262176 w 386534"/>
                <a:gd name="connsiteY72" fmla="*/ 56168 h 354514"/>
                <a:gd name="connsiteX73" fmla="*/ 270931 w 386534"/>
                <a:gd name="connsiteY73" fmla="*/ 61195 h 354514"/>
                <a:gd name="connsiteX74" fmla="*/ 271451 w 386534"/>
                <a:gd name="connsiteY74" fmla="*/ 61455 h 354514"/>
                <a:gd name="connsiteX75" fmla="*/ 296588 w 386534"/>
                <a:gd name="connsiteY75" fmla="*/ 76104 h 354514"/>
                <a:gd name="connsiteX76" fmla="*/ 297108 w 386534"/>
                <a:gd name="connsiteY76" fmla="*/ 76450 h 354514"/>
                <a:gd name="connsiteX77" fmla="*/ 305862 w 386534"/>
                <a:gd name="connsiteY77" fmla="*/ 81478 h 354514"/>
                <a:gd name="connsiteX78" fmla="*/ 306209 w 386534"/>
                <a:gd name="connsiteY78" fmla="*/ 81651 h 354514"/>
                <a:gd name="connsiteX79" fmla="*/ 331866 w 386534"/>
                <a:gd name="connsiteY79" fmla="*/ 96560 h 354514"/>
                <a:gd name="connsiteX80" fmla="*/ 332039 w 386534"/>
                <a:gd name="connsiteY80" fmla="*/ 96560 h 354514"/>
                <a:gd name="connsiteX81" fmla="*/ 340794 w 386534"/>
                <a:gd name="connsiteY81" fmla="*/ 101760 h 354514"/>
                <a:gd name="connsiteX82" fmla="*/ 340880 w 386534"/>
                <a:gd name="connsiteY82" fmla="*/ 101760 h 354514"/>
                <a:gd name="connsiteX83" fmla="*/ 345301 w 386534"/>
                <a:gd name="connsiteY83" fmla="*/ 104361 h 354514"/>
                <a:gd name="connsiteX84" fmla="*/ 193700 w 386534"/>
                <a:gd name="connsiteY84" fmla="*/ 191906 h 35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86534" h="354514">
                  <a:moveTo>
                    <a:pt x="383006" y="109041"/>
                  </a:moveTo>
                  <a:lnTo>
                    <a:pt x="375292" y="104534"/>
                  </a:lnTo>
                  <a:lnTo>
                    <a:pt x="381186" y="101154"/>
                  </a:lnTo>
                  <a:cubicBezTo>
                    <a:pt x="384826" y="99073"/>
                    <a:pt x="386040" y="94393"/>
                    <a:pt x="383959" y="90839"/>
                  </a:cubicBezTo>
                  <a:cubicBezTo>
                    <a:pt x="381879" y="87198"/>
                    <a:pt x="377199" y="85985"/>
                    <a:pt x="373645" y="88065"/>
                  </a:cubicBezTo>
                  <a:lnTo>
                    <a:pt x="364630" y="93266"/>
                  </a:lnTo>
                  <a:cubicBezTo>
                    <a:pt x="363243" y="94046"/>
                    <a:pt x="362203" y="95259"/>
                    <a:pt x="361596" y="96646"/>
                  </a:cubicBezTo>
                  <a:lnTo>
                    <a:pt x="197254" y="953"/>
                  </a:lnTo>
                  <a:lnTo>
                    <a:pt x="197254" y="953"/>
                  </a:lnTo>
                  <a:cubicBezTo>
                    <a:pt x="197254" y="953"/>
                    <a:pt x="196734" y="607"/>
                    <a:pt x="196388" y="520"/>
                  </a:cubicBezTo>
                  <a:lnTo>
                    <a:pt x="196388" y="520"/>
                  </a:lnTo>
                  <a:cubicBezTo>
                    <a:pt x="196388" y="520"/>
                    <a:pt x="195867" y="347"/>
                    <a:pt x="195521" y="260"/>
                  </a:cubicBezTo>
                  <a:lnTo>
                    <a:pt x="195261" y="260"/>
                  </a:lnTo>
                  <a:cubicBezTo>
                    <a:pt x="195261" y="260"/>
                    <a:pt x="194827" y="87"/>
                    <a:pt x="194567" y="87"/>
                  </a:cubicBezTo>
                  <a:lnTo>
                    <a:pt x="194307" y="87"/>
                  </a:lnTo>
                  <a:cubicBezTo>
                    <a:pt x="194307" y="87"/>
                    <a:pt x="193700" y="0"/>
                    <a:pt x="193440" y="0"/>
                  </a:cubicBezTo>
                  <a:lnTo>
                    <a:pt x="193440" y="0"/>
                  </a:lnTo>
                  <a:cubicBezTo>
                    <a:pt x="193440" y="0"/>
                    <a:pt x="192834" y="0"/>
                    <a:pt x="192574" y="0"/>
                  </a:cubicBezTo>
                  <a:lnTo>
                    <a:pt x="192314" y="0"/>
                  </a:lnTo>
                  <a:cubicBezTo>
                    <a:pt x="192314" y="0"/>
                    <a:pt x="191880" y="87"/>
                    <a:pt x="191620" y="173"/>
                  </a:cubicBezTo>
                  <a:lnTo>
                    <a:pt x="191360" y="173"/>
                  </a:lnTo>
                  <a:cubicBezTo>
                    <a:pt x="191360" y="173"/>
                    <a:pt x="190753" y="433"/>
                    <a:pt x="190493" y="520"/>
                  </a:cubicBezTo>
                  <a:lnTo>
                    <a:pt x="190493" y="520"/>
                  </a:lnTo>
                  <a:cubicBezTo>
                    <a:pt x="190493" y="520"/>
                    <a:pt x="189887" y="780"/>
                    <a:pt x="189627" y="953"/>
                  </a:cubicBezTo>
                  <a:lnTo>
                    <a:pt x="189627" y="953"/>
                  </a:lnTo>
                  <a:lnTo>
                    <a:pt x="25284" y="96560"/>
                  </a:lnTo>
                  <a:cubicBezTo>
                    <a:pt x="24678" y="95173"/>
                    <a:pt x="23638" y="94046"/>
                    <a:pt x="22251" y="93179"/>
                  </a:cubicBezTo>
                  <a:lnTo>
                    <a:pt x="13236" y="87979"/>
                  </a:lnTo>
                  <a:cubicBezTo>
                    <a:pt x="9596" y="85898"/>
                    <a:pt x="5002" y="87112"/>
                    <a:pt x="2921" y="90752"/>
                  </a:cubicBezTo>
                  <a:cubicBezTo>
                    <a:pt x="841" y="94393"/>
                    <a:pt x="2055" y="98987"/>
                    <a:pt x="5695" y="101067"/>
                  </a:cubicBezTo>
                  <a:lnTo>
                    <a:pt x="11503" y="104447"/>
                  </a:lnTo>
                  <a:lnTo>
                    <a:pt x="3788" y="108955"/>
                  </a:lnTo>
                  <a:cubicBezTo>
                    <a:pt x="148" y="111035"/>
                    <a:pt x="-1066" y="115716"/>
                    <a:pt x="1015" y="119356"/>
                  </a:cubicBezTo>
                  <a:cubicBezTo>
                    <a:pt x="2401" y="121783"/>
                    <a:pt x="5002" y="123170"/>
                    <a:pt x="7602" y="123170"/>
                  </a:cubicBezTo>
                  <a:cubicBezTo>
                    <a:pt x="8902" y="123170"/>
                    <a:pt x="10202" y="122823"/>
                    <a:pt x="11416" y="122130"/>
                  </a:cubicBezTo>
                  <a:lnTo>
                    <a:pt x="19130" y="117709"/>
                  </a:lnTo>
                  <a:lnTo>
                    <a:pt x="19130" y="137298"/>
                  </a:lnTo>
                  <a:cubicBezTo>
                    <a:pt x="19130" y="141459"/>
                    <a:pt x="22511" y="144840"/>
                    <a:pt x="26671" y="144840"/>
                  </a:cubicBezTo>
                  <a:cubicBezTo>
                    <a:pt x="30832" y="144840"/>
                    <a:pt x="34212" y="141459"/>
                    <a:pt x="34212" y="137298"/>
                  </a:cubicBezTo>
                  <a:lnTo>
                    <a:pt x="34212" y="117709"/>
                  </a:lnTo>
                  <a:lnTo>
                    <a:pt x="181392" y="202654"/>
                  </a:lnTo>
                  <a:cubicBezTo>
                    <a:pt x="181219" y="204214"/>
                    <a:pt x="181566" y="205774"/>
                    <a:pt x="182346" y="207248"/>
                  </a:cubicBezTo>
                  <a:cubicBezTo>
                    <a:pt x="183212" y="208721"/>
                    <a:pt x="184426" y="209762"/>
                    <a:pt x="185813" y="210368"/>
                  </a:cubicBezTo>
                  <a:lnTo>
                    <a:pt x="185813" y="346973"/>
                  </a:lnTo>
                  <a:cubicBezTo>
                    <a:pt x="185813" y="351134"/>
                    <a:pt x="189193" y="354514"/>
                    <a:pt x="193354" y="354514"/>
                  </a:cubicBezTo>
                  <a:cubicBezTo>
                    <a:pt x="197514" y="354514"/>
                    <a:pt x="200895" y="351134"/>
                    <a:pt x="200895" y="346973"/>
                  </a:cubicBezTo>
                  <a:lnTo>
                    <a:pt x="200895" y="210368"/>
                  </a:lnTo>
                  <a:cubicBezTo>
                    <a:pt x="202282" y="209762"/>
                    <a:pt x="203582" y="208721"/>
                    <a:pt x="204362" y="207248"/>
                  </a:cubicBezTo>
                  <a:cubicBezTo>
                    <a:pt x="205229" y="205774"/>
                    <a:pt x="205489" y="204214"/>
                    <a:pt x="205315" y="202654"/>
                  </a:cubicBezTo>
                  <a:lnTo>
                    <a:pt x="352409" y="117709"/>
                  </a:lnTo>
                  <a:lnTo>
                    <a:pt x="352409" y="117709"/>
                  </a:lnTo>
                  <a:lnTo>
                    <a:pt x="352409" y="234032"/>
                  </a:lnTo>
                  <a:cubicBezTo>
                    <a:pt x="352409" y="238192"/>
                    <a:pt x="355789" y="241573"/>
                    <a:pt x="359950" y="241573"/>
                  </a:cubicBezTo>
                  <a:cubicBezTo>
                    <a:pt x="364110" y="241573"/>
                    <a:pt x="367491" y="238192"/>
                    <a:pt x="367491" y="234032"/>
                  </a:cubicBezTo>
                  <a:lnTo>
                    <a:pt x="367491" y="117796"/>
                  </a:lnTo>
                  <a:lnTo>
                    <a:pt x="375118" y="122216"/>
                  </a:lnTo>
                  <a:cubicBezTo>
                    <a:pt x="376332" y="122910"/>
                    <a:pt x="377632" y="123257"/>
                    <a:pt x="378932" y="123257"/>
                  </a:cubicBezTo>
                  <a:cubicBezTo>
                    <a:pt x="381532" y="123257"/>
                    <a:pt x="384046" y="121870"/>
                    <a:pt x="385520" y="119443"/>
                  </a:cubicBezTo>
                  <a:cubicBezTo>
                    <a:pt x="387600" y="115802"/>
                    <a:pt x="386386" y="111208"/>
                    <a:pt x="382746" y="109041"/>
                  </a:cubicBezTo>
                  <a:close/>
                  <a:moveTo>
                    <a:pt x="193440" y="192079"/>
                  </a:moveTo>
                  <a:lnTo>
                    <a:pt x="41840" y="104534"/>
                  </a:lnTo>
                  <a:lnTo>
                    <a:pt x="186333" y="20803"/>
                  </a:lnTo>
                  <a:lnTo>
                    <a:pt x="186506" y="20803"/>
                  </a:lnTo>
                  <a:cubicBezTo>
                    <a:pt x="187720" y="23316"/>
                    <a:pt x="190320" y="25223"/>
                    <a:pt x="193440" y="25223"/>
                  </a:cubicBezTo>
                  <a:cubicBezTo>
                    <a:pt x="196561" y="25223"/>
                    <a:pt x="199335" y="23230"/>
                    <a:pt x="200461" y="20456"/>
                  </a:cubicBezTo>
                  <a:lnTo>
                    <a:pt x="201068" y="20803"/>
                  </a:lnTo>
                  <a:cubicBezTo>
                    <a:pt x="201068" y="20803"/>
                    <a:pt x="201675" y="21150"/>
                    <a:pt x="202022" y="21236"/>
                  </a:cubicBezTo>
                  <a:lnTo>
                    <a:pt x="226465" y="35451"/>
                  </a:lnTo>
                  <a:cubicBezTo>
                    <a:pt x="226465" y="35451"/>
                    <a:pt x="226985" y="35798"/>
                    <a:pt x="227245" y="35972"/>
                  </a:cubicBezTo>
                  <a:lnTo>
                    <a:pt x="236000" y="40999"/>
                  </a:lnTo>
                  <a:cubicBezTo>
                    <a:pt x="236000" y="40999"/>
                    <a:pt x="236520" y="41259"/>
                    <a:pt x="236780" y="41346"/>
                  </a:cubicBezTo>
                  <a:lnTo>
                    <a:pt x="261483" y="55734"/>
                  </a:lnTo>
                  <a:cubicBezTo>
                    <a:pt x="261483" y="55734"/>
                    <a:pt x="261916" y="56081"/>
                    <a:pt x="262176" y="56168"/>
                  </a:cubicBezTo>
                  <a:lnTo>
                    <a:pt x="270931" y="61195"/>
                  </a:lnTo>
                  <a:cubicBezTo>
                    <a:pt x="270931" y="61195"/>
                    <a:pt x="271278" y="61368"/>
                    <a:pt x="271451" y="61455"/>
                  </a:cubicBezTo>
                  <a:lnTo>
                    <a:pt x="296588" y="76104"/>
                  </a:lnTo>
                  <a:cubicBezTo>
                    <a:pt x="296588" y="76104"/>
                    <a:pt x="296934" y="76364"/>
                    <a:pt x="297108" y="76450"/>
                  </a:cubicBezTo>
                  <a:lnTo>
                    <a:pt x="305862" y="81478"/>
                  </a:lnTo>
                  <a:cubicBezTo>
                    <a:pt x="305862" y="81478"/>
                    <a:pt x="306036" y="81564"/>
                    <a:pt x="306209" y="81651"/>
                  </a:cubicBezTo>
                  <a:lnTo>
                    <a:pt x="331866" y="96560"/>
                  </a:lnTo>
                  <a:lnTo>
                    <a:pt x="332039" y="96560"/>
                  </a:lnTo>
                  <a:lnTo>
                    <a:pt x="340794" y="101760"/>
                  </a:lnTo>
                  <a:lnTo>
                    <a:pt x="340880" y="101760"/>
                  </a:lnTo>
                  <a:lnTo>
                    <a:pt x="345301" y="104361"/>
                  </a:lnTo>
                  <a:lnTo>
                    <a:pt x="193700" y="191906"/>
                  </a:lnTo>
                  <a:close/>
                </a:path>
              </a:pathLst>
            </a:custGeom>
            <a:solidFill>
              <a:schemeClr val="accent3"/>
            </a:solidFill>
            <a:ln w="8572" cap="flat">
              <a:noFill/>
              <a:prstDash val="solid"/>
              <a:miter/>
            </a:ln>
          </p:spPr>
          <p:txBody>
            <a:bodyPr rtlCol="0" anchor="ctr"/>
            <a:lstStyle/>
            <a:p>
              <a:endParaRPr lang="pt-BR"/>
            </a:p>
          </p:txBody>
        </p:sp>
        <p:sp>
          <p:nvSpPr>
            <p:cNvPr id="60" name="Forma Livre: Forma 59">
              <a:extLst>
                <a:ext uri="{FF2B5EF4-FFF2-40B4-BE49-F238E27FC236}">
                  <a16:creationId xmlns:a16="http://schemas.microsoft.com/office/drawing/2014/main" id="{D4749136-8C1E-0D31-4A31-3BD7DEADF4A6}"/>
                </a:ext>
              </a:extLst>
            </p:cNvPr>
            <p:cNvSpPr/>
            <p:nvPr/>
          </p:nvSpPr>
          <p:spPr>
            <a:xfrm>
              <a:off x="2759412" y="3394999"/>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sp>
          <p:nvSpPr>
            <p:cNvPr id="61" name="Forma Livre: Forma 60">
              <a:extLst>
                <a:ext uri="{FF2B5EF4-FFF2-40B4-BE49-F238E27FC236}">
                  <a16:creationId xmlns:a16="http://schemas.microsoft.com/office/drawing/2014/main" id="{D79D1868-37A9-8116-A6A1-28A332337F3A}"/>
                </a:ext>
              </a:extLst>
            </p:cNvPr>
            <p:cNvSpPr/>
            <p:nvPr/>
          </p:nvSpPr>
          <p:spPr>
            <a:xfrm>
              <a:off x="2759412" y="3273650"/>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sp>
          <p:nvSpPr>
            <p:cNvPr id="62" name="Forma Livre: Forma 61">
              <a:extLst>
                <a:ext uri="{FF2B5EF4-FFF2-40B4-BE49-F238E27FC236}">
                  <a16:creationId xmlns:a16="http://schemas.microsoft.com/office/drawing/2014/main" id="{DBE7D8B6-9D06-F68C-DD2A-4B3B2B265753}"/>
                </a:ext>
              </a:extLst>
            </p:cNvPr>
            <p:cNvSpPr/>
            <p:nvPr/>
          </p:nvSpPr>
          <p:spPr>
            <a:xfrm>
              <a:off x="2759412" y="3314128"/>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B0D3DA20-677C-19D6-2EA8-9024C8A649F4}"/>
                </a:ext>
              </a:extLst>
            </p:cNvPr>
            <p:cNvSpPr/>
            <p:nvPr/>
          </p:nvSpPr>
          <p:spPr>
            <a:xfrm>
              <a:off x="2759412" y="3354607"/>
              <a:ext cx="15082" cy="25223"/>
            </a:xfrm>
            <a:custGeom>
              <a:avLst/>
              <a:gdLst>
                <a:gd name="connsiteX0" fmla="*/ 7541 w 15082"/>
                <a:gd name="connsiteY0" fmla="*/ 0 h 25223"/>
                <a:gd name="connsiteX1" fmla="*/ 0 w 15082"/>
                <a:gd name="connsiteY1" fmla="*/ 7541 h 25223"/>
                <a:gd name="connsiteX2" fmla="*/ 0 w 15082"/>
                <a:gd name="connsiteY2" fmla="*/ 17682 h 25223"/>
                <a:gd name="connsiteX3" fmla="*/ 7541 w 15082"/>
                <a:gd name="connsiteY3" fmla="*/ 25223 h 25223"/>
                <a:gd name="connsiteX4" fmla="*/ 15082 w 15082"/>
                <a:gd name="connsiteY4" fmla="*/ 17682 h 25223"/>
                <a:gd name="connsiteX5" fmla="*/ 15082 w 15082"/>
                <a:gd name="connsiteY5" fmla="*/ 7541 h 25223"/>
                <a:gd name="connsiteX6" fmla="*/ 7541 w 15082"/>
                <a:gd name="connsiteY6" fmla="*/ 0 h 2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82" h="25223">
                  <a:moveTo>
                    <a:pt x="7541" y="0"/>
                  </a:moveTo>
                  <a:cubicBezTo>
                    <a:pt x="3380" y="0"/>
                    <a:pt x="0" y="3380"/>
                    <a:pt x="0" y="7541"/>
                  </a:cubicBezTo>
                  <a:lnTo>
                    <a:pt x="0" y="17682"/>
                  </a:lnTo>
                  <a:cubicBezTo>
                    <a:pt x="0" y="21843"/>
                    <a:pt x="3380" y="25223"/>
                    <a:pt x="7541" y="25223"/>
                  </a:cubicBezTo>
                  <a:cubicBezTo>
                    <a:pt x="11702" y="25223"/>
                    <a:pt x="15082" y="21843"/>
                    <a:pt x="15082" y="17682"/>
                  </a:cubicBezTo>
                  <a:lnTo>
                    <a:pt x="15082" y="7541"/>
                  </a:lnTo>
                  <a:cubicBezTo>
                    <a:pt x="15082" y="3380"/>
                    <a:pt x="11702" y="0"/>
                    <a:pt x="7541" y="0"/>
                  </a:cubicBezTo>
                  <a:close/>
                </a:path>
              </a:pathLst>
            </a:custGeom>
            <a:solidFill>
              <a:srgbClr val="000532"/>
            </a:solidFill>
            <a:ln w="8572" cap="flat">
              <a:noFill/>
              <a:prstDash val="solid"/>
              <a:miter/>
            </a:ln>
          </p:spPr>
          <p:txBody>
            <a:bodyPr rtlCol="0" anchor="ctr"/>
            <a:lstStyle/>
            <a:p>
              <a:endParaRPr lang="pt-BR"/>
            </a:p>
          </p:txBody>
        </p:sp>
      </p:grpSp>
      <p:sp>
        <p:nvSpPr>
          <p:cNvPr id="70" name="TextBox 11">
            <a:extLst>
              <a:ext uri="{FF2B5EF4-FFF2-40B4-BE49-F238E27FC236}">
                <a16:creationId xmlns:a16="http://schemas.microsoft.com/office/drawing/2014/main" id="{403F7D23-A3AA-1B2D-718B-A56672502B4F}"/>
              </a:ext>
            </a:extLst>
          </p:cNvPr>
          <p:cNvSpPr txBox="1"/>
          <p:nvPr/>
        </p:nvSpPr>
        <p:spPr>
          <a:xfrm>
            <a:off x="4443166" y="927964"/>
            <a:ext cx="1095514" cy="369332"/>
          </a:xfrm>
          <a:prstGeom prst="rect">
            <a:avLst/>
          </a:prstGeom>
          <a:noFill/>
        </p:spPr>
        <p:txBody>
          <a:bodyPr wrap="square">
            <a:spAutoFit/>
          </a:bodyPr>
          <a:lstStyle/>
          <a:p>
            <a:pPr marR="0" lvl="0" fontAlgn="auto">
              <a:spcBef>
                <a:spcPts val="0"/>
              </a:spcBef>
              <a:spcAft>
                <a:spcPts val="0"/>
              </a:spcAft>
              <a:buClrTx/>
              <a:buSzTx/>
              <a:tabLst/>
              <a:defRPr>
                <a:solidFill>
                  <a:srgbClr val="000000"/>
                </a:solidFill>
                <a:latin typeface="Montserrat Regular"/>
                <a:ea typeface="Montserrat Regular"/>
                <a:cs typeface="Montserrat Regular"/>
                <a:sym typeface="Montserrat Regular"/>
              </a:defRPr>
            </a:pPr>
            <a:r>
              <a:rPr lang="en-US" dirty="0">
                <a:solidFill>
                  <a:schemeClr val="tx1">
                    <a:alpha val="83000"/>
                  </a:schemeClr>
                </a:solidFill>
                <a:latin typeface="Verdana" panose="020B0604030504040204" pitchFamily="34" charset="0"/>
                <a:ea typeface="Verdana" panose="020B0604030504040204" pitchFamily="34" charset="0"/>
                <a:sym typeface="Montserrat Regular"/>
              </a:rPr>
              <a:t>Rethink</a:t>
            </a:r>
          </a:p>
        </p:txBody>
      </p:sp>
      <p:sp>
        <p:nvSpPr>
          <p:cNvPr id="71" name="TextBox 16">
            <a:extLst>
              <a:ext uri="{FF2B5EF4-FFF2-40B4-BE49-F238E27FC236}">
                <a16:creationId xmlns:a16="http://schemas.microsoft.com/office/drawing/2014/main" id="{4C6B69D3-2002-AA2B-7AB9-8596E3118F4F}"/>
              </a:ext>
            </a:extLst>
          </p:cNvPr>
          <p:cNvSpPr txBox="1"/>
          <p:nvPr/>
        </p:nvSpPr>
        <p:spPr>
          <a:xfrm>
            <a:off x="4443166" y="1286028"/>
            <a:ext cx="1095514" cy="369332"/>
          </a:xfrm>
          <a:prstGeom prst="rect">
            <a:avLst/>
          </a:prstGeom>
          <a:noFill/>
        </p:spPr>
        <p:txBody>
          <a:bodyPr wrap="square">
            <a:spAutoFit/>
          </a:bodyPr>
          <a:lstStyle/>
          <a:p>
            <a:pPr lvl="0" defTabSz="1828800" hangingPunct="0">
              <a:defRPr>
                <a:solidFill>
                  <a:srgbClr val="000000"/>
                </a:solidFill>
                <a:latin typeface="Montserrat Regular"/>
                <a:ea typeface="Montserrat Regular"/>
                <a:cs typeface="Montserrat Regular"/>
                <a:sym typeface="Montserrat Regular"/>
              </a:defRPr>
            </a:pPr>
            <a:r>
              <a:rPr lang="en-US" dirty="0">
                <a:solidFill>
                  <a:schemeClr val="tx1">
                    <a:alpha val="83000"/>
                  </a:schemeClr>
                </a:solidFill>
                <a:latin typeface="Verdana" panose="020B0604030504040204" pitchFamily="34" charset="0"/>
                <a:ea typeface="Verdana" panose="020B0604030504040204" pitchFamily="34" charset="0"/>
                <a:sym typeface="Montserrat Regular"/>
              </a:rPr>
              <a:t>Redraw</a:t>
            </a:r>
            <a:endParaRPr lang="pt-BR" dirty="0">
              <a:solidFill>
                <a:schemeClr val="tx1">
                  <a:alpha val="83000"/>
                </a:schemeClr>
              </a:solidFill>
              <a:latin typeface="Verdana" panose="020B0604030504040204" pitchFamily="34" charset="0"/>
              <a:ea typeface="Verdana" panose="020B0604030504040204" pitchFamily="34" charset="0"/>
              <a:sym typeface="Montserrat Regular"/>
            </a:endParaRPr>
          </a:p>
        </p:txBody>
      </p:sp>
      <p:sp>
        <p:nvSpPr>
          <p:cNvPr id="72" name="TextBox 8">
            <a:extLst>
              <a:ext uri="{FF2B5EF4-FFF2-40B4-BE49-F238E27FC236}">
                <a16:creationId xmlns:a16="http://schemas.microsoft.com/office/drawing/2014/main" id="{F16B95C6-2242-4B3D-8A85-F68AA0907238}"/>
              </a:ext>
            </a:extLst>
          </p:cNvPr>
          <p:cNvSpPr txBox="1"/>
          <p:nvPr/>
        </p:nvSpPr>
        <p:spPr>
          <a:xfrm>
            <a:off x="4445540" y="575348"/>
            <a:ext cx="1017691" cy="369332"/>
          </a:xfrm>
          <a:prstGeom prst="rect">
            <a:avLst/>
          </a:prstGeom>
          <a:noFill/>
        </p:spPr>
        <p:txBody>
          <a:bodyPr wrap="square">
            <a:spAutoFit/>
          </a:bodyPr>
          <a:lstStyle/>
          <a:p>
            <a:r>
              <a:rPr lang="en-US">
                <a:solidFill>
                  <a:schemeClr val="tx1">
                    <a:alpha val="83000"/>
                  </a:schemeClr>
                </a:solidFill>
                <a:latin typeface="Verdana" panose="020B0604030504040204" pitchFamily="34" charset="0"/>
                <a:ea typeface="Verdana" panose="020B0604030504040204" pitchFamily="34" charset="0"/>
              </a:rPr>
              <a:t>Reduce</a:t>
            </a:r>
          </a:p>
        </p:txBody>
      </p:sp>
      <p:grpSp>
        <p:nvGrpSpPr>
          <p:cNvPr id="89" name="Agrupar 88">
            <a:extLst>
              <a:ext uri="{FF2B5EF4-FFF2-40B4-BE49-F238E27FC236}">
                <a16:creationId xmlns:a16="http://schemas.microsoft.com/office/drawing/2014/main" id="{E14E9668-8B81-949B-079B-BE6A8C8789C0}"/>
              </a:ext>
            </a:extLst>
          </p:cNvPr>
          <p:cNvGrpSpPr/>
          <p:nvPr/>
        </p:nvGrpSpPr>
        <p:grpSpPr>
          <a:xfrm>
            <a:off x="1580662" y="3870565"/>
            <a:ext cx="4275186" cy="589407"/>
            <a:chOff x="1580662" y="3486150"/>
            <a:chExt cx="4275186" cy="589407"/>
          </a:xfrm>
        </p:grpSpPr>
        <p:sp>
          <p:nvSpPr>
            <p:cNvPr id="15" name="Text Placeholder 2">
              <a:extLst>
                <a:ext uri="{FF2B5EF4-FFF2-40B4-BE49-F238E27FC236}">
                  <a16:creationId xmlns:a16="http://schemas.microsoft.com/office/drawing/2014/main" id="{6FDBB46A-5FBC-C4FC-7898-317CE0B18E9D}"/>
                </a:ext>
              </a:extLst>
            </p:cNvPr>
            <p:cNvSpPr txBox="1">
              <a:spLocks/>
            </p:cNvSpPr>
            <p:nvPr/>
          </p:nvSpPr>
          <p:spPr>
            <a:xfrm>
              <a:off x="1724005" y="3486150"/>
              <a:ext cx="4131843" cy="58940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b="1" dirty="0"/>
                <a:t>Smart Packaging (User experience, security, credibility, traceability etc.);</a:t>
              </a:r>
              <a:endParaRPr lang="pt-BR" sz="1600" b="1" dirty="0"/>
            </a:p>
          </p:txBody>
        </p:sp>
        <p:sp>
          <p:nvSpPr>
            <p:cNvPr id="81" name="Elipse 54">
              <a:extLst>
                <a:ext uri="{FF2B5EF4-FFF2-40B4-BE49-F238E27FC236}">
                  <a16:creationId xmlns:a16="http://schemas.microsoft.com/office/drawing/2014/main" id="{0619CAAC-9E24-2C50-2431-1A7D61621F63}"/>
                </a:ext>
              </a:extLst>
            </p:cNvPr>
            <p:cNvSpPr/>
            <p:nvPr/>
          </p:nvSpPr>
          <p:spPr>
            <a:xfrm>
              <a:off x="1580662" y="3747264"/>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grpSp>
      <p:grpSp>
        <p:nvGrpSpPr>
          <p:cNvPr id="88" name="Agrupar 87">
            <a:extLst>
              <a:ext uri="{FF2B5EF4-FFF2-40B4-BE49-F238E27FC236}">
                <a16:creationId xmlns:a16="http://schemas.microsoft.com/office/drawing/2014/main" id="{7089862E-DE5B-53BC-79D4-D41826861F93}"/>
              </a:ext>
            </a:extLst>
          </p:cNvPr>
          <p:cNvGrpSpPr/>
          <p:nvPr/>
        </p:nvGrpSpPr>
        <p:grpSpPr>
          <a:xfrm>
            <a:off x="1580662" y="3499410"/>
            <a:ext cx="4301922" cy="394125"/>
            <a:chOff x="1580662" y="3114995"/>
            <a:chExt cx="4301922" cy="394125"/>
          </a:xfrm>
        </p:grpSpPr>
        <p:sp>
          <p:nvSpPr>
            <p:cNvPr id="8" name="Text Placeholder 2">
              <a:extLst>
                <a:ext uri="{FF2B5EF4-FFF2-40B4-BE49-F238E27FC236}">
                  <a16:creationId xmlns:a16="http://schemas.microsoft.com/office/drawing/2014/main" id="{B9DFE09C-D824-AEBB-44D0-2510922B649D}"/>
                </a:ext>
              </a:extLst>
            </p:cNvPr>
            <p:cNvSpPr txBox="1">
              <a:spLocks/>
            </p:cNvSpPr>
            <p:nvPr/>
          </p:nvSpPr>
          <p:spPr>
            <a:xfrm>
              <a:off x="1724005" y="3114995"/>
              <a:ext cx="4158579" cy="39412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600" b="1" dirty="0"/>
                <a:t>Test management for packaging qualification;</a:t>
              </a:r>
              <a:endParaRPr lang="pt-BR" sz="1600" b="1" dirty="0"/>
            </a:p>
          </p:txBody>
        </p:sp>
        <p:sp>
          <p:nvSpPr>
            <p:cNvPr id="82" name="Elipse 54">
              <a:extLst>
                <a:ext uri="{FF2B5EF4-FFF2-40B4-BE49-F238E27FC236}">
                  <a16:creationId xmlns:a16="http://schemas.microsoft.com/office/drawing/2014/main" id="{AC6F395C-65E0-88E0-ED9D-8434CA4B812D}"/>
                </a:ext>
              </a:extLst>
            </p:cNvPr>
            <p:cNvSpPr/>
            <p:nvPr/>
          </p:nvSpPr>
          <p:spPr>
            <a:xfrm>
              <a:off x="1580662" y="3249112"/>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grpSp>
      <p:grpSp>
        <p:nvGrpSpPr>
          <p:cNvPr id="87" name="Agrupar 86">
            <a:extLst>
              <a:ext uri="{FF2B5EF4-FFF2-40B4-BE49-F238E27FC236}">
                <a16:creationId xmlns:a16="http://schemas.microsoft.com/office/drawing/2014/main" id="{7F98343E-919B-987D-ACA7-ADE4B205BC9A}"/>
              </a:ext>
            </a:extLst>
          </p:cNvPr>
          <p:cNvGrpSpPr/>
          <p:nvPr/>
        </p:nvGrpSpPr>
        <p:grpSpPr>
          <a:xfrm>
            <a:off x="1580662" y="3135267"/>
            <a:ext cx="3518053" cy="338554"/>
            <a:chOff x="1580662" y="2750852"/>
            <a:chExt cx="3518053" cy="338554"/>
          </a:xfrm>
        </p:grpSpPr>
        <p:sp>
          <p:nvSpPr>
            <p:cNvPr id="14" name="CaixaDeTexto 13">
              <a:extLst>
                <a:ext uri="{FF2B5EF4-FFF2-40B4-BE49-F238E27FC236}">
                  <a16:creationId xmlns:a16="http://schemas.microsoft.com/office/drawing/2014/main" id="{7E14EF97-CC6C-7136-389C-19980B948CFA}"/>
                </a:ext>
              </a:extLst>
            </p:cNvPr>
            <p:cNvSpPr txBox="1"/>
            <p:nvPr/>
          </p:nvSpPr>
          <p:spPr>
            <a:xfrm>
              <a:off x="1724278" y="2750852"/>
              <a:ext cx="3374437" cy="338554"/>
            </a:xfrm>
            <a:prstGeom prst="rect">
              <a:avLst/>
            </a:prstGeom>
            <a:noFill/>
          </p:spPr>
          <p:txBody>
            <a:bodyPr wrap="square">
              <a:spAutoFit/>
            </a:bodyPr>
            <a:lstStyle/>
            <a:p>
              <a:r>
                <a:rPr lang="en-US" sz="1600" b="1" dirty="0"/>
                <a:t>Packaging prototyping;</a:t>
              </a:r>
            </a:p>
          </p:txBody>
        </p:sp>
        <p:sp>
          <p:nvSpPr>
            <p:cNvPr id="83" name="Elipse 54">
              <a:extLst>
                <a:ext uri="{FF2B5EF4-FFF2-40B4-BE49-F238E27FC236}">
                  <a16:creationId xmlns:a16="http://schemas.microsoft.com/office/drawing/2014/main" id="{EE53A372-8655-5C61-204A-9CE14C0F3286}"/>
                </a:ext>
              </a:extLst>
            </p:cNvPr>
            <p:cNvSpPr/>
            <p:nvPr/>
          </p:nvSpPr>
          <p:spPr>
            <a:xfrm>
              <a:off x="1580662" y="2874355"/>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grpSp>
      <p:grpSp>
        <p:nvGrpSpPr>
          <p:cNvPr id="86" name="Agrupar 85">
            <a:extLst>
              <a:ext uri="{FF2B5EF4-FFF2-40B4-BE49-F238E27FC236}">
                <a16:creationId xmlns:a16="http://schemas.microsoft.com/office/drawing/2014/main" id="{210B8CEC-BC91-4C98-C5D9-1BBBAA169BF3}"/>
              </a:ext>
            </a:extLst>
          </p:cNvPr>
          <p:cNvGrpSpPr/>
          <p:nvPr/>
        </p:nvGrpSpPr>
        <p:grpSpPr>
          <a:xfrm>
            <a:off x="1580662" y="2522427"/>
            <a:ext cx="3750721" cy="584775"/>
            <a:chOff x="1580662" y="2138012"/>
            <a:chExt cx="3750721" cy="584775"/>
          </a:xfrm>
        </p:grpSpPr>
        <p:sp>
          <p:nvSpPr>
            <p:cNvPr id="12" name="CaixaDeTexto 11">
              <a:extLst>
                <a:ext uri="{FF2B5EF4-FFF2-40B4-BE49-F238E27FC236}">
                  <a16:creationId xmlns:a16="http://schemas.microsoft.com/office/drawing/2014/main" id="{BCA12BF9-5856-BE1F-6D56-564F766FD081}"/>
                </a:ext>
              </a:extLst>
            </p:cNvPr>
            <p:cNvSpPr txBox="1"/>
            <p:nvPr/>
          </p:nvSpPr>
          <p:spPr>
            <a:xfrm>
              <a:off x="1724278" y="2138012"/>
              <a:ext cx="3607105" cy="584775"/>
            </a:xfrm>
            <a:prstGeom prst="rect">
              <a:avLst/>
            </a:prstGeom>
            <a:noFill/>
          </p:spPr>
          <p:txBody>
            <a:bodyPr wrap="square">
              <a:spAutoFit/>
            </a:bodyPr>
            <a:lstStyle/>
            <a:p>
              <a:r>
                <a:rPr lang="en-US" sz="1600" b="1" dirty="0"/>
                <a:t>Design for Circular Economy of packaging/ CAD designs;</a:t>
              </a:r>
              <a:endParaRPr lang="pt-BR" sz="1600" b="1" dirty="0"/>
            </a:p>
          </p:txBody>
        </p:sp>
        <p:sp>
          <p:nvSpPr>
            <p:cNvPr id="84" name="Elipse 54">
              <a:extLst>
                <a:ext uri="{FF2B5EF4-FFF2-40B4-BE49-F238E27FC236}">
                  <a16:creationId xmlns:a16="http://schemas.microsoft.com/office/drawing/2014/main" id="{66E1AB13-1730-29F3-229F-0080C051E569}"/>
                </a:ext>
              </a:extLst>
            </p:cNvPr>
            <p:cNvSpPr/>
            <p:nvPr/>
          </p:nvSpPr>
          <p:spPr>
            <a:xfrm>
              <a:off x="1580662" y="2401668"/>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grpSp>
      <p:grpSp>
        <p:nvGrpSpPr>
          <p:cNvPr id="90" name="Agrupar 89">
            <a:extLst>
              <a:ext uri="{FF2B5EF4-FFF2-40B4-BE49-F238E27FC236}">
                <a16:creationId xmlns:a16="http://schemas.microsoft.com/office/drawing/2014/main" id="{DEAC2587-F900-E532-85AE-CE6AA1D3B62C}"/>
              </a:ext>
            </a:extLst>
          </p:cNvPr>
          <p:cNvGrpSpPr/>
          <p:nvPr/>
        </p:nvGrpSpPr>
        <p:grpSpPr>
          <a:xfrm>
            <a:off x="1580662" y="4452738"/>
            <a:ext cx="4093672" cy="589407"/>
            <a:chOff x="1580662" y="4068323"/>
            <a:chExt cx="4093672" cy="589407"/>
          </a:xfrm>
        </p:grpSpPr>
        <p:sp>
          <p:nvSpPr>
            <p:cNvPr id="68" name="Text Placeholder 2">
              <a:extLst>
                <a:ext uri="{FF2B5EF4-FFF2-40B4-BE49-F238E27FC236}">
                  <a16:creationId xmlns:a16="http://schemas.microsoft.com/office/drawing/2014/main" id="{2FCBD07E-321D-4FBB-7BE5-AC4F44835B91}"/>
                </a:ext>
              </a:extLst>
            </p:cNvPr>
            <p:cNvSpPr txBox="1">
              <a:spLocks/>
            </p:cNvSpPr>
            <p:nvPr/>
          </p:nvSpPr>
          <p:spPr>
            <a:xfrm>
              <a:off x="1724005" y="4068323"/>
              <a:ext cx="3950329" cy="58940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600" b="1" dirty="0"/>
                <a:t>LCA according scenarios definition.</a:t>
              </a:r>
              <a:endParaRPr lang="pt-BR" sz="1600" b="1" dirty="0"/>
            </a:p>
          </p:txBody>
        </p:sp>
        <p:sp>
          <p:nvSpPr>
            <p:cNvPr id="85" name="Elipse 54">
              <a:extLst>
                <a:ext uri="{FF2B5EF4-FFF2-40B4-BE49-F238E27FC236}">
                  <a16:creationId xmlns:a16="http://schemas.microsoft.com/office/drawing/2014/main" id="{237938FD-C932-7F7C-8A8D-26B026844BF5}"/>
                </a:ext>
              </a:extLst>
            </p:cNvPr>
            <p:cNvSpPr/>
            <p:nvPr/>
          </p:nvSpPr>
          <p:spPr>
            <a:xfrm>
              <a:off x="1580662" y="4275727"/>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grpSp>
      <p:grpSp>
        <p:nvGrpSpPr>
          <p:cNvPr id="107" name="Agrupar 106">
            <a:extLst>
              <a:ext uri="{FF2B5EF4-FFF2-40B4-BE49-F238E27FC236}">
                <a16:creationId xmlns:a16="http://schemas.microsoft.com/office/drawing/2014/main" id="{C7BD59EC-4293-856B-2352-8A9D64BD9A8D}"/>
              </a:ext>
            </a:extLst>
          </p:cNvPr>
          <p:cNvGrpSpPr/>
          <p:nvPr/>
        </p:nvGrpSpPr>
        <p:grpSpPr>
          <a:xfrm>
            <a:off x="8440512" y="2181591"/>
            <a:ext cx="2034699" cy="631460"/>
            <a:chOff x="6517667" y="2528699"/>
            <a:chExt cx="1722131" cy="534456"/>
          </a:xfrm>
          <a:effectLst>
            <a:outerShdw blurRad="50800" dist="38100" dir="2700000" algn="tl" rotWithShape="0">
              <a:prstClr val="black">
                <a:alpha val="15000"/>
              </a:prstClr>
            </a:outerShdw>
          </a:effectLst>
        </p:grpSpPr>
        <p:pic>
          <p:nvPicPr>
            <p:cNvPr id="13" name="Picture 12">
              <a:extLst>
                <a:ext uri="{FF2B5EF4-FFF2-40B4-BE49-F238E27FC236}">
                  <a16:creationId xmlns:a16="http://schemas.microsoft.com/office/drawing/2014/main" id="{4EA8EB67-4706-6DD0-DDD4-BC78DC5FD31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Lst>
            </a:blip>
            <a:stretch>
              <a:fillRect/>
            </a:stretch>
          </p:blipFill>
          <p:spPr>
            <a:xfrm>
              <a:off x="6517667" y="2528699"/>
              <a:ext cx="1722131" cy="534456"/>
            </a:xfrm>
            <a:prstGeom prst="rect">
              <a:avLst/>
            </a:prstGeom>
          </p:spPr>
        </p:pic>
        <p:cxnSp>
          <p:nvCxnSpPr>
            <p:cNvPr id="93" name="Conector reto 92">
              <a:extLst>
                <a:ext uri="{FF2B5EF4-FFF2-40B4-BE49-F238E27FC236}">
                  <a16:creationId xmlns:a16="http://schemas.microsoft.com/office/drawing/2014/main" id="{A9CD9065-E5FF-B85E-750D-32F1C50DDA32}"/>
                </a:ext>
              </a:extLst>
            </p:cNvPr>
            <p:cNvCxnSpPr>
              <a:cxnSpLocks/>
            </p:cNvCxnSpPr>
            <p:nvPr/>
          </p:nvCxnSpPr>
          <p:spPr>
            <a:xfrm>
              <a:off x="6517667" y="2528699"/>
              <a:ext cx="0" cy="524931"/>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Agrupar 105">
            <a:extLst>
              <a:ext uri="{FF2B5EF4-FFF2-40B4-BE49-F238E27FC236}">
                <a16:creationId xmlns:a16="http://schemas.microsoft.com/office/drawing/2014/main" id="{5B0EABAE-F617-66BF-5FE4-8412F5462E5A}"/>
              </a:ext>
            </a:extLst>
          </p:cNvPr>
          <p:cNvGrpSpPr/>
          <p:nvPr/>
        </p:nvGrpSpPr>
        <p:grpSpPr>
          <a:xfrm>
            <a:off x="6517667" y="2196022"/>
            <a:ext cx="1660372" cy="617029"/>
            <a:chOff x="6517667" y="1809524"/>
            <a:chExt cx="1660372" cy="617029"/>
          </a:xfrm>
          <a:effectLst>
            <a:outerShdw blurRad="50800" dist="38100" dir="2700000" algn="tl" rotWithShape="0">
              <a:prstClr val="black">
                <a:alpha val="15000"/>
              </a:prstClr>
            </a:outerShdw>
          </a:effectLst>
        </p:grpSpPr>
        <p:pic>
          <p:nvPicPr>
            <p:cNvPr id="5" name="Picture 4">
              <a:extLst>
                <a:ext uri="{FF2B5EF4-FFF2-40B4-BE49-F238E27FC236}">
                  <a16:creationId xmlns:a16="http://schemas.microsoft.com/office/drawing/2014/main" id="{615AE3BA-709B-1507-CA94-9897453817E0}"/>
                </a:ext>
              </a:extLst>
            </p:cNvPr>
            <p:cNvPicPr>
              <a:picLocks noChangeAspect="1"/>
            </p:cNvPicPr>
            <p:nvPr/>
          </p:nvPicPr>
          <p:blipFill>
            <a:blip r:embed="rId4"/>
            <a:stretch>
              <a:fillRect/>
            </a:stretch>
          </p:blipFill>
          <p:spPr>
            <a:xfrm>
              <a:off x="6517667" y="1809524"/>
              <a:ext cx="1660372" cy="617029"/>
            </a:xfrm>
            <a:prstGeom prst="rect">
              <a:avLst/>
            </a:prstGeom>
          </p:spPr>
        </p:pic>
        <p:cxnSp>
          <p:nvCxnSpPr>
            <p:cNvPr id="95" name="Conector reto 94">
              <a:extLst>
                <a:ext uri="{FF2B5EF4-FFF2-40B4-BE49-F238E27FC236}">
                  <a16:creationId xmlns:a16="http://schemas.microsoft.com/office/drawing/2014/main" id="{FA0CA132-3690-4E68-7316-16712AFAAD5D}"/>
                </a:ext>
              </a:extLst>
            </p:cNvPr>
            <p:cNvCxnSpPr>
              <a:cxnSpLocks/>
            </p:cNvCxnSpPr>
            <p:nvPr/>
          </p:nvCxnSpPr>
          <p:spPr>
            <a:xfrm>
              <a:off x="6517667" y="1809524"/>
              <a:ext cx="0" cy="592144"/>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8" name="Agrupar 107">
            <a:extLst>
              <a:ext uri="{FF2B5EF4-FFF2-40B4-BE49-F238E27FC236}">
                <a16:creationId xmlns:a16="http://schemas.microsoft.com/office/drawing/2014/main" id="{50B1AD2A-B0AF-5BFF-9F4E-410431D1BA7A}"/>
              </a:ext>
            </a:extLst>
          </p:cNvPr>
          <p:cNvGrpSpPr/>
          <p:nvPr/>
        </p:nvGrpSpPr>
        <p:grpSpPr>
          <a:xfrm>
            <a:off x="6517667" y="2901562"/>
            <a:ext cx="1504498" cy="627211"/>
            <a:chOff x="6517667" y="3155120"/>
            <a:chExt cx="1504498" cy="627211"/>
          </a:xfrm>
          <a:effectLst>
            <a:outerShdw blurRad="50800" dist="38100" dir="2700000" algn="tl" rotWithShape="0">
              <a:prstClr val="black">
                <a:alpha val="15000"/>
              </a:prstClr>
            </a:outerShdw>
          </a:effectLst>
        </p:grpSpPr>
        <p:pic>
          <p:nvPicPr>
            <p:cNvPr id="7" name="Picture 6">
              <a:extLst>
                <a:ext uri="{FF2B5EF4-FFF2-40B4-BE49-F238E27FC236}">
                  <a16:creationId xmlns:a16="http://schemas.microsoft.com/office/drawing/2014/main" id="{C721F5C9-CBCD-BF71-3081-DB6437D0EDE9}"/>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Layer>
                  </a14:imgProps>
                </a:ext>
              </a:extLst>
            </a:blip>
            <a:srcRect l="4434" t="10675" r="4954" b="14131"/>
            <a:stretch/>
          </p:blipFill>
          <p:spPr>
            <a:xfrm>
              <a:off x="6517667" y="3165302"/>
              <a:ext cx="1504498" cy="617029"/>
            </a:xfrm>
            <a:prstGeom prst="rect">
              <a:avLst/>
            </a:prstGeom>
          </p:spPr>
        </p:pic>
        <p:cxnSp>
          <p:nvCxnSpPr>
            <p:cNvPr id="97" name="Conector reto 96">
              <a:extLst>
                <a:ext uri="{FF2B5EF4-FFF2-40B4-BE49-F238E27FC236}">
                  <a16:creationId xmlns:a16="http://schemas.microsoft.com/office/drawing/2014/main" id="{46C6B70D-D7F5-E2A0-1629-A657AF57A374}"/>
                </a:ext>
              </a:extLst>
            </p:cNvPr>
            <p:cNvCxnSpPr>
              <a:cxnSpLocks/>
            </p:cNvCxnSpPr>
            <p:nvPr/>
          </p:nvCxnSpPr>
          <p:spPr>
            <a:xfrm>
              <a:off x="6517667" y="3155120"/>
              <a:ext cx="0" cy="592144"/>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9" name="Agrupar 108">
            <a:extLst>
              <a:ext uri="{FF2B5EF4-FFF2-40B4-BE49-F238E27FC236}">
                <a16:creationId xmlns:a16="http://schemas.microsoft.com/office/drawing/2014/main" id="{26382677-8F5B-D8EE-3BBB-650AA1CBEC97}"/>
              </a:ext>
            </a:extLst>
          </p:cNvPr>
          <p:cNvGrpSpPr/>
          <p:nvPr/>
        </p:nvGrpSpPr>
        <p:grpSpPr>
          <a:xfrm>
            <a:off x="8151939" y="2921861"/>
            <a:ext cx="635082" cy="606912"/>
            <a:chOff x="6517667" y="3884477"/>
            <a:chExt cx="577146" cy="551546"/>
          </a:xfrm>
          <a:effectLst>
            <a:outerShdw blurRad="50800" dist="38100" dir="2700000" algn="tl" rotWithShape="0">
              <a:prstClr val="black">
                <a:alpha val="15000"/>
              </a:prstClr>
            </a:outerShdw>
          </a:effectLst>
        </p:grpSpPr>
        <p:pic>
          <p:nvPicPr>
            <p:cNvPr id="9" name="Picture 8">
              <a:extLst>
                <a:ext uri="{FF2B5EF4-FFF2-40B4-BE49-F238E27FC236}">
                  <a16:creationId xmlns:a16="http://schemas.microsoft.com/office/drawing/2014/main" id="{92F6E65C-0255-EFB3-F4F7-37F4F948681A}"/>
                </a:ext>
              </a:extLst>
            </p:cNvPr>
            <p:cNvPicPr>
              <a:picLocks noChangeAspect="1"/>
            </p:cNvPicPr>
            <p:nvPr/>
          </p:nvPicPr>
          <p:blipFill>
            <a:blip r:embed="rId7"/>
            <a:stretch>
              <a:fillRect/>
            </a:stretch>
          </p:blipFill>
          <p:spPr>
            <a:xfrm>
              <a:off x="6517667" y="3884477"/>
              <a:ext cx="577146" cy="551546"/>
            </a:xfrm>
            <a:prstGeom prst="rect">
              <a:avLst/>
            </a:prstGeom>
          </p:spPr>
        </p:pic>
        <p:cxnSp>
          <p:nvCxnSpPr>
            <p:cNvPr id="98" name="Conector reto 97">
              <a:extLst>
                <a:ext uri="{FF2B5EF4-FFF2-40B4-BE49-F238E27FC236}">
                  <a16:creationId xmlns:a16="http://schemas.microsoft.com/office/drawing/2014/main" id="{7DE1C679-6B42-CE2D-CC1A-BBE3FF448647}"/>
                </a:ext>
              </a:extLst>
            </p:cNvPr>
            <p:cNvCxnSpPr>
              <a:cxnSpLocks/>
            </p:cNvCxnSpPr>
            <p:nvPr/>
          </p:nvCxnSpPr>
          <p:spPr>
            <a:xfrm>
              <a:off x="6517667" y="3884477"/>
              <a:ext cx="0" cy="55154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0" name="Agrupar 109">
            <a:extLst>
              <a:ext uri="{FF2B5EF4-FFF2-40B4-BE49-F238E27FC236}">
                <a16:creationId xmlns:a16="http://schemas.microsoft.com/office/drawing/2014/main" id="{E51285DA-A4FE-C130-6F4C-A5EB7E668B79}"/>
              </a:ext>
            </a:extLst>
          </p:cNvPr>
          <p:cNvGrpSpPr/>
          <p:nvPr/>
        </p:nvGrpSpPr>
        <p:grpSpPr>
          <a:xfrm>
            <a:off x="8916794" y="2922064"/>
            <a:ext cx="2008493" cy="617028"/>
            <a:chOff x="6517667" y="4538168"/>
            <a:chExt cx="1660372" cy="510082"/>
          </a:xfrm>
          <a:effectLst>
            <a:outerShdw blurRad="50800" dist="38100" dir="2700000" algn="tl" rotWithShape="0">
              <a:prstClr val="black">
                <a:alpha val="15000"/>
              </a:prstClr>
            </a:outerShdw>
          </a:effectLst>
        </p:grpSpPr>
        <p:pic>
          <p:nvPicPr>
            <p:cNvPr id="11" name="Picture 10">
              <a:extLst>
                <a:ext uri="{FF2B5EF4-FFF2-40B4-BE49-F238E27FC236}">
                  <a16:creationId xmlns:a16="http://schemas.microsoft.com/office/drawing/2014/main" id="{AE0F931E-E92C-B437-9C44-095FB8596CC2}"/>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50000"/>
                      </a14:imgEffect>
                    </a14:imgLayer>
                  </a14:imgProps>
                </a:ext>
              </a:extLst>
            </a:blip>
            <a:stretch>
              <a:fillRect/>
            </a:stretch>
          </p:blipFill>
          <p:spPr>
            <a:xfrm>
              <a:off x="6517667" y="4538168"/>
              <a:ext cx="1660372" cy="510082"/>
            </a:xfrm>
            <a:prstGeom prst="rect">
              <a:avLst/>
            </a:prstGeom>
          </p:spPr>
        </p:pic>
        <p:cxnSp>
          <p:nvCxnSpPr>
            <p:cNvPr id="100" name="Conector reto 99">
              <a:extLst>
                <a:ext uri="{FF2B5EF4-FFF2-40B4-BE49-F238E27FC236}">
                  <a16:creationId xmlns:a16="http://schemas.microsoft.com/office/drawing/2014/main" id="{F0892617-8AF2-1E1A-3754-74B8E1FECEE9}"/>
                </a:ext>
              </a:extLst>
            </p:cNvPr>
            <p:cNvCxnSpPr>
              <a:cxnSpLocks/>
            </p:cNvCxnSpPr>
            <p:nvPr/>
          </p:nvCxnSpPr>
          <p:spPr>
            <a:xfrm>
              <a:off x="6517667" y="4538168"/>
              <a:ext cx="0" cy="510082"/>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5" name="Agrupar 104">
            <a:extLst>
              <a:ext uri="{FF2B5EF4-FFF2-40B4-BE49-F238E27FC236}">
                <a16:creationId xmlns:a16="http://schemas.microsoft.com/office/drawing/2014/main" id="{F18CD0A5-CFB9-27F0-E64E-4AB863FFC26F}"/>
              </a:ext>
            </a:extLst>
          </p:cNvPr>
          <p:cNvGrpSpPr/>
          <p:nvPr/>
        </p:nvGrpSpPr>
        <p:grpSpPr>
          <a:xfrm>
            <a:off x="6517667" y="3613770"/>
            <a:ext cx="3271183" cy="1428375"/>
            <a:chOff x="8407211" y="2414542"/>
            <a:chExt cx="3271183" cy="1428375"/>
          </a:xfrm>
          <a:effectLst>
            <a:outerShdw blurRad="50800" dist="38100" dir="2700000" algn="tl" rotWithShape="0">
              <a:prstClr val="black">
                <a:alpha val="15000"/>
              </a:prstClr>
            </a:outerShdw>
          </a:effectLst>
        </p:grpSpPr>
        <p:pic>
          <p:nvPicPr>
            <p:cNvPr id="67" name="Picture 66">
              <a:extLst>
                <a:ext uri="{FF2B5EF4-FFF2-40B4-BE49-F238E27FC236}">
                  <a16:creationId xmlns:a16="http://schemas.microsoft.com/office/drawing/2014/main" id="{599E8331-7B29-CFDB-1AD9-61EAD59B4C7A}"/>
                </a:ext>
              </a:extLst>
            </p:cNvPr>
            <p:cNvPicPr>
              <a:picLocks noChangeAspect="1"/>
            </p:cNvPicPr>
            <p:nvPr/>
          </p:nvPicPr>
          <p:blipFill rotWithShape="1">
            <a:blip r:embed="rId10"/>
            <a:srcRect l="8288" t="18580" r="8748" b="21481"/>
            <a:stretch/>
          </p:blipFill>
          <p:spPr>
            <a:xfrm>
              <a:off x="8407211" y="2414542"/>
              <a:ext cx="3271183" cy="1397123"/>
            </a:xfrm>
            <a:prstGeom prst="rect">
              <a:avLst/>
            </a:prstGeom>
          </p:spPr>
        </p:pic>
        <p:cxnSp>
          <p:nvCxnSpPr>
            <p:cNvPr id="103" name="Conector reto 102">
              <a:extLst>
                <a:ext uri="{FF2B5EF4-FFF2-40B4-BE49-F238E27FC236}">
                  <a16:creationId xmlns:a16="http://schemas.microsoft.com/office/drawing/2014/main" id="{85752A8F-041D-B7FC-5C69-72FCEB8F2A5C}"/>
                </a:ext>
              </a:extLst>
            </p:cNvPr>
            <p:cNvCxnSpPr>
              <a:cxnSpLocks/>
            </p:cNvCxnSpPr>
            <p:nvPr/>
          </p:nvCxnSpPr>
          <p:spPr>
            <a:xfrm>
              <a:off x="8407211" y="2414542"/>
              <a:ext cx="0" cy="1428375"/>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11" name="Text Placeholder 2">
            <a:extLst>
              <a:ext uri="{FF2B5EF4-FFF2-40B4-BE49-F238E27FC236}">
                <a16:creationId xmlns:a16="http://schemas.microsoft.com/office/drawing/2014/main" id="{7FA319CB-9AC0-2A13-2726-524733548E60}"/>
              </a:ext>
            </a:extLst>
          </p:cNvPr>
          <p:cNvSpPr txBox="1">
            <a:spLocks/>
          </p:cNvSpPr>
          <p:nvPr/>
        </p:nvSpPr>
        <p:spPr>
          <a:xfrm>
            <a:off x="7518006" y="5181600"/>
            <a:ext cx="1902948" cy="27496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pt-BR" sz="1800" dirty="0"/>
              <a:t>Softwares</a:t>
            </a:r>
          </a:p>
        </p:txBody>
      </p:sp>
    </p:spTree>
    <p:extLst>
      <p:ext uri="{BB962C8B-B14F-4D97-AF65-F5344CB8AC3E}">
        <p14:creationId xmlns:p14="http://schemas.microsoft.com/office/powerpoint/2010/main" val="4771431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3F7F3-F94C-4487-83C0-D86C873AF91B}"/>
              </a:ext>
            </a:extLst>
          </p:cNvPr>
          <p:cNvSpPr>
            <a:spLocks noGrp="1"/>
          </p:cNvSpPr>
          <p:nvPr>
            <p:ph type="title"/>
          </p:nvPr>
        </p:nvSpPr>
        <p:spPr>
          <a:xfrm>
            <a:off x="1718938" y="474138"/>
            <a:ext cx="2482128" cy="1152276"/>
          </a:xfrm>
        </p:spPr>
        <p:txBody>
          <a:bodyPr/>
          <a:lstStyle/>
          <a:p>
            <a:pPr algn="l"/>
            <a:r>
              <a:rPr lang="pt-BR" sz="4000" dirty="0"/>
              <a:t>D4CE </a:t>
            </a:r>
            <a:r>
              <a:rPr lang="pt-BR" sz="4000" dirty="0" err="1"/>
              <a:t>of</a:t>
            </a:r>
            <a:br>
              <a:rPr lang="pt-BR" sz="4000" dirty="0"/>
            </a:br>
            <a:r>
              <a:rPr lang="pt-BR" sz="4000" dirty="0" err="1"/>
              <a:t>Products</a:t>
            </a:r>
            <a:r>
              <a:rPr lang="pt-BR" sz="4000" dirty="0"/>
              <a:t> 
</a:t>
            </a:r>
          </a:p>
        </p:txBody>
      </p:sp>
      <p:grpSp>
        <p:nvGrpSpPr>
          <p:cNvPr id="13" name="Agrupar 36">
            <a:extLst>
              <a:ext uri="{FF2B5EF4-FFF2-40B4-BE49-F238E27FC236}">
                <a16:creationId xmlns:a16="http://schemas.microsoft.com/office/drawing/2014/main" id="{A3436E92-C5D6-2DC0-E084-52E2F10B6C31}"/>
              </a:ext>
            </a:extLst>
          </p:cNvPr>
          <p:cNvGrpSpPr/>
          <p:nvPr/>
        </p:nvGrpSpPr>
        <p:grpSpPr>
          <a:xfrm>
            <a:off x="112579" y="293165"/>
            <a:ext cx="1536437" cy="1536437"/>
            <a:chOff x="4683229" y="5555827"/>
            <a:chExt cx="808992" cy="808992"/>
          </a:xfrm>
        </p:grpSpPr>
        <p:sp>
          <p:nvSpPr>
            <p:cNvPr id="14" name="Oval 11">
              <a:extLst>
                <a:ext uri="{FF2B5EF4-FFF2-40B4-BE49-F238E27FC236}">
                  <a16:creationId xmlns:a16="http://schemas.microsoft.com/office/drawing/2014/main" id="{3F3D8F6E-DAFB-661D-6F03-05807CE540A3}"/>
                </a:ext>
              </a:extLst>
            </p:cNvPr>
            <p:cNvSpPr/>
            <p:nvPr/>
          </p:nvSpPr>
          <p:spPr>
            <a:xfrm>
              <a:off x="4683229" y="5555827"/>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15" name="Forma Livre: Forma 10">
              <a:extLst>
                <a:ext uri="{FF2B5EF4-FFF2-40B4-BE49-F238E27FC236}">
                  <a16:creationId xmlns:a16="http://schemas.microsoft.com/office/drawing/2014/main" id="{287BAC16-A9A4-671F-4F2C-A602652D051C}"/>
                </a:ext>
              </a:extLst>
            </p:cNvPr>
            <p:cNvSpPr/>
            <p:nvPr/>
          </p:nvSpPr>
          <p:spPr>
            <a:xfrm>
              <a:off x="5005201" y="5824359"/>
              <a:ext cx="240705" cy="240725"/>
            </a:xfrm>
            <a:custGeom>
              <a:avLst/>
              <a:gdLst>
                <a:gd name="connsiteX0" fmla="*/ 16129 w 240705"/>
                <a:gd name="connsiteY0" fmla="*/ 0 h 240725"/>
                <a:gd name="connsiteX1" fmla="*/ 5836 w 240705"/>
                <a:gd name="connsiteY1" fmla="*/ 1331 h 240725"/>
                <a:gd name="connsiteX2" fmla="*/ 246 w 240705"/>
                <a:gd name="connsiteY2" fmla="*/ 10825 h 240725"/>
                <a:gd name="connsiteX3" fmla="*/ 9740 w 240705"/>
                <a:gd name="connsiteY3" fmla="*/ 16415 h 240725"/>
                <a:gd name="connsiteX4" fmla="*/ 16129 w 240705"/>
                <a:gd name="connsiteY4" fmla="*/ 15617 h 240725"/>
                <a:gd name="connsiteX5" fmla="*/ 199535 w 240705"/>
                <a:gd name="connsiteY5" fmla="*/ 15617 h 240725"/>
                <a:gd name="connsiteX6" fmla="*/ 225089 w 240705"/>
                <a:gd name="connsiteY6" fmla="*/ 41171 h 240725"/>
                <a:gd name="connsiteX7" fmla="*/ 225089 w 240705"/>
                <a:gd name="connsiteY7" fmla="*/ 224576 h 240725"/>
                <a:gd name="connsiteX8" fmla="*/ 224290 w 240705"/>
                <a:gd name="connsiteY8" fmla="*/ 230965 h 240725"/>
                <a:gd name="connsiteX9" fmla="*/ 229880 w 240705"/>
                <a:gd name="connsiteY9" fmla="*/ 240459 h 240725"/>
                <a:gd name="connsiteX10" fmla="*/ 231832 w 240705"/>
                <a:gd name="connsiteY10" fmla="*/ 240725 h 240725"/>
                <a:gd name="connsiteX11" fmla="*/ 239375 w 240705"/>
                <a:gd name="connsiteY11" fmla="*/ 234869 h 240725"/>
                <a:gd name="connsiteX12" fmla="*/ 240705 w 240705"/>
                <a:gd name="connsiteY12" fmla="*/ 224576 h 240725"/>
                <a:gd name="connsiteX13" fmla="*/ 240705 w 240705"/>
                <a:gd name="connsiteY13" fmla="*/ 41171 h 240725"/>
                <a:gd name="connsiteX14" fmla="*/ 199535 w 240705"/>
                <a:gd name="connsiteY14" fmla="*/ 0 h 24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705" h="240725">
                  <a:moveTo>
                    <a:pt x="16129" y="0"/>
                  </a:moveTo>
                  <a:cubicBezTo>
                    <a:pt x="12669" y="0"/>
                    <a:pt x="9208" y="444"/>
                    <a:pt x="5836" y="1331"/>
                  </a:cubicBezTo>
                  <a:cubicBezTo>
                    <a:pt x="1666" y="2396"/>
                    <a:pt x="-818" y="6655"/>
                    <a:pt x="246" y="10825"/>
                  </a:cubicBezTo>
                  <a:cubicBezTo>
                    <a:pt x="1311" y="14995"/>
                    <a:pt x="5570" y="17480"/>
                    <a:pt x="9740" y="16415"/>
                  </a:cubicBezTo>
                  <a:cubicBezTo>
                    <a:pt x="11781" y="15883"/>
                    <a:pt x="13999" y="15617"/>
                    <a:pt x="16129" y="15617"/>
                  </a:cubicBezTo>
                  <a:lnTo>
                    <a:pt x="199535" y="15617"/>
                  </a:lnTo>
                  <a:cubicBezTo>
                    <a:pt x="213643" y="15617"/>
                    <a:pt x="225089" y="27063"/>
                    <a:pt x="225089" y="41171"/>
                  </a:cubicBezTo>
                  <a:lnTo>
                    <a:pt x="225089" y="224576"/>
                  </a:lnTo>
                  <a:cubicBezTo>
                    <a:pt x="225089" y="226706"/>
                    <a:pt x="224823" y="228924"/>
                    <a:pt x="224290" y="230965"/>
                  </a:cubicBezTo>
                  <a:cubicBezTo>
                    <a:pt x="223226" y="235135"/>
                    <a:pt x="225710" y="239394"/>
                    <a:pt x="229880" y="240459"/>
                  </a:cubicBezTo>
                  <a:cubicBezTo>
                    <a:pt x="230502" y="240637"/>
                    <a:pt x="231211" y="240725"/>
                    <a:pt x="231832" y="240725"/>
                  </a:cubicBezTo>
                  <a:cubicBezTo>
                    <a:pt x="235293" y="240725"/>
                    <a:pt x="238487" y="238418"/>
                    <a:pt x="239375" y="234869"/>
                  </a:cubicBezTo>
                  <a:cubicBezTo>
                    <a:pt x="240262" y="231497"/>
                    <a:pt x="240705" y="228037"/>
                    <a:pt x="240705" y="224576"/>
                  </a:cubicBezTo>
                  <a:lnTo>
                    <a:pt x="240705" y="41171"/>
                  </a:lnTo>
                  <a:cubicBezTo>
                    <a:pt x="240705" y="18456"/>
                    <a:pt x="222250" y="0"/>
                    <a:pt x="199535" y="0"/>
                  </a:cubicBezTo>
                </a:path>
              </a:pathLst>
            </a:custGeom>
            <a:solidFill>
              <a:srgbClr val="000532"/>
            </a:solidFill>
            <a:ln w="8731" cap="flat">
              <a:noFill/>
              <a:prstDash val="solid"/>
              <a:miter/>
            </a:ln>
          </p:spPr>
          <p:txBody>
            <a:bodyPr rtlCol="0" anchor="ctr"/>
            <a:lstStyle/>
            <a:p>
              <a:endParaRPr lang="pt-BR"/>
            </a:p>
          </p:txBody>
        </p:sp>
        <p:sp>
          <p:nvSpPr>
            <p:cNvPr id="16" name="Forma Livre: Forma 11">
              <a:extLst>
                <a:ext uri="{FF2B5EF4-FFF2-40B4-BE49-F238E27FC236}">
                  <a16:creationId xmlns:a16="http://schemas.microsoft.com/office/drawing/2014/main" id="{51B4B818-7309-6C50-F642-41709216E0E7}"/>
                </a:ext>
              </a:extLst>
            </p:cNvPr>
            <p:cNvSpPr/>
            <p:nvPr/>
          </p:nvSpPr>
          <p:spPr>
            <a:xfrm>
              <a:off x="4981490" y="5849401"/>
              <a:ext cx="239463" cy="241237"/>
            </a:xfrm>
            <a:custGeom>
              <a:avLst/>
              <a:gdLst>
                <a:gd name="connsiteX0" fmla="*/ 239040 w 239463"/>
                <a:gd name="connsiteY0" fmla="*/ 229792 h 241237"/>
                <a:gd name="connsiteX1" fmla="*/ 229545 w 239463"/>
                <a:gd name="connsiteY1" fmla="*/ 224202 h 241237"/>
                <a:gd name="connsiteX2" fmla="*/ 223157 w 239463"/>
                <a:gd name="connsiteY2" fmla="*/ 225000 h 241237"/>
                <a:gd name="connsiteX3" fmla="*/ 39840 w 239463"/>
                <a:gd name="connsiteY3" fmla="*/ 225000 h 241237"/>
                <a:gd name="connsiteX4" fmla="*/ 14286 w 239463"/>
                <a:gd name="connsiteY4" fmla="*/ 199446 h 241237"/>
                <a:gd name="connsiteX5" fmla="*/ 14286 w 239463"/>
                <a:gd name="connsiteY5" fmla="*/ 16129 h 241237"/>
                <a:gd name="connsiteX6" fmla="*/ 15084 w 239463"/>
                <a:gd name="connsiteY6" fmla="*/ 9740 h 241237"/>
                <a:gd name="connsiteX7" fmla="*/ 9494 w 239463"/>
                <a:gd name="connsiteY7" fmla="*/ 246 h 241237"/>
                <a:gd name="connsiteX8" fmla="*/ 0 w 239463"/>
                <a:gd name="connsiteY8" fmla="*/ 5836 h 241237"/>
                <a:gd name="connsiteX9" fmla="*/ 0 w 239463"/>
                <a:gd name="connsiteY9" fmla="*/ 209650 h 241237"/>
                <a:gd name="connsiteX10" fmla="*/ 39840 w 239463"/>
                <a:gd name="connsiteY10" fmla="*/ 240705 h 241237"/>
                <a:gd name="connsiteX11" fmla="*/ 57054 w 239463"/>
                <a:gd name="connsiteY11" fmla="*/ 240705 h 241237"/>
                <a:gd name="connsiteX12" fmla="*/ 57054 w 239463"/>
                <a:gd name="connsiteY12" fmla="*/ 241238 h 241237"/>
                <a:gd name="connsiteX13" fmla="*/ 72670 w 239463"/>
                <a:gd name="connsiteY13" fmla="*/ 241238 h 241237"/>
                <a:gd name="connsiteX14" fmla="*/ 72670 w 239463"/>
                <a:gd name="connsiteY14" fmla="*/ 240705 h 241237"/>
                <a:gd name="connsiteX15" fmla="*/ 90416 w 239463"/>
                <a:gd name="connsiteY15" fmla="*/ 240705 h 241237"/>
                <a:gd name="connsiteX16" fmla="*/ 90416 w 239463"/>
                <a:gd name="connsiteY16" fmla="*/ 241238 h 241237"/>
                <a:gd name="connsiteX17" fmla="*/ 106033 w 239463"/>
                <a:gd name="connsiteY17" fmla="*/ 241238 h 241237"/>
                <a:gd name="connsiteX18" fmla="*/ 106033 w 239463"/>
                <a:gd name="connsiteY18" fmla="*/ 240705 h 241237"/>
                <a:gd name="connsiteX19" fmla="*/ 123779 w 239463"/>
                <a:gd name="connsiteY19" fmla="*/ 240705 h 241237"/>
                <a:gd name="connsiteX20" fmla="*/ 123779 w 239463"/>
                <a:gd name="connsiteY20" fmla="*/ 241238 h 241237"/>
                <a:gd name="connsiteX21" fmla="*/ 139395 w 239463"/>
                <a:gd name="connsiteY21" fmla="*/ 241238 h 241237"/>
                <a:gd name="connsiteX22" fmla="*/ 139395 w 239463"/>
                <a:gd name="connsiteY22" fmla="*/ 240705 h 241237"/>
                <a:gd name="connsiteX23" fmla="*/ 157141 w 239463"/>
                <a:gd name="connsiteY23" fmla="*/ 240705 h 241237"/>
                <a:gd name="connsiteX24" fmla="*/ 157141 w 239463"/>
                <a:gd name="connsiteY24" fmla="*/ 241238 h 241237"/>
                <a:gd name="connsiteX25" fmla="*/ 172758 w 239463"/>
                <a:gd name="connsiteY25" fmla="*/ 241238 h 241237"/>
                <a:gd name="connsiteX26" fmla="*/ 172758 w 239463"/>
                <a:gd name="connsiteY26" fmla="*/ 240705 h 241237"/>
                <a:gd name="connsiteX27" fmla="*/ 190504 w 239463"/>
                <a:gd name="connsiteY27" fmla="*/ 240705 h 241237"/>
                <a:gd name="connsiteX28" fmla="*/ 190504 w 239463"/>
                <a:gd name="connsiteY28" fmla="*/ 241238 h 241237"/>
                <a:gd name="connsiteX29" fmla="*/ 206121 w 239463"/>
                <a:gd name="connsiteY29" fmla="*/ 241238 h 241237"/>
                <a:gd name="connsiteX30" fmla="*/ 206121 w 239463"/>
                <a:gd name="connsiteY30" fmla="*/ 240705 h 241237"/>
                <a:gd name="connsiteX31" fmla="*/ 223334 w 239463"/>
                <a:gd name="connsiteY31" fmla="*/ 240705 h 241237"/>
                <a:gd name="connsiteX32" fmla="*/ 233627 w 239463"/>
                <a:gd name="connsiteY32" fmla="*/ 239375 h 241237"/>
                <a:gd name="connsiteX33" fmla="*/ 239217 w 239463"/>
                <a:gd name="connsiteY33" fmla="*/ 229880 h 2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9463" h="241237">
                  <a:moveTo>
                    <a:pt x="239040" y="229792"/>
                  </a:moveTo>
                  <a:cubicBezTo>
                    <a:pt x="237975" y="225621"/>
                    <a:pt x="233716" y="223137"/>
                    <a:pt x="229545" y="224202"/>
                  </a:cubicBezTo>
                  <a:cubicBezTo>
                    <a:pt x="227505" y="224734"/>
                    <a:pt x="225286" y="225000"/>
                    <a:pt x="223157" y="225000"/>
                  </a:cubicBezTo>
                  <a:lnTo>
                    <a:pt x="39840" y="225000"/>
                  </a:lnTo>
                  <a:cubicBezTo>
                    <a:pt x="25732" y="225000"/>
                    <a:pt x="14286" y="213554"/>
                    <a:pt x="14286" y="199446"/>
                  </a:cubicBezTo>
                  <a:lnTo>
                    <a:pt x="14286" y="16129"/>
                  </a:lnTo>
                  <a:cubicBezTo>
                    <a:pt x="14286" y="13999"/>
                    <a:pt x="14552" y="11781"/>
                    <a:pt x="15084" y="9740"/>
                  </a:cubicBezTo>
                  <a:cubicBezTo>
                    <a:pt x="16149" y="5570"/>
                    <a:pt x="13664" y="1311"/>
                    <a:pt x="9494" y="246"/>
                  </a:cubicBezTo>
                  <a:cubicBezTo>
                    <a:pt x="5324" y="-818"/>
                    <a:pt x="1065" y="1666"/>
                    <a:pt x="0" y="5836"/>
                  </a:cubicBezTo>
                  <a:lnTo>
                    <a:pt x="0" y="209650"/>
                  </a:lnTo>
                  <a:cubicBezTo>
                    <a:pt x="4525" y="227485"/>
                    <a:pt x="20674" y="240705"/>
                    <a:pt x="39840" y="240705"/>
                  </a:cubicBezTo>
                  <a:lnTo>
                    <a:pt x="57054" y="240705"/>
                  </a:lnTo>
                  <a:lnTo>
                    <a:pt x="57054" y="241238"/>
                  </a:lnTo>
                  <a:lnTo>
                    <a:pt x="72670" y="241238"/>
                  </a:lnTo>
                  <a:lnTo>
                    <a:pt x="72670" y="240705"/>
                  </a:lnTo>
                  <a:lnTo>
                    <a:pt x="90416" y="240705"/>
                  </a:lnTo>
                  <a:lnTo>
                    <a:pt x="90416" y="241238"/>
                  </a:lnTo>
                  <a:lnTo>
                    <a:pt x="106033" y="241238"/>
                  </a:lnTo>
                  <a:lnTo>
                    <a:pt x="106033" y="240705"/>
                  </a:lnTo>
                  <a:lnTo>
                    <a:pt x="123779" y="240705"/>
                  </a:lnTo>
                  <a:lnTo>
                    <a:pt x="123779" y="241238"/>
                  </a:lnTo>
                  <a:lnTo>
                    <a:pt x="139395" y="241238"/>
                  </a:lnTo>
                  <a:lnTo>
                    <a:pt x="139395" y="240705"/>
                  </a:lnTo>
                  <a:lnTo>
                    <a:pt x="157141" y="240705"/>
                  </a:lnTo>
                  <a:lnTo>
                    <a:pt x="157141" y="241238"/>
                  </a:lnTo>
                  <a:lnTo>
                    <a:pt x="172758" y="241238"/>
                  </a:lnTo>
                  <a:lnTo>
                    <a:pt x="172758" y="240705"/>
                  </a:lnTo>
                  <a:lnTo>
                    <a:pt x="190504" y="240705"/>
                  </a:lnTo>
                  <a:lnTo>
                    <a:pt x="190504" y="241238"/>
                  </a:lnTo>
                  <a:lnTo>
                    <a:pt x="206121" y="241238"/>
                  </a:lnTo>
                  <a:lnTo>
                    <a:pt x="206121" y="240705"/>
                  </a:lnTo>
                  <a:lnTo>
                    <a:pt x="223334" y="240705"/>
                  </a:lnTo>
                  <a:cubicBezTo>
                    <a:pt x="226795" y="240705"/>
                    <a:pt x="230255" y="240262"/>
                    <a:pt x="233627" y="239375"/>
                  </a:cubicBezTo>
                  <a:cubicBezTo>
                    <a:pt x="237797" y="238310"/>
                    <a:pt x="240282" y="234051"/>
                    <a:pt x="239217" y="229880"/>
                  </a:cubicBezTo>
                  <a:close/>
                </a:path>
              </a:pathLst>
            </a:custGeom>
            <a:solidFill>
              <a:srgbClr val="000532"/>
            </a:solidFill>
            <a:ln w="8731" cap="flat">
              <a:noFill/>
              <a:prstDash val="solid"/>
              <a:miter/>
            </a:ln>
          </p:spPr>
          <p:txBody>
            <a:bodyPr rtlCol="0" anchor="ctr"/>
            <a:lstStyle/>
            <a:p>
              <a:endParaRPr lang="pt-BR"/>
            </a:p>
          </p:txBody>
        </p:sp>
        <p:grpSp>
          <p:nvGrpSpPr>
            <p:cNvPr id="18" name="Graphic 35">
              <a:extLst>
                <a:ext uri="{FF2B5EF4-FFF2-40B4-BE49-F238E27FC236}">
                  <a16:creationId xmlns:a16="http://schemas.microsoft.com/office/drawing/2014/main" id="{3854F50A-ECE6-7B5F-6FD8-0322EEBCB012}"/>
                </a:ext>
              </a:extLst>
            </p:cNvPr>
            <p:cNvGrpSpPr/>
            <p:nvPr/>
          </p:nvGrpSpPr>
          <p:grpSpPr>
            <a:xfrm>
              <a:off x="4938456" y="5782656"/>
              <a:ext cx="349065" cy="349065"/>
              <a:chOff x="5579469" y="5782656"/>
              <a:chExt cx="349065" cy="349065"/>
            </a:xfrm>
            <a:solidFill>
              <a:srgbClr val="000532"/>
            </a:solidFill>
          </p:grpSpPr>
          <p:grpSp>
            <p:nvGrpSpPr>
              <p:cNvPr id="32" name="Graphic 35">
                <a:extLst>
                  <a:ext uri="{FF2B5EF4-FFF2-40B4-BE49-F238E27FC236}">
                    <a16:creationId xmlns:a16="http://schemas.microsoft.com/office/drawing/2014/main" id="{51EB006B-FE9A-DD96-F6C5-1C49A5E4B346}"/>
                  </a:ext>
                </a:extLst>
              </p:cNvPr>
              <p:cNvGrpSpPr/>
              <p:nvPr/>
            </p:nvGrpSpPr>
            <p:grpSpPr>
              <a:xfrm>
                <a:off x="5900850" y="5916018"/>
                <a:ext cx="27683" cy="82341"/>
                <a:chOff x="5900850" y="5916018"/>
                <a:chExt cx="27683" cy="82341"/>
              </a:xfrm>
              <a:solidFill>
                <a:srgbClr val="000532"/>
              </a:solidFill>
            </p:grpSpPr>
            <p:sp>
              <p:nvSpPr>
                <p:cNvPr id="40" name="Forma Livre: Forma 21">
                  <a:extLst>
                    <a:ext uri="{FF2B5EF4-FFF2-40B4-BE49-F238E27FC236}">
                      <a16:creationId xmlns:a16="http://schemas.microsoft.com/office/drawing/2014/main" id="{577D5C17-64F3-0F0B-1227-E07C5D78C636}"/>
                    </a:ext>
                  </a:extLst>
                </p:cNvPr>
                <p:cNvSpPr/>
                <p:nvPr/>
              </p:nvSpPr>
              <p:spPr>
                <a:xfrm>
                  <a:off x="5900850" y="5916018"/>
                  <a:ext cx="27683" cy="15616"/>
                </a:xfrm>
                <a:custGeom>
                  <a:avLst/>
                  <a:gdLst>
                    <a:gd name="connsiteX0" fmla="*/ 0 w 27683"/>
                    <a:gd name="connsiteY0" fmla="*/ 0 h 15616"/>
                    <a:gd name="connsiteX1" fmla="*/ 0 w 27683"/>
                    <a:gd name="connsiteY1" fmla="*/ 15617 h 15616"/>
                    <a:gd name="connsiteX2" fmla="*/ 19876 w 27683"/>
                    <a:gd name="connsiteY2" fmla="*/ 15617 h 15616"/>
                    <a:gd name="connsiteX3" fmla="*/ 27684 w 27683"/>
                    <a:gd name="connsiteY3" fmla="*/ 7808 h 15616"/>
                    <a:gd name="connsiteX4" fmla="*/ 19876 w 27683"/>
                    <a:gd name="connsiteY4" fmla="*/ 0 h 15616"/>
                    <a:gd name="connsiteX5" fmla="*/ 0 w 27683"/>
                    <a:gd name="connsiteY5" fmla="*/ 0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3" h="15616">
                      <a:moveTo>
                        <a:pt x="0" y="0"/>
                      </a:moveTo>
                      <a:lnTo>
                        <a:pt x="0" y="15617"/>
                      </a:lnTo>
                      <a:lnTo>
                        <a:pt x="19876" y="15617"/>
                      </a:lnTo>
                      <a:cubicBezTo>
                        <a:pt x="24223" y="15617"/>
                        <a:pt x="27684" y="12156"/>
                        <a:pt x="27684" y="7808"/>
                      </a:cubicBezTo>
                      <a:cubicBezTo>
                        <a:pt x="27684" y="3460"/>
                        <a:pt x="24223" y="0"/>
                        <a:pt x="19876" y="0"/>
                      </a:cubicBezTo>
                      <a:lnTo>
                        <a:pt x="0" y="0"/>
                      </a:lnTo>
                      <a:close/>
                    </a:path>
                  </a:pathLst>
                </a:custGeom>
                <a:solidFill>
                  <a:srgbClr val="000532"/>
                </a:solidFill>
                <a:ln w="8731" cap="flat">
                  <a:noFill/>
                  <a:prstDash val="solid"/>
                  <a:miter/>
                </a:ln>
              </p:spPr>
              <p:txBody>
                <a:bodyPr rtlCol="0" anchor="ctr"/>
                <a:lstStyle/>
                <a:p>
                  <a:endParaRPr lang="pt-BR"/>
                </a:p>
              </p:txBody>
            </p:sp>
            <p:sp>
              <p:nvSpPr>
                <p:cNvPr id="41" name="Forma Livre: Forma 22">
                  <a:extLst>
                    <a:ext uri="{FF2B5EF4-FFF2-40B4-BE49-F238E27FC236}">
                      <a16:creationId xmlns:a16="http://schemas.microsoft.com/office/drawing/2014/main" id="{8F438881-B3E0-EEB5-8988-26DA63BE1D4B}"/>
                    </a:ext>
                  </a:extLst>
                </p:cNvPr>
                <p:cNvSpPr/>
                <p:nvPr/>
              </p:nvSpPr>
              <p:spPr>
                <a:xfrm>
                  <a:off x="5900850" y="5982743"/>
                  <a:ext cx="27683" cy="15616"/>
                </a:xfrm>
                <a:custGeom>
                  <a:avLst/>
                  <a:gdLst>
                    <a:gd name="connsiteX0" fmla="*/ 27684 w 27683"/>
                    <a:gd name="connsiteY0" fmla="*/ 7808 h 15616"/>
                    <a:gd name="connsiteX1" fmla="*/ 19876 w 27683"/>
                    <a:gd name="connsiteY1" fmla="*/ 0 h 15616"/>
                    <a:gd name="connsiteX2" fmla="*/ 0 w 27683"/>
                    <a:gd name="connsiteY2" fmla="*/ 0 h 15616"/>
                    <a:gd name="connsiteX3" fmla="*/ 0 w 27683"/>
                    <a:gd name="connsiteY3" fmla="*/ 15617 h 15616"/>
                    <a:gd name="connsiteX4" fmla="*/ 19876 w 27683"/>
                    <a:gd name="connsiteY4" fmla="*/ 15617 h 15616"/>
                    <a:gd name="connsiteX5" fmla="*/ 27684 w 27683"/>
                    <a:gd name="connsiteY5" fmla="*/ 7808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83" h="15616">
                      <a:moveTo>
                        <a:pt x="27684" y="7808"/>
                      </a:moveTo>
                      <a:cubicBezTo>
                        <a:pt x="27684" y="3460"/>
                        <a:pt x="24223" y="0"/>
                        <a:pt x="19876" y="0"/>
                      </a:cubicBezTo>
                      <a:lnTo>
                        <a:pt x="0" y="0"/>
                      </a:lnTo>
                      <a:lnTo>
                        <a:pt x="0" y="15617"/>
                      </a:lnTo>
                      <a:lnTo>
                        <a:pt x="19876" y="15617"/>
                      </a:lnTo>
                      <a:cubicBezTo>
                        <a:pt x="24223" y="15617"/>
                        <a:pt x="27684" y="12156"/>
                        <a:pt x="27684" y="7808"/>
                      </a:cubicBezTo>
                      <a:close/>
                    </a:path>
                  </a:pathLst>
                </a:custGeom>
                <a:solidFill>
                  <a:srgbClr val="000532"/>
                </a:solidFill>
                <a:ln w="8731" cap="flat">
                  <a:noFill/>
                  <a:prstDash val="solid"/>
                  <a:miter/>
                </a:ln>
              </p:spPr>
              <p:txBody>
                <a:bodyPr rtlCol="0" anchor="ctr"/>
                <a:lstStyle/>
                <a:p>
                  <a:endParaRPr lang="pt-BR"/>
                </a:p>
              </p:txBody>
            </p:sp>
          </p:grpSp>
          <p:grpSp>
            <p:nvGrpSpPr>
              <p:cNvPr id="33" name="Graphic 35">
                <a:extLst>
                  <a:ext uri="{FF2B5EF4-FFF2-40B4-BE49-F238E27FC236}">
                    <a16:creationId xmlns:a16="http://schemas.microsoft.com/office/drawing/2014/main" id="{BE46AAD7-9306-7DD2-7D90-C179CB1CF784}"/>
                  </a:ext>
                </a:extLst>
              </p:cNvPr>
              <p:cNvGrpSpPr/>
              <p:nvPr/>
            </p:nvGrpSpPr>
            <p:grpSpPr>
              <a:xfrm>
                <a:off x="5712831" y="6104392"/>
                <a:ext cx="82341" cy="27328"/>
                <a:chOff x="5712831" y="6104392"/>
                <a:chExt cx="82341" cy="27328"/>
              </a:xfrm>
              <a:solidFill>
                <a:srgbClr val="000532"/>
              </a:solidFill>
            </p:grpSpPr>
            <p:sp>
              <p:nvSpPr>
                <p:cNvPr id="38" name="Forma Livre: Forma 19">
                  <a:extLst>
                    <a:ext uri="{FF2B5EF4-FFF2-40B4-BE49-F238E27FC236}">
                      <a16:creationId xmlns:a16="http://schemas.microsoft.com/office/drawing/2014/main" id="{C0A9A9EE-13FB-E0BB-5B63-D7EF4E344121}"/>
                    </a:ext>
                  </a:extLst>
                </p:cNvPr>
                <p:cNvSpPr/>
                <p:nvPr/>
              </p:nvSpPr>
              <p:spPr>
                <a:xfrm>
                  <a:off x="5712831" y="6104392"/>
                  <a:ext cx="15616" cy="27328"/>
                </a:xfrm>
                <a:custGeom>
                  <a:avLst/>
                  <a:gdLst>
                    <a:gd name="connsiteX0" fmla="*/ 0 w 15616"/>
                    <a:gd name="connsiteY0" fmla="*/ 0 h 27328"/>
                    <a:gd name="connsiteX1" fmla="*/ 0 w 15616"/>
                    <a:gd name="connsiteY1" fmla="*/ 19521 h 27328"/>
                    <a:gd name="connsiteX2" fmla="*/ 7808 w 15616"/>
                    <a:gd name="connsiteY2" fmla="*/ 27329 h 27328"/>
                    <a:gd name="connsiteX3" fmla="*/ 15617 w 15616"/>
                    <a:gd name="connsiteY3" fmla="*/ 19521 h 27328"/>
                    <a:gd name="connsiteX4" fmla="*/ 15617 w 15616"/>
                    <a:gd name="connsiteY4" fmla="*/ 0 h 27328"/>
                    <a:gd name="connsiteX5" fmla="*/ 0 w 15616"/>
                    <a:gd name="connsiteY5" fmla="*/ 0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0" y="0"/>
                      </a:moveTo>
                      <a:lnTo>
                        <a:pt x="0" y="19521"/>
                      </a:lnTo>
                      <a:cubicBezTo>
                        <a:pt x="0" y="23868"/>
                        <a:pt x="3460" y="27329"/>
                        <a:pt x="7808" y="27329"/>
                      </a:cubicBezTo>
                      <a:cubicBezTo>
                        <a:pt x="12156" y="27329"/>
                        <a:pt x="15617" y="23868"/>
                        <a:pt x="15617" y="19521"/>
                      </a:cubicBezTo>
                      <a:lnTo>
                        <a:pt x="15617" y="0"/>
                      </a:lnTo>
                      <a:lnTo>
                        <a:pt x="0" y="0"/>
                      </a:lnTo>
                      <a:close/>
                    </a:path>
                  </a:pathLst>
                </a:custGeom>
                <a:solidFill>
                  <a:srgbClr val="000532"/>
                </a:solidFill>
                <a:ln w="8731" cap="flat">
                  <a:noFill/>
                  <a:prstDash val="solid"/>
                  <a:miter/>
                </a:ln>
              </p:spPr>
              <p:txBody>
                <a:bodyPr rtlCol="0" anchor="ctr"/>
                <a:lstStyle/>
                <a:p>
                  <a:endParaRPr lang="pt-BR"/>
                </a:p>
              </p:txBody>
            </p:sp>
            <p:sp>
              <p:nvSpPr>
                <p:cNvPr id="39" name="Forma Livre: Forma 20">
                  <a:extLst>
                    <a:ext uri="{FF2B5EF4-FFF2-40B4-BE49-F238E27FC236}">
                      <a16:creationId xmlns:a16="http://schemas.microsoft.com/office/drawing/2014/main" id="{18FF975A-BE24-503F-F7C3-B7A46E5EDFE8}"/>
                    </a:ext>
                  </a:extLst>
                </p:cNvPr>
                <p:cNvSpPr/>
                <p:nvPr/>
              </p:nvSpPr>
              <p:spPr>
                <a:xfrm>
                  <a:off x="5779556" y="6104392"/>
                  <a:ext cx="15616" cy="27328"/>
                </a:xfrm>
                <a:custGeom>
                  <a:avLst/>
                  <a:gdLst>
                    <a:gd name="connsiteX0" fmla="*/ 0 w 15616"/>
                    <a:gd name="connsiteY0" fmla="*/ 0 h 27328"/>
                    <a:gd name="connsiteX1" fmla="*/ 0 w 15616"/>
                    <a:gd name="connsiteY1" fmla="*/ 19521 h 27328"/>
                    <a:gd name="connsiteX2" fmla="*/ 7808 w 15616"/>
                    <a:gd name="connsiteY2" fmla="*/ 27329 h 27328"/>
                    <a:gd name="connsiteX3" fmla="*/ 15617 w 15616"/>
                    <a:gd name="connsiteY3" fmla="*/ 19521 h 27328"/>
                    <a:gd name="connsiteX4" fmla="*/ 15617 w 15616"/>
                    <a:gd name="connsiteY4" fmla="*/ 0 h 27328"/>
                    <a:gd name="connsiteX5" fmla="*/ 0 w 15616"/>
                    <a:gd name="connsiteY5" fmla="*/ 0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0" y="0"/>
                      </a:moveTo>
                      <a:lnTo>
                        <a:pt x="0" y="19521"/>
                      </a:lnTo>
                      <a:cubicBezTo>
                        <a:pt x="0" y="23868"/>
                        <a:pt x="3460" y="27329"/>
                        <a:pt x="7808" y="27329"/>
                      </a:cubicBezTo>
                      <a:cubicBezTo>
                        <a:pt x="12156" y="27329"/>
                        <a:pt x="15617" y="23868"/>
                        <a:pt x="15617" y="19521"/>
                      </a:cubicBezTo>
                      <a:lnTo>
                        <a:pt x="15617" y="0"/>
                      </a:lnTo>
                      <a:lnTo>
                        <a:pt x="0" y="0"/>
                      </a:lnTo>
                      <a:close/>
                    </a:path>
                  </a:pathLst>
                </a:custGeom>
                <a:solidFill>
                  <a:srgbClr val="000532"/>
                </a:solidFill>
                <a:ln w="8731" cap="flat">
                  <a:noFill/>
                  <a:prstDash val="solid"/>
                  <a:miter/>
                </a:ln>
              </p:spPr>
              <p:txBody>
                <a:bodyPr rtlCol="0" anchor="ctr"/>
                <a:lstStyle/>
                <a:p>
                  <a:endParaRPr lang="pt-BR"/>
                </a:p>
              </p:txBody>
            </p:sp>
          </p:grpSp>
          <p:sp>
            <p:nvSpPr>
              <p:cNvPr id="34" name="Forma Livre: Forma 15">
                <a:extLst>
                  <a:ext uri="{FF2B5EF4-FFF2-40B4-BE49-F238E27FC236}">
                    <a16:creationId xmlns:a16="http://schemas.microsoft.com/office/drawing/2014/main" id="{B8531C45-0742-E8CA-364F-10AC24090721}"/>
                  </a:ext>
                </a:extLst>
              </p:cNvPr>
              <p:cNvSpPr/>
              <p:nvPr/>
            </p:nvSpPr>
            <p:spPr>
              <a:xfrm>
                <a:off x="5779556" y="5782656"/>
                <a:ext cx="15616" cy="27328"/>
              </a:xfrm>
              <a:custGeom>
                <a:avLst/>
                <a:gdLst>
                  <a:gd name="connsiteX0" fmla="*/ 15617 w 15616"/>
                  <a:gd name="connsiteY0" fmla="*/ 27329 h 27328"/>
                  <a:gd name="connsiteX1" fmla="*/ 15617 w 15616"/>
                  <a:gd name="connsiteY1" fmla="*/ 7808 h 27328"/>
                  <a:gd name="connsiteX2" fmla="*/ 7808 w 15616"/>
                  <a:gd name="connsiteY2" fmla="*/ 0 h 27328"/>
                  <a:gd name="connsiteX3" fmla="*/ 0 w 15616"/>
                  <a:gd name="connsiteY3" fmla="*/ 7808 h 27328"/>
                  <a:gd name="connsiteX4" fmla="*/ 0 w 15616"/>
                  <a:gd name="connsiteY4" fmla="*/ 27329 h 27328"/>
                  <a:gd name="connsiteX5" fmla="*/ 15617 w 15616"/>
                  <a:gd name="connsiteY5" fmla="*/ 27329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15617" y="27329"/>
                    </a:moveTo>
                    <a:lnTo>
                      <a:pt x="15617" y="7808"/>
                    </a:lnTo>
                    <a:cubicBezTo>
                      <a:pt x="15617" y="3460"/>
                      <a:pt x="12156" y="0"/>
                      <a:pt x="7808" y="0"/>
                    </a:cubicBezTo>
                    <a:cubicBezTo>
                      <a:pt x="3460" y="0"/>
                      <a:pt x="0" y="3460"/>
                      <a:pt x="0" y="7808"/>
                    </a:cubicBezTo>
                    <a:lnTo>
                      <a:pt x="0" y="27329"/>
                    </a:lnTo>
                    <a:lnTo>
                      <a:pt x="15617" y="27329"/>
                    </a:lnTo>
                    <a:close/>
                  </a:path>
                </a:pathLst>
              </a:custGeom>
              <a:solidFill>
                <a:srgbClr val="000532"/>
              </a:solidFill>
              <a:ln w="8731" cap="flat">
                <a:noFill/>
                <a:prstDash val="solid"/>
                <a:miter/>
              </a:ln>
            </p:spPr>
            <p:txBody>
              <a:bodyPr rtlCol="0" anchor="ctr"/>
              <a:lstStyle/>
              <a:p>
                <a:endParaRPr lang="pt-BR"/>
              </a:p>
            </p:txBody>
          </p:sp>
          <p:sp>
            <p:nvSpPr>
              <p:cNvPr id="35" name="Forma Livre: Forma 16">
                <a:extLst>
                  <a:ext uri="{FF2B5EF4-FFF2-40B4-BE49-F238E27FC236}">
                    <a16:creationId xmlns:a16="http://schemas.microsoft.com/office/drawing/2014/main" id="{A27C51C2-4F23-224E-FA54-A1CB849446D6}"/>
                  </a:ext>
                </a:extLst>
              </p:cNvPr>
              <p:cNvSpPr/>
              <p:nvPr/>
            </p:nvSpPr>
            <p:spPr>
              <a:xfrm>
                <a:off x="5712831" y="5782656"/>
                <a:ext cx="15616" cy="27328"/>
              </a:xfrm>
              <a:custGeom>
                <a:avLst/>
                <a:gdLst>
                  <a:gd name="connsiteX0" fmla="*/ 15617 w 15616"/>
                  <a:gd name="connsiteY0" fmla="*/ 27329 h 27328"/>
                  <a:gd name="connsiteX1" fmla="*/ 15617 w 15616"/>
                  <a:gd name="connsiteY1" fmla="*/ 7808 h 27328"/>
                  <a:gd name="connsiteX2" fmla="*/ 7808 w 15616"/>
                  <a:gd name="connsiteY2" fmla="*/ 0 h 27328"/>
                  <a:gd name="connsiteX3" fmla="*/ 0 w 15616"/>
                  <a:gd name="connsiteY3" fmla="*/ 7808 h 27328"/>
                  <a:gd name="connsiteX4" fmla="*/ 0 w 15616"/>
                  <a:gd name="connsiteY4" fmla="*/ 27329 h 27328"/>
                  <a:gd name="connsiteX5" fmla="*/ 15617 w 15616"/>
                  <a:gd name="connsiteY5" fmla="*/ 27329 h 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27328">
                    <a:moveTo>
                      <a:pt x="15617" y="27329"/>
                    </a:moveTo>
                    <a:lnTo>
                      <a:pt x="15617" y="7808"/>
                    </a:lnTo>
                    <a:cubicBezTo>
                      <a:pt x="15617" y="3460"/>
                      <a:pt x="12156" y="0"/>
                      <a:pt x="7808" y="0"/>
                    </a:cubicBezTo>
                    <a:cubicBezTo>
                      <a:pt x="3460" y="0"/>
                      <a:pt x="0" y="3460"/>
                      <a:pt x="0" y="7808"/>
                    </a:cubicBezTo>
                    <a:lnTo>
                      <a:pt x="0" y="27329"/>
                    </a:lnTo>
                    <a:lnTo>
                      <a:pt x="15617" y="27329"/>
                    </a:lnTo>
                    <a:close/>
                  </a:path>
                </a:pathLst>
              </a:custGeom>
              <a:solidFill>
                <a:srgbClr val="000532"/>
              </a:solidFill>
              <a:ln w="8731" cap="flat">
                <a:noFill/>
                <a:prstDash val="solid"/>
                <a:miter/>
              </a:ln>
            </p:spPr>
            <p:txBody>
              <a:bodyPr rtlCol="0" anchor="ctr"/>
              <a:lstStyle/>
              <a:p>
                <a:endParaRPr lang="pt-BR"/>
              </a:p>
            </p:txBody>
          </p:sp>
          <p:sp>
            <p:nvSpPr>
              <p:cNvPr id="36" name="Forma Livre: Forma 17">
                <a:extLst>
                  <a:ext uri="{FF2B5EF4-FFF2-40B4-BE49-F238E27FC236}">
                    <a16:creationId xmlns:a16="http://schemas.microsoft.com/office/drawing/2014/main" id="{AA052D6D-53AC-764E-0332-DBFACCEC9A91}"/>
                  </a:ext>
                </a:extLst>
              </p:cNvPr>
              <p:cNvSpPr/>
              <p:nvPr/>
            </p:nvSpPr>
            <p:spPr>
              <a:xfrm>
                <a:off x="5579469" y="5982743"/>
                <a:ext cx="29192" cy="15616"/>
              </a:xfrm>
              <a:custGeom>
                <a:avLst/>
                <a:gdLst>
                  <a:gd name="connsiteX0" fmla="*/ 0 w 29192"/>
                  <a:gd name="connsiteY0" fmla="*/ 7808 h 15616"/>
                  <a:gd name="connsiteX1" fmla="*/ 7808 w 29192"/>
                  <a:gd name="connsiteY1" fmla="*/ 15617 h 15616"/>
                  <a:gd name="connsiteX2" fmla="*/ 29192 w 29192"/>
                  <a:gd name="connsiteY2" fmla="*/ 15617 h 15616"/>
                  <a:gd name="connsiteX3" fmla="*/ 29192 w 29192"/>
                  <a:gd name="connsiteY3" fmla="*/ 0 h 15616"/>
                  <a:gd name="connsiteX4" fmla="*/ 7808 w 29192"/>
                  <a:gd name="connsiteY4" fmla="*/ 0 h 15616"/>
                  <a:gd name="connsiteX5" fmla="*/ 0 w 29192"/>
                  <a:gd name="connsiteY5" fmla="*/ 7808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2" h="15616">
                    <a:moveTo>
                      <a:pt x="0" y="7808"/>
                    </a:moveTo>
                    <a:cubicBezTo>
                      <a:pt x="0" y="12156"/>
                      <a:pt x="3460" y="15617"/>
                      <a:pt x="7808" y="15617"/>
                    </a:cubicBezTo>
                    <a:lnTo>
                      <a:pt x="29192" y="15617"/>
                    </a:lnTo>
                    <a:lnTo>
                      <a:pt x="29192" y="0"/>
                    </a:lnTo>
                    <a:lnTo>
                      <a:pt x="7808" y="0"/>
                    </a:lnTo>
                    <a:cubicBezTo>
                      <a:pt x="3460" y="0"/>
                      <a:pt x="0" y="3460"/>
                      <a:pt x="0" y="7808"/>
                    </a:cubicBezTo>
                    <a:close/>
                  </a:path>
                </a:pathLst>
              </a:custGeom>
              <a:solidFill>
                <a:srgbClr val="000532"/>
              </a:solidFill>
              <a:ln w="8731" cap="flat">
                <a:noFill/>
                <a:prstDash val="solid"/>
                <a:miter/>
              </a:ln>
            </p:spPr>
            <p:txBody>
              <a:bodyPr rtlCol="0" anchor="ctr"/>
              <a:lstStyle/>
              <a:p>
                <a:endParaRPr lang="pt-BR"/>
              </a:p>
            </p:txBody>
          </p:sp>
          <p:sp>
            <p:nvSpPr>
              <p:cNvPr id="37" name="Forma Livre: Forma 18">
                <a:extLst>
                  <a:ext uri="{FF2B5EF4-FFF2-40B4-BE49-F238E27FC236}">
                    <a16:creationId xmlns:a16="http://schemas.microsoft.com/office/drawing/2014/main" id="{E20BE80B-8A89-C899-CD48-CD8FB30B9202}"/>
                  </a:ext>
                </a:extLst>
              </p:cNvPr>
              <p:cNvSpPr/>
              <p:nvPr/>
            </p:nvSpPr>
            <p:spPr>
              <a:xfrm>
                <a:off x="5579469" y="5916018"/>
                <a:ext cx="29192" cy="15616"/>
              </a:xfrm>
              <a:custGeom>
                <a:avLst/>
                <a:gdLst>
                  <a:gd name="connsiteX0" fmla="*/ 0 w 29192"/>
                  <a:gd name="connsiteY0" fmla="*/ 7808 h 15616"/>
                  <a:gd name="connsiteX1" fmla="*/ 7808 w 29192"/>
                  <a:gd name="connsiteY1" fmla="*/ 15617 h 15616"/>
                  <a:gd name="connsiteX2" fmla="*/ 29192 w 29192"/>
                  <a:gd name="connsiteY2" fmla="*/ 15617 h 15616"/>
                  <a:gd name="connsiteX3" fmla="*/ 29192 w 29192"/>
                  <a:gd name="connsiteY3" fmla="*/ 0 h 15616"/>
                  <a:gd name="connsiteX4" fmla="*/ 7808 w 29192"/>
                  <a:gd name="connsiteY4" fmla="*/ 0 h 15616"/>
                  <a:gd name="connsiteX5" fmla="*/ 0 w 29192"/>
                  <a:gd name="connsiteY5" fmla="*/ 7808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2" h="15616">
                    <a:moveTo>
                      <a:pt x="0" y="7808"/>
                    </a:moveTo>
                    <a:cubicBezTo>
                      <a:pt x="0" y="12156"/>
                      <a:pt x="3460" y="15617"/>
                      <a:pt x="7808" y="15617"/>
                    </a:cubicBezTo>
                    <a:lnTo>
                      <a:pt x="29192" y="15617"/>
                    </a:lnTo>
                    <a:lnTo>
                      <a:pt x="29192" y="0"/>
                    </a:lnTo>
                    <a:lnTo>
                      <a:pt x="7808" y="0"/>
                    </a:lnTo>
                    <a:cubicBezTo>
                      <a:pt x="3460" y="0"/>
                      <a:pt x="0" y="3460"/>
                      <a:pt x="0" y="7808"/>
                    </a:cubicBezTo>
                    <a:close/>
                  </a:path>
                </a:pathLst>
              </a:custGeom>
              <a:solidFill>
                <a:srgbClr val="000532"/>
              </a:solidFill>
              <a:ln w="8731" cap="flat">
                <a:noFill/>
                <a:prstDash val="solid"/>
                <a:miter/>
              </a:ln>
            </p:spPr>
            <p:txBody>
              <a:bodyPr rtlCol="0" anchor="ctr"/>
              <a:lstStyle/>
              <a:p>
                <a:endParaRPr lang="pt-BR"/>
              </a:p>
            </p:txBody>
          </p:sp>
        </p:grpSp>
        <p:sp>
          <p:nvSpPr>
            <p:cNvPr id="19" name="Forma Livre: Forma 23">
              <a:extLst>
                <a:ext uri="{FF2B5EF4-FFF2-40B4-BE49-F238E27FC236}">
                  <a16:creationId xmlns:a16="http://schemas.microsoft.com/office/drawing/2014/main" id="{88AE948F-0176-B2E9-0850-3017CF91C8F8}"/>
                </a:ext>
              </a:extLst>
            </p:cNvPr>
            <p:cNvSpPr/>
            <p:nvPr/>
          </p:nvSpPr>
          <p:spPr>
            <a:xfrm>
              <a:off x="5030203" y="5865974"/>
              <a:ext cx="165570" cy="182429"/>
            </a:xfrm>
            <a:custGeom>
              <a:avLst/>
              <a:gdLst>
                <a:gd name="connsiteX0" fmla="*/ 165571 w 165570"/>
                <a:gd name="connsiteY0" fmla="*/ 70363 h 182429"/>
                <a:gd name="connsiteX1" fmla="*/ 136645 w 165570"/>
                <a:gd name="connsiteY1" fmla="*/ 34960 h 182429"/>
                <a:gd name="connsiteX2" fmla="*/ 137443 w 165570"/>
                <a:gd name="connsiteY2" fmla="*/ 28660 h 182429"/>
                <a:gd name="connsiteX3" fmla="*/ 106210 w 165570"/>
                <a:gd name="connsiteY3" fmla="*/ 0 h 182429"/>
                <a:gd name="connsiteX4" fmla="*/ 82785 w 165570"/>
                <a:gd name="connsiteY4" fmla="*/ 9760 h 182429"/>
                <a:gd name="connsiteX5" fmla="*/ 59361 w 165570"/>
                <a:gd name="connsiteY5" fmla="*/ 0 h 182429"/>
                <a:gd name="connsiteX6" fmla="*/ 28128 w 165570"/>
                <a:gd name="connsiteY6" fmla="*/ 28660 h 182429"/>
                <a:gd name="connsiteX7" fmla="*/ 28926 w 165570"/>
                <a:gd name="connsiteY7" fmla="*/ 34960 h 182429"/>
                <a:gd name="connsiteX8" fmla="*/ 0 w 165570"/>
                <a:gd name="connsiteY8" fmla="*/ 70363 h 182429"/>
                <a:gd name="connsiteX9" fmla="*/ 8252 w 165570"/>
                <a:gd name="connsiteY9" fmla="*/ 92546 h 182429"/>
                <a:gd name="connsiteX10" fmla="*/ 0 w 165570"/>
                <a:gd name="connsiteY10" fmla="*/ 116237 h 182429"/>
                <a:gd name="connsiteX11" fmla="*/ 18722 w 165570"/>
                <a:gd name="connsiteY11" fmla="*/ 149599 h 182429"/>
                <a:gd name="connsiteX12" fmla="*/ 18722 w 165570"/>
                <a:gd name="connsiteY12" fmla="*/ 149599 h 182429"/>
                <a:gd name="connsiteX13" fmla="*/ 54658 w 165570"/>
                <a:gd name="connsiteY13" fmla="*/ 182430 h 182429"/>
                <a:gd name="connsiteX14" fmla="*/ 82785 w 165570"/>
                <a:gd name="connsiteY14" fmla="*/ 170007 h 182429"/>
                <a:gd name="connsiteX15" fmla="*/ 110913 w 165570"/>
                <a:gd name="connsiteY15" fmla="*/ 182430 h 182429"/>
                <a:gd name="connsiteX16" fmla="*/ 146760 w 165570"/>
                <a:gd name="connsiteY16" fmla="*/ 151640 h 182429"/>
                <a:gd name="connsiteX17" fmla="*/ 165571 w 165570"/>
                <a:gd name="connsiteY17" fmla="*/ 120407 h 182429"/>
                <a:gd name="connsiteX18" fmla="*/ 154746 w 165570"/>
                <a:gd name="connsiteY18" fmla="*/ 95385 h 182429"/>
                <a:gd name="connsiteX19" fmla="*/ 165571 w 165570"/>
                <a:gd name="connsiteY19" fmla="*/ 70363 h 182429"/>
                <a:gd name="connsiteX20" fmla="*/ 137976 w 165570"/>
                <a:gd name="connsiteY20" fmla="*/ 102306 h 182429"/>
                <a:gd name="connsiteX21" fmla="*/ 149954 w 165570"/>
                <a:gd name="connsiteY21" fmla="*/ 120407 h 182429"/>
                <a:gd name="connsiteX22" fmla="*/ 143122 w 165570"/>
                <a:gd name="connsiteY22" fmla="*/ 135048 h 182429"/>
                <a:gd name="connsiteX23" fmla="*/ 122625 w 165570"/>
                <a:gd name="connsiteY23" fmla="*/ 118544 h 182429"/>
                <a:gd name="connsiteX24" fmla="*/ 112865 w 165570"/>
                <a:gd name="connsiteY24" fmla="*/ 123690 h 182429"/>
                <a:gd name="connsiteX25" fmla="*/ 118011 w 165570"/>
                <a:gd name="connsiteY25" fmla="*/ 133450 h 182429"/>
                <a:gd name="connsiteX26" fmla="*/ 131321 w 165570"/>
                <a:gd name="connsiteY26" fmla="*/ 149599 h 182429"/>
                <a:gd name="connsiteX27" fmla="*/ 111002 w 165570"/>
                <a:gd name="connsiteY27" fmla="*/ 166813 h 182429"/>
                <a:gd name="connsiteX28" fmla="*/ 90682 w 165570"/>
                <a:gd name="connsiteY28" fmla="*/ 149599 h 182429"/>
                <a:gd name="connsiteX29" fmla="*/ 90682 w 165570"/>
                <a:gd name="connsiteY29" fmla="*/ 99555 h 182429"/>
                <a:gd name="connsiteX30" fmla="*/ 111002 w 165570"/>
                <a:gd name="connsiteY30" fmla="*/ 82342 h 182429"/>
                <a:gd name="connsiteX31" fmla="*/ 118810 w 165570"/>
                <a:gd name="connsiteY31" fmla="*/ 74533 h 182429"/>
                <a:gd name="connsiteX32" fmla="*/ 111002 w 165570"/>
                <a:gd name="connsiteY32" fmla="*/ 66725 h 182429"/>
                <a:gd name="connsiteX33" fmla="*/ 90682 w 165570"/>
                <a:gd name="connsiteY33" fmla="*/ 72493 h 182429"/>
                <a:gd name="connsiteX34" fmla="*/ 90682 w 165570"/>
                <a:gd name="connsiteY34" fmla="*/ 62555 h 182429"/>
                <a:gd name="connsiteX35" fmla="*/ 82874 w 165570"/>
                <a:gd name="connsiteY35" fmla="*/ 54747 h 182429"/>
                <a:gd name="connsiteX36" fmla="*/ 75066 w 165570"/>
                <a:gd name="connsiteY36" fmla="*/ 62555 h 182429"/>
                <a:gd name="connsiteX37" fmla="*/ 75066 w 165570"/>
                <a:gd name="connsiteY37" fmla="*/ 105855 h 182429"/>
                <a:gd name="connsiteX38" fmla="*/ 66459 w 165570"/>
                <a:gd name="connsiteY38" fmla="*/ 101862 h 182429"/>
                <a:gd name="connsiteX39" fmla="*/ 56699 w 165570"/>
                <a:gd name="connsiteY39" fmla="*/ 106920 h 182429"/>
                <a:gd name="connsiteX40" fmla="*/ 61756 w 165570"/>
                <a:gd name="connsiteY40" fmla="*/ 116680 h 182429"/>
                <a:gd name="connsiteX41" fmla="*/ 75066 w 165570"/>
                <a:gd name="connsiteY41" fmla="*/ 132829 h 182429"/>
                <a:gd name="connsiteX42" fmla="*/ 75066 w 165570"/>
                <a:gd name="connsiteY42" fmla="*/ 149511 h 182429"/>
                <a:gd name="connsiteX43" fmla="*/ 54747 w 165570"/>
                <a:gd name="connsiteY43" fmla="*/ 166724 h 182429"/>
                <a:gd name="connsiteX44" fmla="*/ 34427 w 165570"/>
                <a:gd name="connsiteY44" fmla="*/ 149511 h 182429"/>
                <a:gd name="connsiteX45" fmla="*/ 39308 w 165570"/>
                <a:gd name="connsiteY45" fmla="*/ 138419 h 182429"/>
                <a:gd name="connsiteX46" fmla="*/ 39308 w 165570"/>
                <a:gd name="connsiteY46" fmla="*/ 127417 h 182429"/>
                <a:gd name="connsiteX47" fmla="*/ 28305 w 165570"/>
                <a:gd name="connsiteY47" fmla="*/ 127417 h 182429"/>
                <a:gd name="connsiteX48" fmla="*/ 23514 w 165570"/>
                <a:gd name="connsiteY48" fmla="*/ 133450 h 182429"/>
                <a:gd name="connsiteX49" fmla="*/ 15705 w 165570"/>
                <a:gd name="connsiteY49" fmla="*/ 116237 h 182429"/>
                <a:gd name="connsiteX50" fmla="*/ 37799 w 165570"/>
                <a:gd name="connsiteY50" fmla="*/ 91570 h 182429"/>
                <a:gd name="connsiteX51" fmla="*/ 43655 w 165570"/>
                <a:gd name="connsiteY51" fmla="*/ 82253 h 182429"/>
                <a:gd name="connsiteX52" fmla="*/ 34339 w 165570"/>
                <a:gd name="connsiteY52" fmla="*/ 76397 h 182429"/>
                <a:gd name="connsiteX53" fmla="*/ 20053 w 165570"/>
                <a:gd name="connsiteY53" fmla="*/ 82253 h 182429"/>
                <a:gd name="connsiteX54" fmla="*/ 15794 w 165570"/>
                <a:gd name="connsiteY54" fmla="*/ 70452 h 182429"/>
                <a:gd name="connsiteX55" fmla="*/ 40638 w 165570"/>
                <a:gd name="connsiteY55" fmla="*/ 49068 h 182429"/>
                <a:gd name="connsiteX56" fmla="*/ 40816 w 165570"/>
                <a:gd name="connsiteY56" fmla="*/ 49068 h 182429"/>
                <a:gd name="connsiteX57" fmla="*/ 45874 w 165570"/>
                <a:gd name="connsiteY57" fmla="*/ 47205 h 182429"/>
                <a:gd name="connsiteX58" fmla="*/ 47471 w 165570"/>
                <a:gd name="connsiteY58" fmla="*/ 37178 h 182429"/>
                <a:gd name="connsiteX59" fmla="*/ 47293 w 165570"/>
                <a:gd name="connsiteY59" fmla="*/ 36912 h 182429"/>
                <a:gd name="connsiteX60" fmla="*/ 47293 w 165570"/>
                <a:gd name="connsiteY60" fmla="*/ 36734 h 182429"/>
                <a:gd name="connsiteX61" fmla="*/ 46850 w 165570"/>
                <a:gd name="connsiteY61" fmla="*/ 36202 h 182429"/>
                <a:gd name="connsiteX62" fmla="*/ 46850 w 165570"/>
                <a:gd name="connsiteY62" fmla="*/ 36202 h 182429"/>
                <a:gd name="connsiteX63" fmla="*/ 44010 w 165570"/>
                <a:gd name="connsiteY63" fmla="*/ 28749 h 182429"/>
                <a:gd name="connsiteX64" fmla="*/ 59627 w 165570"/>
                <a:gd name="connsiteY64" fmla="*/ 15705 h 182429"/>
                <a:gd name="connsiteX65" fmla="*/ 75243 w 165570"/>
                <a:gd name="connsiteY65" fmla="*/ 28749 h 182429"/>
                <a:gd name="connsiteX66" fmla="*/ 83052 w 165570"/>
                <a:gd name="connsiteY66" fmla="*/ 36557 h 182429"/>
                <a:gd name="connsiteX67" fmla="*/ 90860 w 165570"/>
                <a:gd name="connsiteY67" fmla="*/ 28749 h 182429"/>
                <a:gd name="connsiteX68" fmla="*/ 106476 w 165570"/>
                <a:gd name="connsiteY68" fmla="*/ 15705 h 182429"/>
                <a:gd name="connsiteX69" fmla="*/ 122093 w 165570"/>
                <a:gd name="connsiteY69" fmla="*/ 28749 h 182429"/>
                <a:gd name="connsiteX70" fmla="*/ 120939 w 165570"/>
                <a:gd name="connsiteY70" fmla="*/ 33629 h 182429"/>
                <a:gd name="connsiteX71" fmla="*/ 108162 w 165570"/>
                <a:gd name="connsiteY71" fmla="*/ 36823 h 182429"/>
                <a:gd name="connsiteX72" fmla="*/ 103992 w 165570"/>
                <a:gd name="connsiteY72" fmla="*/ 47027 h 182429"/>
                <a:gd name="connsiteX73" fmla="*/ 114196 w 165570"/>
                <a:gd name="connsiteY73" fmla="*/ 51197 h 182429"/>
                <a:gd name="connsiteX74" fmla="*/ 125021 w 165570"/>
                <a:gd name="connsiteY74" fmla="*/ 48979 h 182429"/>
                <a:gd name="connsiteX75" fmla="*/ 125465 w 165570"/>
                <a:gd name="connsiteY75" fmla="*/ 48979 h 182429"/>
                <a:gd name="connsiteX76" fmla="*/ 150309 w 165570"/>
                <a:gd name="connsiteY76" fmla="*/ 70363 h 182429"/>
                <a:gd name="connsiteX77" fmla="*/ 138331 w 165570"/>
                <a:gd name="connsiteY77" fmla="*/ 88464 h 182429"/>
                <a:gd name="connsiteX78" fmla="*/ 134160 w 165570"/>
                <a:gd name="connsiteY78" fmla="*/ 95385 h 182429"/>
                <a:gd name="connsiteX79" fmla="*/ 138331 w 165570"/>
                <a:gd name="connsiteY79" fmla="*/ 102306 h 1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65570" h="182429">
                  <a:moveTo>
                    <a:pt x="165571" y="70363"/>
                  </a:moveTo>
                  <a:cubicBezTo>
                    <a:pt x="165571" y="53682"/>
                    <a:pt x="153415" y="39574"/>
                    <a:pt x="136645" y="34960"/>
                  </a:cubicBezTo>
                  <a:cubicBezTo>
                    <a:pt x="137177" y="32919"/>
                    <a:pt x="137443" y="30789"/>
                    <a:pt x="137443" y="28660"/>
                  </a:cubicBezTo>
                  <a:cubicBezTo>
                    <a:pt x="137443" y="12866"/>
                    <a:pt x="123424" y="0"/>
                    <a:pt x="106210" y="0"/>
                  </a:cubicBezTo>
                  <a:cubicBezTo>
                    <a:pt x="96894" y="0"/>
                    <a:pt x="88464" y="3815"/>
                    <a:pt x="82785" y="9760"/>
                  </a:cubicBezTo>
                  <a:cubicBezTo>
                    <a:pt x="77018" y="3815"/>
                    <a:pt x="68677" y="0"/>
                    <a:pt x="59361" y="0"/>
                  </a:cubicBezTo>
                  <a:cubicBezTo>
                    <a:pt x="42147" y="0"/>
                    <a:pt x="28128" y="12866"/>
                    <a:pt x="28128" y="28660"/>
                  </a:cubicBezTo>
                  <a:cubicBezTo>
                    <a:pt x="28128" y="30789"/>
                    <a:pt x="28394" y="32919"/>
                    <a:pt x="28926" y="34960"/>
                  </a:cubicBezTo>
                  <a:cubicBezTo>
                    <a:pt x="12245" y="39574"/>
                    <a:pt x="0" y="53682"/>
                    <a:pt x="0" y="70363"/>
                  </a:cubicBezTo>
                  <a:cubicBezTo>
                    <a:pt x="0" y="78526"/>
                    <a:pt x="2928" y="86246"/>
                    <a:pt x="8252" y="92546"/>
                  </a:cubicBezTo>
                  <a:cubicBezTo>
                    <a:pt x="3017" y="99289"/>
                    <a:pt x="0" y="107452"/>
                    <a:pt x="0" y="116237"/>
                  </a:cubicBezTo>
                  <a:cubicBezTo>
                    <a:pt x="0" y="129458"/>
                    <a:pt x="7098" y="141880"/>
                    <a:pt x="18722" y="149599"/>
                  </a:cubicBezTo>
                  <a:lnTo>
                    <a:pt x="18722" y="149599"/>
                  </a:lnTo>
                  <a:cubicBezTo>
                    <a:pt x="18722" y="167700"/>
                    <a:pt x="34871" y="182430"/>
                    <a:pt x="54658" y="182430"/>
                  </a:cubicBezTo>
                  <a:cubicBezTo>
                    <a:pt x="66015" y="182430"/>
                    <a:pt x="76219" y="177549"/>
                    <a:pt x="82785" y="170007"/>
                  </a:cubicBezTo>
                  <a:cubicBezTo>
                    <a:pt x="89351" y="177549"/>
                    <a:pt x="99555" y="182430"/>
                    <a:pt x="110913" y="182430"/>
                  </a:cubicBezTo>
                  <a:cubicBezTo>
                    <a:pt x="129990" y="182430"/>
                    <a:pt x="145607" y="168765"/>
                    <a:pt x="146760" y="151640"/>
                  </a:cubicBezTo>
                  <a:cubicBezTo>
                    <a:pt x="158384" y="144897"/>
                    <a:pt x="165571" y="133184"/>
                    <a:pt x="165571" y="120407"/>
                  </a:cubicBezTo>
                  <a:cubicBezTo>
                    <a:pt x="165571" y="111090"/>
                    <a:pt x="161578" y="102129"/>
                    <a:pt x="154746" y="95385"/>
                  </a:cubicBezTo>
                  <a:cubicBezTo>
                    <a:pt x="161578" y="88642"/>
                    <a:pt x="165571" y="79769"/>
                    <a:pt x="165571" y="70363"/>
                  </a:cubicBezTo>
                  <a:close/>
                  <a:moveTo>
                    <a:pt x="137976" y="102306"/>
                  </a:moveTo>
                  <a:cubicBezTo>
                    <a:pt x="145518" y="106299"/>
                    <a:pt x="149954" y="113042"/>
                    <a:pt x="149954" y="120407"/>
                  </a:cubicBezTo>
                  <a:cubicBezTo>
                    <a:pt x="149954" y="125908"/>
                    <a:pt x="147381" y="131143"/>
                    <a:pt x="143122" y="135048"/>
                  </a:cubicBezTo>
                  <a:cubicBezTo>
                    <a:pt x="139040" y="127417"/>
                    <a:pt x="131765" y="121383"/>
                    <a:pt x="122625" y="118544"/>
                  </a:cubicBezTo>
                  <a:cubicBezTo>
                    <a:pt x="118544" y="117213"/>
                    <a:pt x="114107" y="119520"/>
                    <a:pt x="112865" y="123690"/>
                  </a:cubicBezTo>
                  <a:cubicBezTo>
                    <a:pt x="111534" y="127772"/>
                    <a:pt x="113841" y="132208"/>
                    <a:pt x="118011" y="133450"/>
                  </a:cubicBezTo>
                  <a:cubicBezTo>
                    <a:pt x="125997" y="135935"/>
                    <a:pt x="131321" y="142412"/>
                    <a:pt x="131321" y="149599"/>
                  </a:cubicBezTo>
                  <a:cubicBezTo>
                    <a:pt x="131321" y="159094"/>
                    <a:pt x="122182" y="166813"/>
                    <a:pt x="111002" y="166813"/>
                  </a:cubicBezTo>
                  <a:cubicBezTo>
                    <a:pt x="99822" y="166813"/>
                    <a:pt x="90682" y="159094"/>
                    <a:pt x="90682" y="149599"/>
                  </a:cubicBezTo>
                  <a:lnTo>
                    <a:pt x="90682" y="99555"/>
                  </a:lnTo>
                  <a:cubicBezTo>
                    <a:pt x="90682" y="90061"/>
                    <a:pt x="99822" y="82342"/>
                    <a:pt x="111002" y="82342"/>
                  </a:cubicBezTo>
                  <a:cubicBezTo>
                    <a:pt x="115349" y="82342"/>
                    <a:pt x="118810" y="78881"/>
                    <a:pt x="118810" y="74533"/>
                  </a:cubicBezTo>
                  <a:cubicBezTo>
                    <a:pt x="118810" y="70186"/>
                    <a:pt x="115349" y="66725"/>
                    <a:pt x="111002" y="66725"/>
                  </a:cubicBezTo>
                  <a:cubicBezTo>
                    <a:pt x="103460" y="66725"/>
                    <a:pt x="96450" y="68855"/>
                    <a:pt x="90682" y="72493"/>
                  </a:cubicBezTo>
                  <a:lnTo>
                    <a:pt x="90682" y="62555"/>
                  </a:lnTo>
                  <a:cubicBezTo>
                    <a:pt x="90682" y="58207"/>
                    <a:pt x="87222" y="54747"/>
                    <a:pt x="82874" y="54747"/>
                  </a:cubicBezTo>
                  <a:cubicBezTo>
                    <a:pt x="78526" y="54747"/>
                    <a:pt x="75066" y="58207"/>
                    <a:pt x="75066" y="62555"/>
                  </a:cubicBezTo>
                  <a:lnTo>
                    <a:pt x="75066" y="105855"/>
                  </a:lnTo>
                  <a:cubicBezTo>
                    <a:pt x="72404" y="104169"/>
                    <a:pt x="69565" y="102838"/>
                    <a:pt x="66459" y="101862"/>
                  </a:cubicBezTo>
                  <a:cubicBezTo>
                    <a:pt x="62377" y="100531"/>
                    <a:pt x="57941" y="102838"/>
                    <a:pt x="56699" y="106920"/>
                  </a:cubicBezTo>
                  <a:cubicBezTo>
                    <a:pt x="55368" y="111002"/>
                    <a:pt x="57675" y="115438"/>
                    <a:pt x="61756" y="116680"/>
                  </a:cubicBezTo>
                  <a:cubicBezTo>
                    <a:pt x="69742" y="119165"/>
                    <a:pt x="75066" y="125642"/>
                    <a:pt x="75066" y="132829"/>
                  </a:cubicBezTo>
                  <a:lnTo>
                    <a:pt x="75066" y="149511"/>
                  </a:lnTo>
                  <a:cubicBezTo>
                    <a:pt x="75066" y="159005"/>
                    <a:pt x="65927" y="166724"/>
                    <a:pt x="54747" y="166724"/>
                  </a:cubicBezTo>
                  <a:cubicBezTo>
                    <a:pt x="43567" y="166724"/>
                    <a:pt x="34427" y="159005"/>
                    <a:pt x="34427" y="149511"/>
                  </a:cubicBezTo>
                  <a:cubicBezTo>
                    <a:pt x="34427" y="145429"/>
                    <a:pt x="36113" y="141525"/>
                    <a:pt x="39308" y="138419"/>
                  </a:cubicBezTo>
                  <a:cubicBezTo>
                    <a:pt x="42324" y="135402"/>
                    <a:pt x="42413" y="130434"/>
                    <a:pt x="39308" y="127417"/>
                  </a:cubicBezTo>
                  <a:cubicBezTo>
                    <a:pt x="36202" y="124400"/>
                    <a:pt x="31322" y="124311"/>
                    <a:pt x="28305" y="127417"/>
                  </a:cubicBezTo>
                  <a:cubicBezTo>
                    <a:pt x="26442" y="129280"/>
                    <a:pt x="24844" y="131321"/>
                    <a:pt x="23514" y="133450"/>
                  </a:cubicBezTo>
                  <a:cubicBezTo>
                    <a:pt x="18633" y="128748"/>
                    <a:pt x="15705" y="122625"/>
                    <a:pt x="15705" y="116237"/>
                  </a:cubicBezTo>
                  <a:cubicBezTo>
                    <a:pt x="15705" y="104702"/>
                    <a:pt x="24756" y="94498"/>
                    <a:pt x="37799" y="91570"/>
                  </a:cubicBezTo>
                  <a:cubicBezTo>
                    <a:pt x="41969" y="90594"/>
                    <a:pt x="44631" y="86423"/>
                    <a:pt x="43655" y="82253"/>
                  </a:cubicBezTo>
                  <a:cubicBezTo>
                    <a:pt x="42679" y="78083"/>
                    <a:pt x="38509" y="75421"/>
                    <a:pt x="34339" y="76397"/>
                  </a:cubicBezTo>
                  <a:cubicBezTo>
                    <a:pt x="29104" y="77639"/>
                    <a:pt x="24312" y="79591"/>
                    <a:pt x="20053" y="82253"/>
                  </a:cubicBezTo>
                  <a:cubicBezTo>
                    <a:pt x="17302" y="78793"/>
                    <a:pt x="15794" y="74711"/>
                    <a:pt x="15794" y="70452"/>
                  </a:cubicBezTo>
                  <a:cubicBezTo>
                    <a:pt x="15794" y="58739"/>
                    <a:pt x="26885" y="49157"/>
                    <a:pt x="40638" y="49068"/>
                  </a:cubicBezTo>
                  <a:lnTo>
                    <a:pt x="40816" y="49068"/>
                  </a:lnTo>
                  <a:cubicBezTo>
                    <a:pt x="42591" y="49068"/>
                    <a:pt x="44365" y="48447"/>
                    <a:pt x="45874" y="47205"/>
                  </a:cubicBezTo>
                  <a:cubicBezTo>
                    <a:pt x="48890" y="44631"/>
                    <a:pt x="49423" y="40372"/>
                    <a:pt x="47471" y="37178"/>
                  </a:cubicBezTo>
                  <a:cubicBezTo>
                    <a:pt x="47471" y="37089"/>
                    <a:pt x="47382" y="37001"/>
                    <a:pt x="47293" y="36912"/>
                  </a:cubicBezTo>
                  <a:lnTo>
                    <a:pt x="47293" y="36734"/>
                  </a:lnTo>
                  <a:cubicBezTo>
                    <a:pt x="47293" y="36734"/>
                    <a:pt x="46938" y="36379"/>
                    <a:pt x="46850" y="36202"/>
                  </a:cubicBezTo>
                  <a:lnTo>
                    <a:pt x="46850" y="36202"/>
                  </a:lnTo>
                  <a:cubicBezTo>
                    <a:pt x="45519" y="34694"/>
                    <a:pt x="44010" y="32120"/>
                    <a:pt x="44010" y="28749"/>
                  </a:cubicBezTo>
                  <a:cubicBezTo>
                    <a:pt x="44010" y="21561"/>
                    <a:pt x="51020" y="15705"/>
                    <a:pt x="59627" y="15705"/>
                  </a:cubicBezTo>
                  <a:cubicBezTo>
                    <a:pt x="68234" y="15705"/>
                    <a:pt x="75243" y="21561"/>
                    <a:pt x="75243" y="28749"/>
                  </a:cubicBezTo>
                  <a:cubicBezTo>
                    <a:pt x="75243" y="33096"/>
                    <a:pt x="78704" y="36557"/>
                    <a:pt x="83052" y="36557"/>
                  </a:cubicBezTo>
                  <a:cubicBezTo>
                    <a:pt x="87399" y="36557"/>
                    <a:pt x="90860" y="33096"/>
                    <a:pt x="90860" y="28749"/>
                  </a:cubicBezTo>
                  <a:cubicBezTo>
                    <a:pt x="90860" y="21561"/>
                    <a:pt x="97870" y="15705"/>
                    <a:pt x="106476" y="15705"/>
                  </a:cubicBezTo>
                  <a:cubicBezTo>
                    <a:pt x="115083" y="15705"/>
                    <a:pt x="122093" y="21561"/>
                    <a:pt x="122093" y="28749"/>
                  </a:cubicBezTo>
                  <a:cubicBezTo>
                    <a:pt x="122093" y="30701"/>
                    <a:pt x="121561" y="32298"/>
                    <a:pt x="120939" y="33629"/>
                  </a:cubicBezTo>
                  <a:cubicBezTo>
                    <a:pt x="116503" y="34072"/>
                    <a:pt x="112244" y="35137"/>
                    <a:pt x="108162" y="36823"/>
                  </a:cubicBezTo>
                  <a:cubicBezTo>
                    <a:pt x="104169" y="38509"/>
                    <a:pt x="102306" y="43034"/>
                    <a:pt x="103992" y="47027"/>
                  </a:cubicBezTo>
                  <a:cubicBezTo>
                    <a:pt x="105678" y="51020"/>
                    <a:pt x="110203" y="52883"/>
                    <a:pt x="114196" y="51197"/>
                  </a:cubicBezTo>
                  <a:cubicBezTo>
                    <a:pt x="117568" y="49778"/>
                    <a:pt x="121206" y="49068"/>
                    <a:pt x="125021" y="48979"/>
                  </a:cubicBezTo>
                  <a:lnTo>
                    <a:pt x="125465" y="48979"/>
                  </a:lnTo>
                  <a:cubicBezTo>
                    <a:pt x="139129" y="48979"/>
                    <a:pt x="150309" y="58651"/>
                    <a:pt x="150309" y="70363"/>
                  </a:cubicBezTo>
                  <a:cubicBezTo>
                    <a:pt x="150309" y="77728"/>
                    <a:pt x="145784" y="84471"/>
                    <a:pt x="138331" y="88464"/>
                  </a:cubicBezTo>
                  <a:cubicBezTo>
                    <a:pt x="135757" y="89795"/>
                    <a:pt x="134160" y="92457"/>
                    <a:pt x="134160" y="95385"/>
                  </a:cubicBezTo>
                  <a:cubicBezTo>
                    <a:pt x="134160" y="98313"/>
                    <a:pt x="135757" y="100975"/>
                    <a:pt x="138331" y="102306"/>
                  </a:cubicBezTo>
                  <a:close/>
                </a:path>
              </a:pathLst>
            </a:custGeom>
            <a:solidFill>
              <a:schemeClr val="accent6"/>
            </a:solidFill>
            <a:ln w="8731" cap="flat">
              <a:noFill/>
              <a:prstDash val="solid"/>
              <a:miter/>
            </a:ln>
          </p:spPr>
          <p:txBody>
            <a:bodyPr rtlCol="0" anchor="ctr"/>
            <a:lstStyle/>
            <a:p>
              <a:endParaRPr lang="pt-BR"/>
            </a:p>
          </p:txBody>
        </p:sp>
        <p:sp>
          <p:nvSpPr>
            <p:cNvPr id="20" name="Forma Livre: Forma 24">
              <a:extLst>
                <a:ext uri="{FF2B5EF4-FFF2-40B4-BE49-F238E27FC236}">
                  <a16:creationId xmlns:a16="http://schemas.microsoft.com/office/drawing/2014/main" id="{32CDDE83-E49F-F656-CB98-697F726A4532}"/>
                </a:ext>
              </a:extLst>
            </p:cNvPr>
            <p:cNvSpPr/>
            <p:nvPr/>
          </p:nvSpPr>
          <p:spPr>
            <a:xfrm>
              <a:off x="5259837" y="5790997"/>
              <a:ext cx="119342" cy="107363"/>
            </a:xfrm>
            <a:custGeom>
              <a:avLst/>
              <a:gdLst>
                <a:gd name="connsiteX0" fmla="*/ 0 w 119342"/>
                <a:gd name="connsiteY0" fmla="*/ 107275 h 107363"/>
                <a:gd name="connsiteX1" fmla="*/ 9494 w 119342"/>
                <a:gd name="connsiteY1" fmla="*/ 107275 h 107363"/>
                <a:gd name="connsiteX2" fmla="*/ 32653 w 119342"/>
                <a:gd name="connsiteY2" fmla="*/ 97692 h 107363"/>
                <a:gd name="connsiteX3" fmla="*/ 83939 w 119342"/>
                <a:gd name="connsiteY3" fmla="*/ 46406 h 107363"/>
                <a:gd name="connsiteX4" fmla="*/ 94853 w 119342"/>
                <a:gd name="connsiteY4" fmla="*/ 48979 h 107363"/>
                <a:gd name="connsiteX5" fmla="*/ 112155 w 119342"/>
                <a:gd name="connsiteY5" fmla="*/ 41792 h 107363"/>
                <a:gd name="connsiteX6" fmla="*/ 119342 w 119342"/>
                <a:gd name="connsiteY6" fmla="*/ 24490 h 107363"/>
                <a:gd name="connsiteX7" fmla="*/ 112155 w 119342"/>
                <a:gd name="connsiteY7" fmla="*/ 7187 h 107363"/>
                <a:gd name="connsiteX8" fmla="*/ 94853 w 119342"/>
                <a:gd name="connsiteY8" fmla="*/ 0 h 107363"/>
                <a:gd name="connsiteX9" fmla="*/ 77550 w 119342"/>
                <a:gd name="connsiteY9" fmla="*/ 7187 h 107363"/>
                <a:gd name="connsiteX10" fmla="*/ 70363 w 119342"/>
                <a:gd name="connsiteY10" fmla="*/ 24490 h 107363"/>
                <a:gd name="connsiteX11" fmla="*/ 72936 w 119342"/>
                <a:gd name="connsiteY11" fmla="*/ 35403 h 107363"/>
                <a:gd name="connsiteX12" fmla="*/ 21650 w 119342"/>
                <a:gd name="connsiteY12" fmla="*/ 86690 h 107363"/>
                <a:gd name="connsiteX13" fmla="*/ 9494 w 119342"/>
                <a:gd name="connsiteY13" fmla="*/ 91747 h 107363"/>
                <a:gd name="connsiteX14" fmla="*/ 0 w 119342"/>
                <a:gd name="connsiteY14" fmla="*/ 91747 h 107363"/>
                <a:gd name="connsiteX15" fmla="*/ 0 w 119342"/>
                <a:gd name="connsiteY15" fmla="*/ 107364 h 107363"/>
                <a:gd name="connsiteX16" fmla="*/ 88553 w 119342"/>
                <a:gd name="connsiteY16" fmla="*/ 18190 h 107363"/>
                <a:gd name="connsiteX17" fmla="*/ 94853 w 119342"/>
                <a:gd name="connsiteY17" fmla="*/ 15617 h 107363"/>
                <a:gd name="connsiteX18" fmla="*/ 101153 w 119342"/>
                <a:gd name="connsiteY18" fmla="*/ 18190 h 107363"/>
                <a:gd name="connsiteX19" fmla="*/ 103726 w 119342"/>
                <a:gd name="connsiteY19" fmla="*/ 24490 h 107363"/>
                <a:gd name="connsiteX20" fmla="*/ 101153 w 119342"/>
                <a:gd name="connsiteY20" fmla="*/ 30789 h 107363"/>
                <a:gd name="connsiteX21" fmla="*/ 94853 w 119342"/>
                <a:gd name="connsiteY21" fmla="*/ 33363 h 107363"/>
                <a:gd name="connsiteX22" fmla="*/ 88553 w 119342"/>
                <a:gd name="connsiteY22" fmla="*/ 30789 h 107363"/>
                <a:gd name="connsiteX23" fmla="*/ 85980 w 119342"/>
                <a:gd name="connsiteY23" fmla="*/ 24490 h 107363"/>
                <a:gd name="connsiteX24" fmla="*/ 88553 w 119342"/>
                <a:gd name="connsiteY24" fmla="*/ 18190 h 1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342" h="107363">
                  <a:moveTo>
                    <a:pt x="0" y="107275"/>
                  </a:moveTo>
                  <a:lnTo>
                    <a:pt x="9494" y="107275"/>
                  </a:lnTo>
                  <a:cubicBezTo>
                    <a:pt x="18278" y="107275"/>
                    <a:pt x="26530" y="103903"/>
                    <a:pt x="32653" y="97692"/>
                  </a:cubicBezTo>
                  <a:lnTo>
                    <a:pt x="83939" y="46406"/>
                  </a:lnTo>
                  <a:cubicBezTo>
                    <a:pt x="87311" y="48092"/>
                    <a:pt x="90949" y="48979"/>
                    <a:pt x="94853" y="48979"/>
                  </a:cubicBezTo>
                  <a:cubicBezTo>
                    <a:pt x="101419" y="48979"/>
                    <a:pt x="107541" y="46406"/>
                    <a:pt x="112155" y="41792"/>
                  </a:cubicBezTo>
                  <a:cubicBezTo>
                    <a:pt x="116769" y="37178"/>
                    <a:pt x="119342" y="31056"/>
                    <a:pt x="119342" y="24490"/>
                  </a:cubicBezTo>
                  <a:cubicBezTo>
                    <a:pt x="119342" y="17924"/>
                    <a:pt x="116769" y="11801"/>
                    <a:pt x="112155" y="7187"/>
                  </a:cubicBezTo>
                  <a:cubicBezTo>
                    <a:pt x="107541" y="2573"/>
                    <a:pt x="101419" y="0"/>
                    <a:pt x="94853" y="0"/>
                  </a:cubicBezTo>
                  <a:cubicBezTo>
                    <a:pt x="88287" y="0"/>
                    <a:pt x="82164" y="2573"/>
                    <a:pt x="77550" y="7187"/>
                  </a:cubicBezTo>
                  <a:cubicBezTo>
                    <a:pt x="72936" y="11801"/>
                    <a:pt x="70363" y="17924"/>
                    <a:pt x="70363" y="24490"/>
                  </a:cubicBezTo>
                  <a:cubicBezTo>
                    <a:pt x="70363" y="28305"/>
                    <a:pt x="71250" y="32032"/>
                    <a:pt x="72936" y="35403"/>
                  </a:cubicBezTo>
                  <a:lnTo>
                    <a:pt x="21650" y="86690"/>
                  </a:lnTo>
                  <a:cubicBezTo>
                    <a:pt x="18367" y="89973"/>
                    <a:pt x="14108" y="91747"/>
                    <a:pt x="9494" y="91747"/>
                  </a:cubicBezTo>
                  <a:lnTo>
                    <a:pt x="0" y="91747"/>
                  </a:lnTo>
                  <a:lnTo>
                    <a:pt x="0" y="107364"/>
                  </a:lnTo>
                  <a:close/>
                  <a:moveTo>
                    <a:pt x="88553" y="18190"/>
                  </a:moveTo>
                  <a:cubicBezTo>
                    <a:pt x="90239" y="16504"/>
                    <a:pt x="92457" y="15617"/>
                    <a:pt x="94853" y="15617"/>
                  </a:cubicBezTo>
                  <a:cubicBezTo>
                    <a:pt x="97248" y="15617"/>
                    <a:pt x="99467" y="16504"/>
                    <a:pt x="101153" y="18190"/>
                  </a:cubicBezTo>
                  <a:cubicBezTo>
                    <a:pt x="102838" y="19876"/>
                    <a:pt x="103726" y="22094"/>
                    <a:pt x="103726" y="24490"/>
                  </a:cubicBezTo>
                  <a:cubicBezTo>
                    <a:pt x="103726" y="26885"/>
                    <a:pt x="102838" y="29104"/>
                    <a:pt x="101153" y="30789"/>
                  </a:cubicBezTo>
                  <a:cubicBezTo>
                    <a:pt x="99467" y="32475"/>
                    <a:pt x="97248" y="33363"/>
                    <a:pt x="94853" y="33363"/>
                  </a:cubicBezTo>
                  <a:cubicBezTo>
                    <a:pt x="92457" y="33363"/>
                    <a:pt x="90239" y="32475"/>
                    <a:pt x="88553" y="30789"/>
                  </a:cubicBezTo>
                  <a:cubicBezTo>
                    <a:pt x="86867" y="29104"/>
                    <a:pt x="85980" y="26885"/>
                    <a:pt x="85980" y="24490"/>
                  </a:cubicBezTo>
                  <a:cubicBezTo>
                    <a:pt x="85980" y="22094"/>
                    <a:pt x="86867" y="19876"/>
                    <a:pt x="88553" y="18190"/>
                  </a:cubicBezTo>
                  <a:close/>
                </a:path>
              </a:pathLst>
            </a:custGeom>
            <a:solidFill>
              <a:srgbClr val="000532"/>
            </a:solidFill>
            <a:ln w="8731" cap="flat">
              <a:noFill/>
              <a:prstDash val="solid"/>
              <a:miter/>
            </a:ln>
          </p:spPr>
          <p:txBody>
            <a:bodyPr rtlCol="0" anchor="ctr"/>
            <a:lstStyle/>
            <a:p>
              <a:endParaRPr lang="pt-BR"/>
            </a:p>
          </p:txBody>
        </p:sp>
        <p:sp>
          <p:nvSpPr>
            <p:cNvPr id="21" name="Forma Livre: Forma 25">
              <a:extLst>
                <a:ext uri="{FF2B5EF4-FFF2-40B4-BE49-F238E27FC236}">
                  <a16:creationId xmlns:a16="http://schemas.microsoft.com/office/drawing/2014/main" id="{4AFC933B-20D3-F387-12FE-FA60D84080F8}"/>
                </a:ext>
              </a:extLst>
            </p:cNvPr>
            <p:cNvSpPr/>
            <p:nvPr/>
          </p:nvSpPr>
          <p:spPr>
            <a:xfrm>
              <a:off x="5259837" y="5949380"/>
              <a:ext cx="119342" cy="15616"/>
            </a:xfrm>
            <a:custGeom>
              <a:avLst/>
              <a:gdLst>
                <a:gd name="connsiteX0" fmla="*/ 111534 w 119342"/>
                <a:gd name="connsiteY0" fmla="*/ 0 h 15616"/>
                <a:gd name="connsiteX1" fmla="*/ 0 w 119342"/>
                <a:gd name="connsiteY1" fmla="*/ 0 h 15616"/>
                <a:gd name="connsiteX2" fmla="*/ 0 w 119342"/>
                <a:gd name="connsiteY2" fmla="*/ 15617 h 15616"/>
                <a:gd name="connsiteX3" fmla="*/ 111534 w 119342"/>
                <a:gd name="connsiteY3" fmla="*/ 15617 h 15616"/>
                <a:gd name="connsiteX4" fmla="*/ 119342 w 119342"/>
                <a:gd name="connsiteY4" fmla="*/ 7808 h 15616"/>
                <a:gd name="connsiteX5" fmla="*/ 111534 w 119342"/>
                <a:gd name="connsiteY5" fmla="*/ 0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2" h="15616">
                  <a:moveTo>
                    <a:pt x="111534" y="0"/>
                  </a:moveTo>
                  <a:lnTo>
                    <a:pt x="0" y="0"/>
                  </a:lnTo>
                  <a:lnTo>
                    <a:pt x="0" y="15617"/>
                  </a:lnTo>
                  <a:lnTo>
                    <a:pt x="111534" y="15617"/>
                  </a:lnTo>
                  <a:cubicBezTo>
                    <a:pt x="115882" y="15617"/>
                    <a:pt x="119342" y="12156"/>
                    <a:pt x="119342" y="7808"/>
                  </a:cubicBezTo>
                  <a:cubicBezTo>
                    <a:pt x="119342" y="3460"/>
                    <a:pt x="115882" y="0"/>
                    <a:pt x="111534" y="0"/>
                  </a:cubicBezTo>
                  <a:close/>
                </a:path>
              </a:pathLst>
            </a:custGeom>
            <a:solidFill>
              <a:srgbClr val="000532"/>
            </a:solidFill>
            <a:ln w="8731" cap="flat">
              <a:noFill/>
              <a:prstDash val="solid"/>
              <a:miter/>
            </a:ln>
          </p:spPr>
          <p:txBody>
            <a:bodyPr rtlCol="0" anchor="ctr"/>
            <a:lstStyle/>
            <a:p>
              <a:endParaRPr lang="pt-BR"/>
            </a:p>
          </p:txBody>
        </p:sp>
        <p:sp>
          <p:nvSpPr>
            <p:cNvPr id="22" name="Forma Livre: Forma 26">
              <a:extLst>
                <a:ext uri="{FF2B5EF4-FFF2-40B4-BE49-F238E27FC236}">
                  <a16:creationId xmlns:a16="http://schemas.microsoft.com/office/drawing/2014/main" id="{2758669C-059C-55B8-3EF7-27DECE859E7E}"/>
                </a:ext>
              </a:extLst>
            </p:cNvPr>
            <p:cNvSpPr/>
            <p:nvPr/>
          </p:nvSpPr>
          <p:spPr>
            <a:xfrm>
              <a:off x="5259837" y="5999424"/>
              <a:ext cx="102660" cy="48979"/>
            </a:xfrm>
            <a:custGeom>
              <a:avLst/>
              <a:gdLst>
                <a:gd name="connsiteX0" fmla="*/ 78171 w 102660"/>
                <a:gd name="connsiteY0" fmla="*/ 0 h 48979"/>
                <a:gd name="connsiteX1" fmla="*/ 55013 w 102660"/>
                <a:gd name="connsiteY1" fmla="*/ 16681 h 48979"/>
                <a:gd name="connsiteX2" fmla="*/ 0 w 102660"/>
                <a:gd name="connsiteY2" fmla="*/ 16681 h 48979"/>
                <a:gd name="connsiteX3" fmla="*/ 0 w 102660"/>
                <a:gd name="connsiteY3" fmla="*/ 32298 h 48979"/>
                <a:gd name="connsiteX4" fmla="*/ 55013 w 102660"/>
                <a:gd name="connsiteY4" fmla="*/ 32298 h 48979"/>
                <a:gd name="connsiteX5" fmla="*/ 78171 w 102660"/>
                <a:gd name="connsiteY5" fmla="*/ 48979 h 48979"/>
                <a:gd name="connsiteX6" fmla="*/ 102661 w 102660"/>
                <a:gd name="connsiteY6" fmla="*/ 24490 h 48979"/>
                <a:gd name="connsiteX7" fmla="*/ 78171 w 102660"/>
                <a:gd name="connsiteY7" fmla="*/ 0 h 48979"/>
                <a:gd name="connsiteX8" fmla="*/ 78171 w 102660"/>
                <a:gd name="connsiteY8" fmla="*/ 33363 h 48979"/>
                <a:gd name="connsiteX9" fmla="*/ 69298 w 102660"/>
                <a:gd name="connsiteY9" fmla="*/ 24490 h 48979"/>
                <a:gd name="connsiteX10" fmla="*/ 78171 w 102660"/>
                <a:gd name="connsiteY10" fmla="*/ 15617 h 48979"/>
                <a:gd name="connsiteX11" fmla="*/ 87044 w 102660"/>
                <a:gd name="connsiteY11" fmla="*/ 24490 h 48979"/>
                <a:gd name="connsiteX12" fmla="*/ 78171 w 102660"/>
                <a:gd name="connsiteY12" fmla="*/ 33363 h 4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660" h="48979">
                  <a:moveTo>
                    <a:pt x="78171" y="0"/>
                  </a:moveTo>
                  <a:cubicBezTo>
                    <a:pt x="67435" y="0"/>
                    <a:pt x="58207" y="7010"/>
                    <a:pt x="55013" y="16681"/>
                  </a:cubicBezTo>
                  <a:lnTo>
                    <a:pt x="0" y="16681"/>
                  </a:lnTo>
                  <a:lnTo>
                    <a:pt x="0" y="32298"/>
                  </a:lnTo>
                  <a:lnTo>
                    <a:pt x="55013" y="32298"/>
                  </a:lnTo>
                  <a:cubicBezTo>
                    <a:pt x="58296" y="41969"/>
                    <a:pt x="67435" y="48979"/>
                    <a:pt x="78171" y="48979"/>
                  </a:cubicBezTo>
                  <a:cubicBezTo>
                    <a:pt x="91658" y="48979"/>
                    <a:pt x="102661" y="37977"/>
                    <a:pt x="102661" y="24490"/>
                  </a:cubicBezTo>
                  <a:cubicBezTo>
                    <a:pt x="102661" y="11003"/>
                    <a:pt x="91658" y="0"/>
                    <a:pt x="78171" y="0"/>
                  </a:cubicBezTo>
                  <a:close/>
                  <a:moveTo>
                    <a:pt x="78171" y="33363"/>
                  </a:moveTo>
                  <a:cubicBezTo>
                    <a:pt x="73291" y="33363"/>
                    <a:pt x="69298" y="29370"/>
                    <a:pt x="69298" y="24490"/>
                  </a:cubicBezTo>
                  <a:cubicBezTo>
                    <a:pt x="69298" y="19609"/>
                    <a:pt x="73291" y="15617"/>
                    <a:pt x="78171" y="15617"/>
                  </a:cubicBezTo>
                  <a:cubicBezTo>
                    <a:pt x="83052" y="15617"/>
                    <a:pt x="87044" y="19609"/>
                    <a:pt x="87044" y="24490"/>
                  </a:cubicBezTo>
                  <a:cubicBezTo>
                    <a:pt x="87044" y="29370"/>
                    <a:pt x="83052" y="33363"/>
                    <a:pt x="78171" y="33363"/>
                  </a:cubicBezTo>
                  <a:close/>
                </a:path>
              </a:pathLst>
            </a:custGeom>
            <a:solidFill>
              <a:srgbClr val="000532"/>
            </a:solidFill>
            <a:ln w="8731" cap="flat">
              <a:noFill/>
              <a:prstDash val="solid"/>
              <a:miter/>
            </a:ln>
          </p:spPr>
          <p:txBody>
            <a:bodyPr rtlCol="0" anchor="ctr"/>
            <a:lstStyle/>
            <a:p>
              <a:endParaRPr lang="pt-BR"/>
            </a:p>
          </p:txBody>
        </p:sp>
        <p:sp>
          <p:nvSpPr>
            <p:cNvPr id="23" name="Forma Livre: Forma 27">
              <a:extLst>
                <a:ext uri="{FF2B5EF4-FFF2-40B4-BE49-F238E27FC236}">
                  <a16:creationId xmlns:a16="http://schemas.microsoft.com/office/drawing/2014/main" id="{7DE57455-5492-8498-A3CD-40B32A2FB602}"/>
                </a:ext>
              </a:extLst>
            </p:cNvPr>
            <p:cNvSpPr/>
            <p:nvPr/>
          </p:nvSpPr>
          <p:spPr>
            <a:xfrm>
              <a:off x="5171817" y="6104392"/>
              <a:ext cx="107274" cy="118987"/>
            </a:xfrm>
            <a:custGeom>
              <a:avLst/>
              <a:gdLst>
                <a:gd name="connsiteX0" fmla="*/ 100177 w 107274"/>
                <a:gd name="connsiteY0" fmla="*/ 77195 h 118987"/>
                <a:gd name="connsiteX1" fmla="*/ 71960 w 107274"/>
                <a:gd name="connsiteY1" fmla="*/ 72581 h 118987"/>
                <a:gd name="connsiteX2" fmla="*/ 20674 w 107274"/>
                <a:gd name="connsiteY2" fmla="*/ 21295 h 118987"/>
                <a:gd name="connsiteX3" fmla="*/ 15617 w 107274"/>
                <a:gd name="connsiteY3" fmla="*/ 9139 h 118987"/>
                <a:gd name="connsiteX4" fmla="*/ 15617 w 107274"/>
                <a:gd name="connsiteY4" fmla="*/ 0 h 118987"/>
                <a:gd name="connsiteX5" fmla="*/ 0 w 107274"/>
                <a:gd name="connsiteY5" fmla="*/ 0 h 118987"/>
                <a:gd name="connsiteX6" fmla="*/ 0 w 107274"/>
                <a:gd name="connsiteY6" fmla="*/ 9139 h 118987"/>
                <a:gd name="connsiteX7" fmla="*/ 9583 w 107274"/>
                <a:gd name="connsiteY7" fmla="*/ 32298 h 118987"/>
                <a:gd name="connsiteX8" fmla="*/ 60869 w 107274"/>
                <a:gd name="connsiteY8" fmla="*/ 83584 h 118987"/>
                <a:gd name="connsiteX9" fmla="*/ 65483 w 107274"/>
                <a:gd name="connsiteY9" fmla="*/ 111800 h 118987"/>
                <a:gd name="connsiteX10" fmla="*/ 82785 w 107274"/>
                <a:gd name="connsiteY10" fmla="*/ 118987 h 118987"/>
                <a:gd name="connsiteX11" fmla="*/ 100088 w 107274"/>
                <a:gd name="connsiteY11" fmla="*/ 111800 h 118987"/>
                <a:gd name="connsiteX12" fmla="*/ 100088 w 107274"/>
                <a:gd name="connsiteY12" fmla="*/ 77195 h 118987"/>
                <a:gd name="connsiteX13" fmla="*/ 89174 w 107274"/>
                <a:gd name="connsiteY13" fmla="*/ 100798 h 118987"/>
                <a:gd name="connsiteX14" fmla="*/ 76663 w 107274"/>
                <a:gd name="connsiteY14" fmla="*/ 100798 h 118987"/>
                <a:gd name="connsiteX15" fmla="*/ 76663 w 107274"/>
                <a:gd name="connsiteY15" fmla="*/ 88287 h 118987"/>
                <a:gd name="connsiteX16" fmla="*/ 82963 w 107274"/>
                <a:gd name="connsiteY16" fmla="*/ 85714 h 118987"/>
                <a:gd name="connsiteX17" fmla="*/ 89263 w 107274"/>
                <a:gd name="connsiteY17" fmla="*/ 88287 h 118987"/>
                <a:gd name="connsiteX18" fmla="*/ 89263 w 107274"/>
                <a:gd name="connsiteY18" fmla="*/ 100798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274" h="118987">
                  <a:moveTo>
                    <a:pt x="100177" y="77195"/>
                  </a:moveTo>
                  <a:cubicBezTo>
                    <a:pt x="92546" y="69565"/>
                    <a:pt x="81188" y="68056"/>
                    <a:pt x="71960" y="72581"/>
                  </a:cubicBezTo>
                  <a:lnTo>
                    <a:pt x="20674" y="21295"/>
                  </a:lnTo>
                  <a:cubicBezTo>
                    <a:pt x="17391" y="18012"/>
                    <a:pt x="15617" y="13753"/>
                    <a:pt x="15617" y="9139"/>
                  </a:cubicBezTo>
                  <a:lnTo>
                    <a:pt x="15617" y="0"/>
                  </a:lnTo>
                  <a:lnTo>
                    <a:pt x="0" y="0"/>
                  </a:lnTo>
                  <a:lnTo>
                    <a:pt x="0" y="9139"/>
                  </a:lnTo>
                  <a:cubicBezTo>
                    <a:pt x="0" y="17924"/>
                    <a:pt x="3372" y="26175"/>
                    <a:pt x="9583" y="32298"/>
                  </a:cubicBezTo>
                  <a:lnTo>
                    <a:pt x="60869" y="83584"/>
                  </a:lnTo>
                  <a:cubicBezTo>
                    <a:pt x="56344" y="92723"/>
                    <a:pt x="57852" y="104169"/>
                    <a:pt x="65483" y="111800"/>
                  </a:cubicBezTo>
                  <a:cubicBezTo>
                    <a:pt x="70274" y="116592"/>
                    <a:pt x="76486" y="118987"/>
                    <a:pt x="82785" y="118987"/>
                  </a:cubicBezTo>
                  <a:cubicBezTo>
                    <a:pt x="89085" y="118987"/>
                    <a:pt x="95296" y="116592"/>
                    <a:pt x="100088" y="111800"/>
                  </a:cubicBezTo>
                  <a:cubicBezTo>
                    <a:pt x="109671" y="102217"/>
                    <a:pt x="109671" y="86778"/>
                    <a:pt x="100088" y="77195"/>
                  </a:cubicBezTo>
                  <a:close/>
                  <a:moveTo>
                    <a:pt x="89174" y="100798"/>
                  </a:moveTo>
                  <a:cubicBezTo>
                    <a:pt x="85714" y="104258"/>
                    <a:pt x="80123" y="104258"/>
                    <a:pt x="76663" y="100798"/>
                  </a:cubicBezTo>
                  <a:cubicBezTo>
                    <a:pt x="73203" y="97337"/>
                    <a:pt x="73203" y="91747"/>
                    <a:pt x="76663" y="88287"/>
                  </a:cubicBezTo>
                  <a:cubicBezTo>
                    <a:pt x="78349" y="86601"/>
                    <a:pt x="80656" y="85714"/>
                    <a:pt x="82963" y="85714"/>
                  </a:cubicBezTo>
                  <a:cubicBezTo>
                    <a:pt x="85270" y="85714"/>
                    <a:pt x="87488" y="86601"/>
                    <a:pt x="89263" y="88287"/>
                  </a:cubicBezTo>
                  <a:cubicBezTo>
                    <a:pt x="92723" y="91747"/>
                    <a:pt x="92723" y="97337"/>
                    <a:pt x="89263" y="100798"/>
                  </a:cubicBezTo>
                  <a:close/>
                </a:path>
              </a:pathLst>
            </a:custGeom>
            <a:solidFill>
              <a:srgbClr val="000532"/>
            </a:solidFill>
            <a:ln w="8731" cap="flat">
              <a:noFill/>
              <a:prstDash val="solid"/>
              <a:miter/>
            </a:ln>
          </p:spPr>
          <p:txBody>
            <a:bodyPr rtlCol="0" anchor="ctr"/>
            <a:lstStyle/>
            <a:p>
              <a:endParaRPr lang="pt-BR"/>
            </a:p>
          </p:txBody>
        </p:sp>
        <p:sp>
          <p:nvSpPr>
            <p:cNvPr id="24" name="Forma Livre: Forma 28">
              <a:extLst>
                <a:ext uri="{FF2B5EF4-FFF2-40B4-BE49-F238E27FC236}">
                  <a16:creationId xmlns:a16="http://schemas.microsoft.com/office/drawing/2014/main" id="{730F21D3-C7ED-5695-151E-92DEB268A983}"/>
                </a:ext>
              </a:extLst>
            </p:cNvPr>
            <p:cNvSpPr/>
            <p:nvPr/>
          </p:nvSpPr>
          <p:spPr>
            <a:xfrm>
              <a:off x="5105180" y="6104392"/>
              <a:ext cx="15616" cy="118987"/>
            </a:xfrm>
            <a:custGeom>
              <a:avLst/>
              <a:gdLst>
                <a:gd name="connsiteX0" fmla="*/ 0 w 15616"/>
                <a:gd name="connsiteY0" fmla="*/ 0 h 118987"/>
                <a:gd name="connsiteX1" fmla="*/ 0 w 15616"/>
                <a:gd name="connsiteY1" fmla="*/ 111179 h 118987"/>
                <a:gd name="connsiteX2" fmla="*/ 7808 w 15616"/>
                <a:gd name="connsiteY2" fmla="*/ 118987 h 118987"/>
                <a:gd name="connsiteX3" fmla="*/ 15617 w 15616"/>
                <a:gd name="connsiteY3" fmla="*/ 111179 h 118987"/>
                <a:gd name="connsiteX4" fmla="*/ 15617 w 15616"/>
                <a:gd name="connsiteY4" fmla="*/ 0 h 118987"/>
                <a:gd name="connsiteX5" fmla="*/ 0 w 15616"/>
                <a:gd name="connsiteY5" fmla="*/ 0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118987">
                  <a:moveTo>
                    <a:pt x="0" y="0"/>
                  </a:moveTo>
                  <a:lnTo>
                    <a:pt x="0" y="111179"/>
                  </a:lnTo>
                  <a:cubicBezTo>
                    <a:pt x="0" y="115527"/>
                    <a:pt x="3460" y="118987"/>
                    <a:pt x="7808" y="118987"/>
                  </a:cubicBezTo>
                  <a:cubicBezTo>
                    <a:pt x="12156" y="118987"/>
                    <a:pt x="15617" y="115527"/>
                    <a:pt x="15617" y="111179"/>
                  </a:cubicBezTo>
                  <a:lnTo>
                    <a:pt x="15617" y="0"/>
                  </a:lnTo>
                  <a:lnTo>
                    <a:pt x="0" y="0"/>
                  </a:lnTo>
                  <a:close/>
                </a:path>
              </a:pathLst>
            </a:custGeom>
            <a:solidFill>
              <a:srgbClr val="000532"/>
            </a:solidFill>
            <a:ln w="8731" cap="flat">
              <a:noFill/>
              <a:prstDash val="solid"/>
              <a:miter/>
            </a:ln>
          </p:spPr>
          <p:txBody>
            <a:bodyPr rtlCol="0" anchor="ctr"/>
            <a:lstStyle/>
            <a:p>
              <a:endParaRPr lang="pt-BR"/>
            </a:p>
          </p:txBody>
        </p:sp>
        <p:sp>
          <p:nvSpPr>
            <p:cNvPr id="25" name="Forma Livre: Forma 29">
              <a:extLst>
                <a:ext uri="{FF2B5EF4-FFF2-40B4-BE49-F238E27FC236}">
                  <a16:creationId xmlns:a16="http://schemas.microsoft.com/office/drawing/2014/main" id="{055AFADF-2D28-8762-B965-1EE0A3C36BE8}"/>
                </a:ext>
              </a:extLst>
            </p:cNvPr>
            <p:cNvSpPr/>
            <p:nvPr/>
          </p:nvSpPr>
          <p:spPr>
            <a:xfrm>
              <a:off x="5021774" y="6104392"/>
              <a:ext cx="48979" cy="102306"/>
            </a:xfrm>
            <a:custGeom>
              <a:avLst/>
              <a:gdLst>
                <a:gd name="connsiteX0" fmla="*/ 32298 w 48979"/>
                <a:gd name="connsiteY0" fmla="*/ 54658 h 102306"/>
                <a:gd name="connsiteX1" fmla="*/ 32298 w 48979"/>
                <a:gd name="connsiteY1" fmla="*/ 0 h 102306"/>
                <a:gd name="connsiteX2" fmla="*/ 16681 w 48979"/>
                <a:gd name="connsiteY2" fmla="*/ 0 h 102306"/>
                <a:gd name="connsiteX3" fmla="*/ 16681 w 48979"/>
                <a:gd name="connsiteY3" fmla="*/ 54658 h 102306"/>
                <a:gd name="connsiteX4" fmla="*/ 0 w 48979"/>
                <a:gd name="connsiteY4" fmla="*/ 77817 h 102306"/>
                <a:gd name="connsiteX5" fmla="*/ 24490 w 48979"/>
                <a:gd name="connsiteY5" fmla="*/ 102306 h 102306"/>
                <a:gd name="connsiteX6" fmla="*/ 48979 w 48979"/>
                <a:gd name="connsiteY6" fmla="*/ 77817 h 102306"/>
                <a:gd name="connsiteX7" fmla="*/ 32298 w 48979"/>
                <a:gd name="connsiteY7" fmla="*/ 54658 h 102306"/>
                <a:gd name="connsiteX8" fmla="*/ 24490 w 48979"/>
                <a:gd name="connsiteY8" fmla="*/ 86690 h 102306"/>
                <a:gd name="connsiteX9" fmla="*/ 15617 w 48979"/>
                <a:gd name="connsiteY9" fmla="*/ 77817 h 102306"/>
                <a:gd name="connsiteX10" fmla="*/ 24490 w 48979"/>
                <a:gd name="connsiteY10" fmla="*/ 68943 h 102306"/>
                <a:gd name="connsiteX11" fmla="*/ 33363 w 48979"/>
                <a:gd name="connsiteY11" fmla="*/ 77817 h 102306"/>
                <a:gd name="connsiteX12" fmla="*/ 24490 w 48979"/>
                <a:gd name="connsiteY12" fmla="*/ 86690 h 1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979" h="102306">
                  <a:moveTo>
                    <a:pt x="32298" y="54658"/>
                  </a:moveTo>
                  <a:lnTo>
                    <a:pt x="32298" y="0"/>
                  </a:lnTo>
                  <a:lnTo>
                    <a:pt x="16681" y="0"/>
                  </a:lnTo>
                  <a:lnTo>
                    <a:pt x="16681" y="54658"/>
                  </a:lnTo>
                  <a:cubicBezTo>
                    <a:pt x="7010" y="57941"/>
                    <a:pt x="0" y="67080"/>
                    <a:pt x="0" y="77817"/>
                  </a:cubicBezTo>
                  <a:cubicBezTo>
                    <a:pt x="0" y="91304"/>
                    <a:pt x="11003" y="102306"/>
                    <a:pt x="24490" y="102306"/>
                  </a:cubicBezTo>
                  <a:cubicBezTo>
                    <a:pt x="37977" y="102306"/>
                    <a:pt x="48979" y="91304"/>
                    <a:pt x="48979" y="77817"/>
                  </a:cubicBezTo>
                  <a:cubicBezTo>
                    <a:pt x="48979" y="67080"/>
                    <a:pt x="41969" y="57852"/>
                    <a:pt x="32298" y="54658"/>
                  </a:cubicBezTo>
                  <a:close/>
                  <a:moveTo>
                    <a:pt x="24490" y="86690"/>
                  </a:moveTo>
                  <a:cubicBezTo>
                    <a:pt x="19609" y="86690"/>
                    <a:pt x="15617" y="82697"/>
                    <a:pt x="15617" y="77817"/>
                  </a:cubicBezTo>
                  <a:cubicBezTo>
                    <a:pt x="15617" y="72936"/>
                    <a:pt x="19609" y="68943"/>
                    <a:pt x="24490" y="68943"/>
                  </a:cubicBezTo>
                  <a:cubicBezTo>
                    <a:pt x="29370" y="68943"/>
                    <a:pt x="33363" y="72936"/>
                    <a:pt x="33363" y="77817"/>
                  </a:cubicBezTo>
                  <a:cubicBezTo>
                    <a:pt x="33363" y="82697"/>
                    <a:pt x="29370" y="86690"/>
                    <a:pt x="24490" y="86690"/>
                  </a:cubicBezTo>
                  <a:close/>
                </a:path>
              </a:pathLst>
            </a:custGeom>
            <a:solidFill>
              <a:srgbClr val="000532"/>
            </a:solidFill>
            <a:ln w="8731" cap="flat">
              <a:noFill/>
              <a:prstDash val="solid"/>
              <a:miter/>
            </a:ln>
          </p:spPr>
          <p:txBody>
            <a:bodyPr rtlCol="0" anchor="ctr"/>
            <a:lstStyle/>
            <a:p>
              <a:endParaRPr lang="pt-BR"/>
            </a:p>
          </p:txBody>
        </p:sp>
        <p:sp>
          <p:nvSpPr>
            <p:cNvPr id="26" name="Forma Livre: Forma 30">
              <a:extLst>
                <a:ext uri="{FF2B5EF4-FFF2-40B4-BE49-F238E27FC236}">
                  <a16:creationId xmlns:a16="http://schemas.microsoft.com/office/drawing/2014/main" id="{9C17374E-DE10-EEE4-3814-194CADD6747E}"/>
                </a:ext>
              </a:extLst>
            </p:cNvPr>
            <p:cNvSpPr/>
            <p:nvPr/>
          </p:nvSpPr>
          <p:spPr>
            <a:xfrm>
              <a:off x="5155224" y="5707679"/>
              <a:ext cx="48979" cy="102306"/>
            </a:xfrm>
            <a:custGeom>
              <a:avLst/>
              <a:gdLst>
                <a:gd name="connsiteX0" fmla="*/ 16681 w 48979"/>
                <a:gd name="connsiteY0" fmla="*/ 47648 h 102306"/>
                <a:gd name="connsiteX1" fmla="*/ 16681 w 48979"/>
                <a:gd name="connsiteY1" fmla="*/ 102306 h 102306"/>
                <a:gd name="connsiteX2" fmla="*/ 32298 w 48979"/>
                <a:gd name="connsiteY2" fmla="*/ 102306 h 102306"/>
                <a:gd name="connsiteX3" fmla="*/ 32298 w 48979"/>
                <a:gd name="connsiteY3" fmla="*/ 47648 h 102306"/>
                <a:gd name="connsiteX4" fmla="*/ 48979 w 48979"/>
                <a:gd name="connsiteY4" fmla="*/ 24490 h 102306"/>
                <a:gd name="connsiteX5" fmla="*/ 24490 w 48979"/>
                <a:gd name="connsiteY5" fmla="*/ 0 h 102306"/>
                <a:gd name="connsiteX6" fmla="*/ 0 w 48979"/>
                <a:gd name="connsiteY6" fmla="*/ 24490 h 102306"/>
                <a:gd name="connsiteX7" fmla="*/ 16681 w 48979"/>
                <a:gd name="connsiteY7" fmla="*/ 47648 h 102306"/>
                <a:gd name="connsiteX8" fmla="*/ 24490 w 48979"/>
                <a:gd name="connsiteY8" fmla="*/ 15617 h 102306"/>
                <a:gd name="connsiteX9" fmla="*/ 33363 w 48979"/>
                <a:gd name="connsiteY9" fmla="*/ 24490 h 102306"/>
                <a:gd name="connsiteX10" fmla="*/ 24490 w 48979"/>
                <a:gd name="connsiteY10" fmla="*/ 33363 h 102306"/>
                <a:gd name="connsiteX11" fmla="*/ 15617 w 48979"/>
                <a:gd name="connsiteY11" fmla="*/ 24490 h 102306"/>
                <a:gd name="connsiteX12" fmla="*/ 24490 w 48979"/>
                <a:gd name="connsiteY12" fmla="*/ 15617 h 1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979" h="102306">
                  <a:moveTo>
                    <a:pt x="16681" y="47648"/>
                  </a:moveTo>
                  <a:lnTo>
                    <a:pt x="16681" y="102306"/>
                  </a:lnTo>
                  <a:lnTo>
                    <a:pt x="32298" y="102306"/>
                  </a:lnTo>
                  <a:lnTo>
                    <a:pt x="32298" y="47648"/>
                  </a:lnTo>
                  <a:cubicBezTo>
                    <a:pt x="41969" y="44365"/>
                    <a:pt x="48979" y="35226"/>
                    <a:pt x="48979" y="24490"/>
                  </a:cubicBezTo>
                  <a:cubicBezTo>
                    <a:pt x="48979" y="11003"/>
                    <a:pt x="37977" y="0"/>
                    <a:pt x="24490" y="0"/>
                  </a:cubicBezTo>
                  <a:cubicBezTo>
                    <a:pt x="11003" y="0"/>
                    <a:pt x="0" y="11003"/>
                    <a:pt x="0" y="24490"/>
                  </a:cubicBezTo>
                  <a:cubicBezTo>
                    <a:pt x="0" y="35226"/>
                    <a:pt x="7010" y="44454"/>
                    <a:pt x="16681" y="47648"/>
                  </a:cubicBezTo>
                  <a:close/>
                  <a:moveTo>
                    <a:pt x="24490" y="15617"/>
                  </a:moveTo>
                  <a:cubicBezTo>
                    <a:pt x="29370" y="15617"/>
                    <a:pt x="33363" y="19609"/>
                    <a:pt x="33363" y="24490"/>
                  </a:cubicBezTo>
                  <a:cubicBezTo>
                    <a:pt x="33363" y="29370"/>
                    <a:pt x="29370" y="33363"/>
                    <a:pt x="24490" y="33363"/>
                  </a:cubicBezTo>
                  <a:cubicBezTo>
                    <a:pt x="19609" y="33363"/>
                    <a:pt x="15617" y="29370"/>
                    <a:pt x="15617" y="24490"/>
                  </a:cubicBezTo>
                  <a:cubicBezTo>
                    <a:pt x="15617" y="19609"/>
                    <a:pt x="19609" y="15617"/>
                    <a:pt x="24490" y="15617"/>
                  </a:cubicBezTo>
                  <a:close/>
                </a:path>
              </a:pathLst>
            </a:custGeom>
            <a:solidFill>
              <a:srgbClr val="000532"/>
            </a:solidFill>
            <a:ln w="8731" cap="flat">
              <a:noFill/>
              <a:prstDash val="solid"/>
              <a:miter/>
            </a:ln>
          </p:spPr>
          <p:txBody>
            <a:bodyPr rtlCol="0" anchor="ctr"/>
            <a:lstStyle/>
            <a:p>
              <a:endParaRPr lang="pt-BR"/>
            </a:p>
          </p:txBody>
        </p:sp>
        <p:sp>
          <p:nvSpPr>
            <p:cNvPr id="27" name="Forma Livre: Forma 31">
              <a:extLst>
                <a:ext uri="{FF2B5EF4-FFF2-40B4-BE49-F238E27FC236}">
                  <a16:creationId xmlns:a16="http://schemas.microsoft.com/office/drawing/2014/main" id="{619ECE14-BC28-82EC-6D14-77ACBF4C26AB}"/>
                </a:ext>
              </a:extLst>
            </p:cNvPr>
            <p:cNvSpPr/>
            <p:nvPr/>
          </p:nvSpPr>
          <p:spPr>
            <a:xfrm>
              <a:off x="5105180" y="5690998"/>
              <a:ext cx="15616" cy="118987"/>
            </a:xfrm>
            <a:custGeom>
              <a:avLst/>
              <a:gdLst>
                <a:gd name="connsiteX0" fmla="*/ 15617 w 15616"/>
                <a:gd name="connsiteY0" fmla="*/ 118987 h 118987"/>
                <a:gd name="connsiteX1" fmla="*/ 15617 w 15616"/>
                <a:gd name="connsiteY1" fmla="*/ 7808 h 118987"/>
                <a:gd name="connsiteX2" fmla="*/ 7808 w 15616"/>
                <a:gd name="connsiteY2" fmla="*/ 0 h 118987"/>
                <a:gd name="connsiteX3" fmla="*/ 0 w 15616"/>
                <a:gd name="connsiteY3" fmla="*/ 7808 h 118987"/>
                <a:gd name="connsiteX4" fmla="*/ 0 w 15616"/>
                <a:gd name="connsiteY4" fmla="*/ 118987 h 118987"/>
                <a:gd name="connsiteX5" fmla="*/ 15617 w 15616"/>
                <a:gd name="connsiteY5" fmla="*/ 118987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6" h="118987">
                  <a:moveTo>
                    <a:pt x="15617" y="118987"/>
                  </a:moveTo>
                  <a:lnTo>
                    <a:pt x="15617" y="7808"/>
                  </a:lnTo>
                  <a:cubicBezTo>
                    <a:pt x="15617" y="3460"/>
                    <a:pt x="12156" y="0"/>
                    <a:pt x="7808" y="0"/>
                  </a:cubicBezTo>
                  <a:cubicBezTo>
                    <a:pt x="3460" y="0"/>
                    <a:pt x="0" y="3460"/>
                    <a:pt x="0" y="7808"/>
                  </a:cubicBezTo>
                  <a:lnTo>
                    <a:pt x="0" y="118987"/>
                  </a:lnTo>
                  <a:lnTo>
                    <a:pt x="15617" y="118987"/>
                  </a:lnTo>
                  <a:close/>
                </a:path>
              </a:pathLst>
            </a:custGeom>
            <a:solidFill>
              <a:srgbClr val="000532"/>
            </a:solidFill>
            <a:ln w="8731" cap="flat">
              <a:noFill/>
              <a:prstDash val="solid"/>
              <a:miter/>
            </a:ln>
          </p:spPr>
          <p:txBody>
            <a:bodyPr rtlCol="0" anchor="ctr"/>
            <a:lstStyle/>
            <a:p>
              <a:endParaRPr lang="pt-BR"/>
            </a:p>
          </p:txBody>
        </p:sp>
        <p:sp>
          <p:nvSpPr>
            <p:cNvPr id="28" name="Forma Livre: Forma 32">
              <a:extLst>
                <a:ext uri="{FF2B5EF4-FFF2-40B4-BE49-F238E27FC236}">
                  <a16:creationId xmlns:a16="http://schemas.microsoft.com/office/drawing/2014/main" id="{3B408252-8798-F787-3CE9-3622E8C798A8}"/>
                </a:ext>
              </a:extLst>
            </p:cNvPr>
            <p:cNvSpPr/>
            <p:nvPr/>
          </p:nvSpPr>
          <p:spPr>
            <a:xfrm>
              <a:off x="4946885" y="5690997"/>
              <a:ext cx="107274" cy="118987"/>
            </a:xfrm>
            <a:custGeom>
              <a:avLst/>
              <a:gdLst>
                <a:gd name="connsiteX0" fmla="*/ 91658 w 107274"/>
                <a:gd name="connsiteY0" fmla="*/ 109848 h 118987"/>
                <a:gd name="connsiteX1" fmla="*/ 91658 w 107274"/>
                <a:gd name="connsiteY1" fmla="*/ 118987 h 118987"/>
                <a:gd name="connsiteX2" fmla="*/ 107275 w 107274"/>
                <a:gd name="connsiteY2" fmla="*/ 118987 h 118987"/>
                <a:gd name="connsiteX3" fmla="*/ 107275 w 107274"/>
                <a:gd name="connsiteY3" fmla="*/ 109848 h 118987"/>
                <a:gd name="connsiteX4" fmla="*/ 97692 w 107274"/>
                <a:gd name="connsiteY4" fmla="*/ 86690 h 118987"/>
                <a:gd name="connsiteX5" fmla="*/ 46406 w 107274"/>
                <a:gd name="connsiteY5" fmla="*/ 35403 h 118987"/>
                <a:gd name="connsiteX6" fmla="*/ 41792 w 107274"/>
                <a:gd name="connsiteY6" fmla="*/ 7187 h 118987"/>
                <a:gd name="connsiteX7" fmla="*/ 7187 w 107274"/>
                <a:gd name="connsiteY7" fmla="*/ 7187 h 118987"/>
                <a:gd name="connsiteX8" fmla="*/ 7187 w 107274"/>
                <a:gd name="connsiteY8" fmla="*/ 41792 h 118987"/>
                <a:gd name="connsiteX9" fmla="*/ 24490 w 107274"/>
                <a:gd name="connsiteY9" fmla="*/ 48979 h 118987"/>
                <a:gd name="connsiteX10" fmla="*/ 35403 w 107274"/>
                <a:gd name="connsiteY10" fmla="*/ 46406 h 118987"/>
                <a:gd name="connsiteX11" fmla="*/ 86690 w 107274"/>
                <a:gd name="connsiteY11" fmla="*/ 97692 h 118987"/>
                <a:gd name="connsiteX12" fmla="*/ 91747 w 107274"/>
                <a:gd name="connsiteY12" fmla="*/ 109848 h 118987"/>
                <a:gd name="connsiteX13" fmla="*/ 30701 w 107274"/>
                <a:gd name="connsiteY13" fmla="*/ 30701 h 118987"/>
                <a:gd name="connsiteX14" fmla="*/ 18190 w 107274"/>
                <a:gd name="connsiteY14" fmla="*/ 30701 h 118987"/>
                <a:gd name="connsiteX15" fmla="*/ 18190 w 107274"/>
                <a:gd name="connsiteY15" fmla="*/ 18190 h 118987"/>
                <a:gd name="connsiteX16" fmla="*/ 24490 w 107274"/>
                <a:gd name="connsiteY16" fmla="*/ 15617 h 118987"/>
                <a:gd name="connsiteX17" fmla="*/ 30789 w 107274"/>
                <a:gd name="connsiteY17" fmla="*/ 18190 h 118987"/>
                <a:gd name="connsiteX18" fmla="*/ 30789 w 107274"/>
                <a:gd name="connsiteY18" fmla="*/ 30701 h 11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274" h="118987">
                  <a:moveTo>
                    <a:pt x="91658" y="109848"/>
                  </a:moveTo>
                  <a:lnTo>
                    <a:pt x="91658" y="118987"/>
                  </a:lnTo>
                  <a:lnTo>
                    <a:pt x="107275" y="118987"/>
                  </a:lnTo>
                  <a:lnTo>
                    <a:pt x="107275" y="109848"/>
                  </a:lnTo>
                  <a:cubicBezTo>
                    <a:pt x="107275" y="101064"/>
                    <a:pt x="103903" y="92812"/>
                    <a:pt x="97692" y="86690"/>
                  </a:cubicBezTo>
                  <a:lnTo>
                    <a:pt x="46406" y="35403"/>
                  </a:lnTo>
                  <a:cubicBezTo>
                    <a:pt x="50931" y="26264"/>
                    <a:pt x="49423" y="14818"/>
                    <a:pt x="41792" y="7187"/>
                  </a:cubicBezTo>
                  <a:cubicBezTo>
                    <a:pt x="32209" y="-2396"/>
                    <a:pt x="16770" y="-2396"/>
                    <a:pt x="7187" y="7187"/>
                  </a:cubicBezTo>
                  <a:cubicBezTo>
                    <a:pt x="-2396" y="16770"/>
                    <a:pt x="-2396" y="32209"/>
                    <a:pt x="7187" y="41792"/>
                  </a:cubicBezTo>
                  <a:cubicBezTo>
                    <a:pt x="11979" y="46583"/>
                    <a:pt x="18190" y="48979"/>
                    <a:pt x="24490" y="48979"/>
                  </a:cubicBezTo>
                  <a:cubicBezTo>
                    <a:pt x="28216" y="48979"/>
                    <a:pt x="31943" y="48092"/>
                    <a:pt x="35403" y="46406"/>
                  </a:cubicBezTo>
                  <a:lnTo>
                    <a:pt x="86690" y="97692"/>
                  </a:lnTo>
                  <a:cubicBezTo>
                    <a:pt x="89973" y="100975"/>
                    <a:pt x="91747" y="105234"/>
                    <a:pt x="91747" y="109848"/>
                  </a:cubicBezTo>
                  <a:close/>
                  <a:moveTo>
                    <a:pt x="30701" y="30701"/>
                  </a:moveTo>
                  <a:cubicBezTo>
                    <a:pt x="27240" y="34161"/>
                    <a:pt x="21650" y="34161"/>
                    <a:pt x="18190" y="30701"/>
                  </a:cubicBezTo>
                  <a:cubicBezTo>
                    <a:pt x="14729" y="27240"/>
                    <a:pt x="14729" y="21650"/>
                    <a:pt x="18190" y="18190"/>
                  </a:cubicBezTo>
                  <a:cubicBezTo>
                    <a:pt x="19876" y="16504"/>
                    <a:pt x="22183" y="15617"/>
                    <a:pt x="24490" y="15617"/>
                  </a:cubicBezTo>
                  <a:cubicBezTo>
                    <a:pt x="26797" y="15617"/>
                    <a:pt x="29015" y="16504"/>
                    <a:pt x="30789" y="18190"/>
                  </a:cubicBezTo>
                  <a:cubicBezTo>
                    <a:pt x="34250" y="21650"/>
                    <a:pt x="34250" y="27240"/>
                    <a:pt x="30789" y="30701"/>
                  </a:cubicBezTo>
                  <a:close/>
                </a:path>
              </a:pathLst>
            </a:custGeom>
            <a:solidFill>
              <a:srgbClr val="000532"/>
            </a:solidFill>
            <a:ln w="8731" cap="flat">
              <a:noFill/>
              <a:prstDash val="solid"/>
              <a:miter/>
            </a:ln>
          </p:spPr>
          <p:txBody>
            <a:bodyPr rtlCol="0" anchor="ctr"/>
            <a:lstStyle/>
            <a:p>
              <a:endParaRPr lang="pt-BR"/>
            </a:p>
          </p:txBody>
        </p:sp>
        <p:sp>
          <p:nvSpPr>
            <p:cNvPr id="29" name="Forma Livre: Forma 33">
              <a:extLst>
                <a:ext uri="{FF2B5EF4-FFF2-40B4-BE49-F238E27FC236}">
                  <a16:creationId xmlns:a16="http://schemas.microsoft.com/office/drawing/2014/main" id="{409B0C81-D7D2-4918-D139-9F1E5947962F}"/>
                </a:ext>
              </a:extLst>
            </p:cNvPr>
            <p:cNvSpPr/>
            <p:nvPr/>
          </p:nvSpPr>
          <p:spPr>
            <a:xfrm>
              <a:off x="4846798" y="6016017"/>
              <a:ext cx="120850" cy="107363"/>
            </a:xfrm>
            <a:custGeom>
              <a:avLst/>
              <a:gdLst>
                <a:gd name="connsiteX0" fmla="*/ 120851 w 120850"/>
                <a:gd name="connsiteY0" fmla="*/ 89 h 107363"/>
                <a:gd name="connsiteX1" fmla="*/ 109848 w 120850"/>
                <a:gd name="connsiteY1" fmla="*/ 89 h 107363"/>
                <a:gd name="connsiteX2" fmla="*/ 86690 w 120850"/>
                <a:gd name="connsiteY2" fmla="*/ 9672 h 107363"/>
                <a:gd name="connsiteX3" fmla="*/ 35403 w 120850"/>
                <a:gd name="connsiteY3" fmla="*/ 60958 h 107363"/>
                <a:gd name="connsiteX4" fmla="*/ 24490 w 120850"/>
                <a:gd name="connsiteY4" fmla="*/ 58385 h 107363"/>
                <a:gd name="connsiteX5" fmla="*/ 7187 w 120850"/>
                <a:gd name="connsiteY5" fmla="*/ 65572 h 107363"/>
                <a:gd name="connsiteX6" fmla="*/ 0 w 120850"/>
                <a:gd name="connsiteY6" fmla="*/ 82874 h 107363"/>
                <a:gd name="connsiteX7" fmla="*/ 7187 w 120850"/>
                <a:gd name="connsiteY7" fmla="*/ 100177 h 107363"/>
                <a:gd name="connsiteX8" fmla="*/ 24490 w 120850"/>
                <a:gd name="connsiteY8" fmla="*/ 107364 h 107363"/>
                <a:gd name="connsiteX9" fmla="*/ 41792 w 120850"/>
                <a:gd name="connsiteY9" fmla="*/ 100177 h 107363"/>
                <a:gd name="connsiteX10" fmla="*/ 48979 w 120850"/>
                <a:gd name="connsiteY10" fmla="*/ 82874 h 107363"/>
                <a:gd name="connsiteX11" fmla="*/ 46406 w 120850"/>
                <a:gd name="connsiteY11" fmla="*/ 71960 h 107363"/>
                <a:gd name="connsiteX12" fmla="*/ 97692 w 120850"/>
                <a:gd name="connsiteY12" fmla="*/ 20674 h 107363"/>
                <a:gd name="connsiteX13" fmla="*/ 109848 w 120850"/>
                <a:gd name="connsiteY13" fmla="*/ 15617 h 107363"/>
                <a:gd name="connsiteX14" fmla="*/ 120851 w 120850"/>
                <a:gd name="connsiteY14" fmla="*/ 15617 h 107363"/>
                <a:gd name="connsiteX15" fmla="*/ 120851 w 120850"/>
                <a:gd name="connsiteY15" fmla="*/ 0 h 107363"/>
                <a:gd name="connsiteX16" fmla="*/ 30701 w 120850"/>
                <a:gd name="connsiteY16" fmla="*/ 89174 h 107363"/>
                <a:gd name="connsiteX17" fmla="*/ 24401 w 120850"/>
                <a:gd name="connsiteY17" fmla="*/ 91747 h 107363"/>
                <a:gd name="connsiteX18" fmla="*/ 18101 w 120850"/>
                <a:gd name="connsiteY18" fmla="*/ 89174 h 107363"/>
                <a:gd name="connsiteX19" fmla="*/ 15528 w 120850"/>
                <a:gd name="connsiteY19" fmla="*/ 82874 h 107363"/>
                <a:gd name="connsiteX20" fmla="*/ 18101 w 120850"/>
                <a:gd name="connsiteY20" fmla="*/ 76574 h 107363"/>
                <a:gd name="connsiteX21" fmla="*/ 24401 w 120850"/>
                <a:gd name="connsiteY21" fmla="*/ 74001 h 107363"/>
                <a:gd name="connsiteX22" fmla="*/ 30701 w 120850"/>
                <a:gd name="connsiteY22" fmla="*/ 76574 h 107363"/>
                <a:gd name="connsiteX23" fmla="*/ 33274 w 120850"/>
                <a:gd name="connsiteY23" fmla="*/ 82874 h 107363"/>
                <a:gd name="connsiteX24" fmla="*/ 30701 w 120850"/>
                <a:gd name="connsiteY24" fmla="*/ 89174 h 1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0850" h="107363">
                  <a:moveTo>
                    <a:pt x="120851" y="89"/>
                  </a:moveTo>
                  <a:lnTo>
                    <a:pt x="109848" y="89"/>
                  </a:lnTo>
                  <a:cubicBezTo>
                    <a:pt x="101064" y="89"/>
                    <a:pt x="92812" y="3460"/>
                    <a:pt x="86690" y="9672"/>
                  </a:cubicBezTo>
                  <a:lnTo>
                    <a:pt x="35403" y="60958"/>
                  </a:lnTo>
                  <a:cubicBezTo>
                    <a:pt x="32032" y="59272"/>
                    <a:pt x="28394" y="58385"/>
                    <a:pt x="24490" y="58385"/>
                  </a:cubicBezTo>
                  <a:cubicBezTo>
                    <a:pt x="17924" y="58385"/>
                    <a:pt x="11801" y="60958"/>
                    <a:pt x="7187" y="65572"/>
                  </a:cubicBezTo>
                  <a:cubicBezTo>
                    <a:pt x="2573" y="70186"/>
                    <a:pt x="0" y="76308"/>
                    <a:pt x="0" y="82874"/>
                  </a:cubicBezTo>
                  <a:cubicBezTo>
                    <a:pt x="0" y="89440"/>
                    <a:pt x="2573" y="95563"/>
                    <a:pt x="7187" y="100177"/>
                  </a:cubicBezTo>
                  <a:cubicBezTo>
                    <a:pt x="11801" y="104791"/>
                    <a:pt x="17924" y="107364"/>
                    <a:pt x="24490" y="107364"/>
                  </a:cubicBezTo>
                  <a:cubicBezTo>
                    <a:pt x="31056" y="107364"/>
                    <a:pt x="37178" y="104791"/>
                    <a:pt x="41792" y="100177"/>
                  </a:cubicBezTo>
                  <a:cubicBezTo>
                    <a:pt x="46406" y="95563"/>
                    <a:pt x="48979" y="89440"/>
                    <a:pt x="48979" y="82874"/>
                  </a:cubicBezTo>
                  <a:cubicBezTo>
                    <a:pt x="48979" y="79059"/>
                    <a:pt x="48092" y="75332"/>
                    <a:pt x="46406" y="71960"/>
                  </a:cubicBezTo>
                  <a:lnTo>
                    <a:pt x="97692" y="20674"/>
                  </a:lnTo>
                  <a:cubicBezTo>
                    <a:pt x="100975" y="17391"/>
                    <a:pt x="105234" y="15617"/>
                    <a:pt x="109848" y="15617"/>
                  </a:cubicBezTo>
                  <a:lnTo>
                    <a:pt x="120851" y="15617"/>
                  </a:lnTo>
                  <a:lnTo>
                    <a:pt x="120851" y="0"/>
                  </a:lnTo>
                  <a:close/>
                  <a:moveTo>
                    <a:pt x="30701" y="89174"/>
                  </a:moveTo>
                  <a:cubicBezTo>
                    <a:pt x="29015" y="90860"/>
                    <a:pt x="26797" y="91747"/>
                    <a:pt x="24401" y="91747"/>
                  </a:cubicBezTo>
                  <a:cubicBezTo>
                    <a:pt x="22005" y="91747"/>
                    <a:pt x="19787" y="90860"/>
                    <a:pt x="18101" y="89174"/>
                  </a:cubicBezTo>
                  <a:cubicBezTo>
                    <a:pt x="16415" y="87488"/>
                    <a:pt x="15528" y="85270"/>
                    <a:pt x="15528" y="82874"/>
                  </a:cubicBezTo>
                  <a:cubicBezTo>
                    <a:pt x="15528" y="80478"/>
                    <a:pt x="16415" y="78260"/>
                    <a:pt x="18101" y="76574"/>
                  </a:cubicBezTo>
                  <a:cubicBezTo>
                    <a:pt x="19787" y="74888"/>
                    <a:pt x="22005" y="74001"/>
                    <a:pt x="24401" y="74001"/>
                  </a:cubicBezTo>
                  <a:cubicBezTo>
                    <a:pt x="26797" y="74001"/>
                    <a:pt x="29015" y="74888"/>
                    <a:pt x="30701" y="76574"/>
                  </a:cubicBezTo>
                  <a:cubicBezTo>
                    <a:pt x="32387" y="78260"/>
                    <a:pt x="33274" y="80478"/>
                    <a:pt x="33274" y="82874"/>
                  </a:cubicBezTo>
                  <a:cubicBezTo>
                    <a:pt x="33274" y="85270"/>
                    <a:pt x="32387" y="87488"/>
                    <a:pt x="30701" y="89174"/>
                  </a:cubicBezTo>
                  <a:close/>
                </a:path>
              </a:pathLst>
            </a:custGeom>
            <a:solidFill>
              <a:srgbClr val="000532"/>
            </a:solidFill>
            <a:ln w="8731" cap="flat">
              <a:noFill/>
              <a:prstDash val="solid"/>
              <a:miter/>
            </a:ln>
          </p:spPr>
          <p:txBody>
            <a:bodyPr rtlCol="0" anchor="ctr"/>
            <a:lstStyle/>
            <a:p>
              <a:endParaRPr lang="pt-BR"/>
            </a:p>
          </p:txBody>
        </p:sp>
        <p:sp>
          <p:nvSpPr>
            <p:cNvPr id="30" name="Forma Livre: Forma 34">
              <a:extLst>
                <a:ext uri="{FF2B5EF4-FFF2-40B4-BE49-F238E27FC236}">
                  <a16:creationId xmlns:a16="http://schemas.microsoft.com/office/drawing/2014/main" id="{969ADA59-822B-B335-2D00-265237B12914}"/>
                </a:ext>
              </a:extLst>
            </p:cNvPr>
            <p:cNvSpPr/>
            <p:nvPr/>
          </p:nvSpPr>
          <p:spPr>
            <a:xfrm>
              <a:off x="4863479" y="5865974"/>
              <a:ext cx="104169" cy="48979"/>
            </a:xfrm>
            <a:custGeom>
              <a:avLst/>
              <a:gdLst>
                <a:gd name="connsiteX0" fmla="*/ 24490 w 104169"/>
                <a:gd name="connsiteY0" fmla="*/ 48979 h 48979"/>
                <a:gd name="connsiteX1" fmla="*/ 47648 w 104169"/>
                <a:gd name="connsiteY1" fmla="*/ 32298 h 48979"/>
                <a:gd name="connsiteX2" fmla="*/ 104169 w 104169"/>
                <a:gd name="connsiteY2" fmla="*/ 32298 h 48979"/>
                <a:gd name="connsiteX3" fmla="*/ 104169 w 104169"/>
                <a:gd name="connsiteY3" fmla="*/ 16681 h 48979"/>
                <a:gd name="connsiteX4" fmla="*/ 47648 w 104169"/>
                <a:gd name="connsiteY4" fmla="*/ 16681 h 48979"/>
                <a:gd name="connsiteX5" fmla="*/ 24490 w 104169"/>
                <a:gd name="connsiteY5" fmla="*/ 0 h 48979"/>
                <a:gd name="connsiteX6" fmla="*/ 0 w 104169"/>
                <a:gd name="connsiteY6" fmla="*/ 24490 h 48979"/>
                <a:gd name="connsiteX7" fmla="*/ 24490 w 104169"/>
                <a:gd name="connsiteY7" fmla="*/ 48979 h 48979"/>
                <a:gd name="connsiteX8" fmla="*/ 24490 w 104169"/>
                <a:gd name="connsiteY8" fmla="*/ 15617 h 48979"/>
                <a:gd name="connsiteX9" fmla="*/ 33363 w 104169"/>
                <a:gd name="connsiteY9" fmla="*/ 24490 h 48979"/>
                <a:gd name="connsiteX10" fmla="*/ 24490 w 104169"/>
                <a:gd name="connsiteY10" fmla="*/ 33363 h 48979"/>
                <a:gd name="connsiteX11" fmla="*/ 15617 w 104169"/>
                <a:gd name="connsiteY11" fmla="*/ 24490 h 48979"/>
                <a:gd name="connsiteX12" fmla="*/ 24490 w 104169"/>
                <a:gd name="connsiteY12" fmla="*/ 15617 h 4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169" h="48979">
                  <a:moveTo>
                    <a:pt x="24490" y="48979"/>
                  </a:moveTo>
                  <a:cubicBezTo>
                    <a:pt x="35226" y="48979"/>
                    <a:pt x="44454" y="41969"/>
                    <a:pt x="47648" y="32298"/>
                  </a:cubicBezTo>
                  <a:lnTo>
                    <a:pt x="104169" y="32298"/>
                  </a:lnTo>
                  <a:lnTo>
                    <a:pt x="104169" y="16681"/>
                  </a:lnTo>
                  <a:lnTo>
                    <a:pt x="47648" y="16681"/>
                  </a:lnTo>
                  <a:cubicBezTo>
                    <a:pt x="44365" y="7010"/>
                    <a:pt x="35226" y="0"/>
                    <a:pt x="24490" y="0"/>
                  </a:cubicBezTo>
                  <a:cubicBezTo>
                    <a:pt x="11003" y="0"/>
                    <a:pt x="0" y="11003"/>
                    <a:pt x="0" y="24490"/>
                  </a:cubicBezTo>
                  <a:cubicBezTo>
                    <a:pt x="0" y="37977"/>
                    <a:pt x="11003" y="48979"/>
                    <a:pt x="24490" y="48979"/>
                  </a:cubicBezTo>
                  <a:close/>
                  <a:moveTo>
                    <a:pt x="24490" y="15617"/>
                  </a:moveTo>
                  <a:cubicBezTo>
                    <a:pt x="29370" y="15617"/>
                    <a:pt x="33363" y="19609"/>
                    <a:pt x="33363" y="24490"/>
                  </a:cubicBezTo>
                  <a:cubicBezTo>
                    <a:pt x="33363" y="29370"/>
                    <a:pt x="29370" y="33363"/>
                    <a:pt x="24490" y="33363"/>
                  </a:cubicBezTo>
                  <a:cubicBezTo>
                    <a:pt x="19609" y="33363"/>
                    <a:pt x="15617" y="29370"/>
                    <a:pt x="15617" y="24490"/>
                  </a:cubicBezTo>
                  <a:cubicBezTo>
                    <a:pt x="15617" y="19609"/>
                    <a:pt x="19609" y="15617"/>
                    <a:pt x="24490" y="15617"/>
                  </a:cubicBezTo>
                  <a:close/>
                </a:path>
              </a:pathLst>
            </a:custGeom>
            <a:solidFill>
              <a:srgbClr val="000532"/>
            </a:solidFill>
            <a:ln w="8731" cap="flat">
              <a:noFill/>
              <a:prstDash val="solid"/>
              <a:miter/>
            </a:ln>
          </p:spPr>
          <p:txBody>
            <a:bodyPr rtlCol="0" anchor="ctr"/>
            <a:lstStyle/>
            <a:p>
              <a:endParaRPr lang="pt-BR"/>
            </a:p>
          </p:txBody>
        </p:sp>
        <p:sp>
          <p:nvSpPr>
            <p:cNvPr id="31" name="Forma Livre: Forma 35">
              <a:extLst>
                <a:ext uri="{FF2B5EF4-FFF2-40B4-BE49-F238E27FC236}">
                  <a16:creationId xmlns:a16="http://schemas.microsoft.com/office/drawing/2014/main" id="{9E6C6EE0-9FB5-0CEB-BCFC-EFBF6782E825}"/>
                </a:ext>
              </a:extLst>
            </p:cNvPr>
            <p:cNvSpPr/>
            <p:nvPr/>
          </p:nvSpPr>
          <p:spPr>
            <a:xfrm>
              <a:off x="4846798" y="5949380"/>
              <a:ext cx="120850" cy="15616"/>
            </a:xfrm>
            <a:custGeom>
              <a:avLst/>
              <a:gdLst>
                <a:gd name="connsiteX0" fmla="*/ 7808 w 120850"/>
                <a:gd name="connsiteY0" fmla="*/ 15617 h 15616"/>
                <a:gd name="connsiteX1" fmla="*/ 120851 w 120850"/>
                <a:gd name="connsiteY1" fmla="*/ 15617 h 15616"/>
                <a:gd name="connsiteX2" fmla="*/ 120851 w 120850"/>
                <a:gd name="connsiteY2" fmla="*/ 0 h 15616"/>
                <a:gd name="connsiteX3" fmla="*/ 7808 w 120850"/>
                <a:gd name="connsiteY3" fmla="*/ 0 h 15616"/>
                <a:gd name="connsiteX4" fmla="*/ 0 w 120850"/>
                <a:gd name="connsiteY4" fmla="*/ 7808 h 15616"/>
                <a:gd name="connsiteX5" fmla="*/ 7808 w 120850"/>
                <a:gd name="connsiteY5" fmla="*/ 15617 h 1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850" h="15616">
                  <a:moveTo>
                    <a:pt x="7808" y="15617"/>
                  </a:moveTo>
                  <a:lnTo>
                    <a:pt x="120851" y="15617"/>
                  </a:lnTo>
                  <a:lnTo>
                    <a:pt x="120851" y="0"/>
                  </a:lnTo>
                  <a:lnTo>
                    <a:pt x="7808" y="0"/>
                  </a:lnTo>
                  <a:cubicBezTo>
                    <a:pt x="3460" y="0"/>
                    <a:pt x="0" y="3460"/>
                    <a:pt x="0" y="7808"/>
                  </a:cubicBezTo>
                  <a:cubicBezTo>
                    <a:pt x="0" y="12156"/>
                    <a:pt x="3460" y="15617"/>
                    <a:pt x="7808" y="15617"/>
                  </a:cubicBezTo>
                  <a:close/>
                </a:path>
              </a:pathLst>
            </a:custGeom>
            <a:solidFill>
              <a:srgbClr val="000532"/>
            </a:solidFill>
            <a:ln w="8731" cap="flat">
              <a:noFill/>
              <a:prstDash val="solid"/>
              <a:miter/>
            </a:ln>
          </p:spPr>
          <p:txBody>
            <a:bodyPr rtlCol="0" anchor="ctr"/>
            <a:lstStyle/>
            <a:p>
              <a:endParaRPr lang="pt-BR"/>
            </a:p>
          </p:txBody>
        </p:sp>
      </p:grpSp>
      <p:grpSp>
        <p:nvGrpSpPr>
          <p:cNvPr id="105" name="Agrupar 104">
            <a:extLst>
              <a:ext uri="{FF2B5EF4-FFF2-40B4-BE49-F238E27FC236}">
                <a16:creationId xmlns:a16="http://schemas.microsoft.com/office/drawing/2014/main" id="{121538A1-1109-8BF6-6C0B-95B8A7E57868}"/>
              </a:ext>
            </a:extLst>
          </p:cNvPr>
          <p:cNvGrpSpPr/>
          <p:nvPr/>
        </p:nvGrpSpPr>
        <p:grpSpPr>
          <a:xfrm>
            <a:off x="1181215" y="3876628"/>
            <a:ext cx="6020789" cy="423450"/>
            <a:chOff x="1718938" y="3854285"/>
            <a:chExt cx="6020789" cy="423450"/>
          </a:xfrm>
        </p:grpSpPr>
        <p:sp>
          <p:nvSpPr>
            <p:cNvPr id="9" name="Text Placeholder 2">
              <a:extLst>
                <a:ext uri="{FF2B5EF4-FFF2-40B4-BE49-F238E27FC236}">
                  <a16:creationId xmlns:a16="http://schemas.microsoft.com/office/drawing/2014/main" id="{9F58B47E-88B2-71C7-5228-D01BD2D5E24E}"/>
                </a:ext>
              </a:extLst>
            </p:cNvPr>
            <p:cNvSpPr txBox="1">
              <a:spLocks/>
            </p:cNvSpPr>
            <p:nvPr/>
          </p:nvSpPr>
          <p:spPr>
            <a:xfrm>
              <a:off x="1865712" y="3854285"/>
              <a:ext cx="5874015" cy="4234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b="1" dirty="0"/>
                <a:t>LCA according scenarios definition.</a:t>
              </a:r>
              <a:endParaRPr lang="pt-BR" b="1" dirty="0"/>
            </a:p>
          </p:txBody>
        </p:sp>
        <p:sp>
          <p:nvSpPr>
            <p:cNvPr id="87" name="Elipse 54">
              <a:extLst>
                <a:ext uri="{FF2B5EF4-FFF2-40B4-BE49-F238E27FC236}">
                  <a16:creationId xmlns:a16="http://schemas.microsoft.com/office/drawing/2014/main" id="{17390A49-ECB0-6E5F-52F9-0908DFD336F8}"/>
                </a:ext>
              </a:extLst>
            </p:cNvPr>
            <p:cNvSpPr/>
            <p:nvPr/>
          </p:nvSpPr>
          <p:spPr>
            <a:xfrm>
              <a:off x="1718938" y="4132797"/>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p>
          </p:txBody>
        </p:sp>
      </p:grpSp>
      <p:grpSp>
        <p:nvGrpSpPr>
          <p:cNvPr id="104" name="Agrupar 103">
            <a:extLst>
              <a:ext uri="{FF2B5EF4-FFF2-40B4-BE49-F238E27FC236}">
                <a16:creationId xmlns:a16="http://schemas.microsoft.com/office/drawing/2014/main" id="{811115B4-9EF9-FF8D-3580-3862CBAB6E0B}"/>
              </a:ext>
            </a:extLst>
          </p:cNvPr>
          <p:cNvGrpSpPr/>
          <p:nvPr/>
        </p:nvGrpSpPr>
        <p:grpSpPr>
          <a:xfrm>
            <a:off x="1181215" y="3262569"/>
            <a:ext cx="6017631" cy="423449"/>
            <a:chOff x="1718938" y="3552232"/>
            <a:chExt cx="6017631" cy="423449"/>
          </a:xfrm>
        </p:grpSpPr>
        <p:sp>
          <p:nvSpPr>
            <p:cNvPr id="3" name="Text Placeholder 2">
              <a:extLst>
                <a:ext uri="{FF2B5EF4-FFF2-40B4-BE49-F238E27FC236}">
                  <a16:creationId xmlns:a16="http://schemas.microsoft.com/office/drawing/2014/main" id="{EFD2E11D-E914-5F49-8E66-16DF2D1A491A}"/>
                </a:ext>
              </a:extLst>
            </p:cNvPr>
            <p:cNvSpPr txBox="1">
              <a:spLocks/>
            </p:cNvSpPr>
            <p:nvPr/>
          </p:nvSpPr>
          <p:spPr>
            <a:xfrm>
              <a:off x="1862554" y="3552232"/>
              <a:ext cx="5874015" cy="4234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b="1" dirty="0"/>
                <a:t>Test management for product qualification;</a:t>
              </a:r>
              <a:endParaRPr lang="pt-BR" b="1" dirty="0"/>
            </a:p>
          </p:txBody>
        </p:sp>
        <p:sp>
          <p:nvSpPr>
            <p:cNvPr id="88" name="Elipse 54">
              <a:extLst>
                <a:ext uri="{FF2B5EF4-FFF2-40B4-BE49-F238E27FC236}">
                  <a16:creationId xmlns:a16="http://schemas.microsoft.com/office/drawing/2014/main" id="{B7C8CB19-4939-AC1E-B101-F12A2A5AB28F}"/>
                </a:ext>
              </a:extLst>
            </p:cNvPr>
            <p:cNvSpPr/>
            <p:nvPr/>
          </p:nvSpPr>
          <p:spPr>
            <a:xfrm>
              <a:off x="1718938" y="3756241"/>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p>
          </p:txBody>
        </p:sp>
      </p:grpSp>
      <p:grpSp>
        <p:nvGrpSpPr>
          <p:cNvPr id="103" name="Agrupar 102">
            <a:extLst>
              <a:ext uri="{FF2B5EF4-FFF2-40B4-BE49-F238E27FC236}">
                <a16:creationId xmlns:a16="http://schemas.microsoft.com/office/drawing/2014/main" id="{32E54A35-786C-850F-F3EF-5DD116427A32}"/>
              </a:ext>
            </a:extLst>
          </p:cNvPr>
          <p:cNvGrpSpPr/>
          <p:nvPr/>
        </p:nvGrpSpPr>
        <p:grpSpPr>
          <a:xfrm>
            <a:off x="1181215" y="2611029"/>
            <a:ext cx="4083804" cy="506292"/>
            <a:chOff x="1718938" y="3195167"/>
            <a:chExt cx="3995900" cy="506292"/>
          </a:xfrm>
        </p:grpSpPr>
        <p:sp>
          <p:nvSpPr>
            <p:cNvPr id="6" name="CaixaDeTexto 13">
              <a:extLst>
                <a:ext uri="{FF2B5EF4-FFF2-40B4-BE49-F238E27FC236}">
                  <a16:creationId xmlns:a16="http://schemas.microsoft.com/office/drawing/2014/main" id="{0F74DE45-D894-4A64-2D95-CFF4706261DA}"/>
                </a:ext>
              </a:extLst>
            </p:cNvPr>
            <p:cNvSpPr txBox="1"/>
            <p:nvPr/>
          </p:nvSpPr>
          <p:spPr>
            <a:xfrm>
              <a:off x="1862553" y="3195167"/>
              <a:ext cx="3852285" cy="506292"/>
            </a:xfrm>
            <a:prstGeom prst="rect">
              <a:avLst/>
            </a:prstGeom>
            <a:noFill/>
          </p:spPr>
          <p:txBody>
            <a:bodyPr wrap="square">
              <a:spAutoFit/>
            </a:bodyPr>
            <a:lstStyle/>
            <a:p>
              <a:pPr>
                <a:lnSpc>
                  <a:spcPct val="150000"/>
                </a:lnSpc>
              </a:pPr>
              <a:r>
                <a:rPr lang="pt-BR" sz="2000" b="1" dirty="0"/>
                <a:t>Prototyping of electronic </a:t>
              </a:r>
              <a:r>
                <a:rPr lang="pt-BR" sz="2000" b="1" dirty="0" err="1"/>
                <a:t>products</a:t>
              </a:r>
              <a:r>
                <a:rPr lang="pt-BR" sz="2000" b="1" dirty="0"/>
                <a:t>;</a:t>
              </a:r>
            </a:p>
          </p:txBody>
        </p:sp>
        <p:sp>
          <p:nvSpPr>
            <p:cNvPr id="89" name="Elipse 54">
              <a:extLst>
                <a:ext uri="{FF2B5EF4-FFF2-40B4-BE49-F238E27FC236}">
                  <a16:creationId xmlns:a16="http://schemas.microsoft.com/office/drawing/2014/main" id="{04AA7D87-40A3-8CFA-2037-0C135D77EDD5}"/>
                </a:ext>
              </a:extLst>
            </p:cNvPr>
            <p:cNvSpPr/>
            <p:nvPr/>
          </p:nvSpPr>
          <p:spPr>
            <a:xfrm>
              <a:off x="1718938" y="3402810"/>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p>
          </p:txBody>
        </p:sp>
      </p:grpSp>
      <p:grpSp>
        <p:nvGrpSpPr>
          <p:cNvPr id="102" name="Agrupar 101">
            <a:extLst>
              <a:ext uri="{FF2B5EF4-FFF2-40B4-BE49-F238E27FC236}">
                <a16:creationId xmlns:a16="http://schemas.microsoft.com/office/drawing/2014/main" id="{4C61870A-1745-0979-B1F5-A547F9E8DDA7}"/>
              </a:ext>
            </a:extLst>
          </p:cNvPr>
          <p:cNvGrpSpPr/>
          <p:nvPr/>
        </p:nvGrpSpPr>
        <p:grpSpPr>
          <a:xfrm>
            <a:off x="1181215" y="2014307"/>
            <a:ext cx="5874014" cy="967957"/>
            <a:chOff x="1718938" y="2802070"/>
            <a:chExt cx="5506995" cy="967957"/>
          </a:xfrm>
        </p:grpSpPr>
        <p:sp>
          <p:nvSpPr>
            <p:cNvPr id="5" name="CaixaDeTexto 11">
              <a:extLst>
                <a:ext uri="{FF2B5EF4-FFF2-40B4-BE49-F238E27FC236}">
                  <a16:creationId xmlns:a16="http://schemas.microsoft.com/office/drawing/2014/main" id="{3B5DE730-CFAF-C88A-BD3A-3C8F5FF1B938}"/>
                </a:ext>
              </a:extLst>
            </p:cNvPr>
            <p:cNvSpPr txBox="1"/>
            <p:nvPr/>
          </p:nvSpPr>
          <p:spPr>
            <a:xfrm>
              <a:off x="1862281" y="2802070"/>
              <a:ext cx="5363652" cy="967957"/>
            </a:xfrm>
            <a:prstGeom prst="rect">
              <a:avLst/>
            </a:prstGeom>
            <a:noFill/>
          </p:spPr>
          <p:txBody>
            <a:bodyPr wrap="square">
              <a:spAutoFit/>
            </a:bodyPr>
            <a:lstStyle/>
            <a:p>
              <a:pPr>
                <a:lnSpc>
                  <a:spcPct val="150000"/>
                </a:lnSpc>
              </a:pPr>
              <a:r>
                <a:rPr lang="en-US" sz="2000" b="1" dirty="0"/>
                <a:t>Design for Circular Economy of electronic products;</a:t>
              </a:r>
              <a:endParaRPr lang="pt-BR" sz="2000" b="1" dirty="0"/>
            </a:p>
          </p:txBody>
        </p:sp>
        <p:sp>
          <p:nvSpPr>
            <p:cNvPr id="90" name="Elipse 54">
              <a:extLst>
                <a:ext uri="{FF2B5EF4-FFF2-40B4-BE49-F238E27FC236}">
                  <a16:creationId xmlns:a16="http://schemas.microsoft.com/office/drawing/2014/main" id="{3F9BAB28-1D33-A961-2364-10217F0F0DBB}"/>
                </a:ext>
              </a:extLst>
            </p:cNvPr>
            <p:cNvSpPr/>
            <p:nvPr/>
          </p:nvSpPr>
          <p:spPr>
            <a:xfrm>
              <a:off x="1718938" y="304685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p>
          </p:txBody>
        </p:sp>
      </p:grpSp>
      <p:grpSp>
        <p:nvGrpSpPr>
          <p:cNvPr id="101" name="Agrupar 100">
            <a:extLst>
              <a:ext uri="{FF2B5EF4-FFF2-40B4-BE49-F238E27FC236}">
                <a16:creationId xmlns:a16="http://schemas.microsoft.com/office/drawing/2014/main" id="{0A08AF8E-F84C-3855-5092-6420224410D5}"/>
              </a:ext>
            </a:extLst>
          </p:cNvPr>
          <p:cNvGrpSpPr/>
          <p:nvPr/>
        </p:nvGrpSpPr>
        <p:grpSpPr>
          <a:xfrm>
            <a:off x="7736296" y="1260346"/>
            <a:ext cx="2482675" cy="1621858"/>
            <a:chOff x="8293223" y="1260346"/>
            <a:chExt cx="2482675" cy="1621858"/>
          </a:xfrm>
          <a:effectLst>
            <a:outerShdw blurRad="50800" dist="38100" dir="2700000" algn="tl" rotWithShape="0">
              <a:prstClr val="black">
                <a:alpha val="15000"/>
              </a:prstClr>
            </a:outerShdw>
          </a:effectLst>
        </p:grpSpPr>
        <p:pic>
          <p:nvPicPr>
            <p:cNvPr id="11" name="Picture 10">
              <a:extLst>
                <a:ext uri="{FF2B5EF4-FFF2-40B4-BE49-F238E27FC236}">
                  <a16:creationId xmlns:a16="http://schemas.microsoft.com/office/drawing/2014/main" id="{7FB4E339-977E-6FBE-834B-F8C965C1A64F}"/>
                </a:ext>
              </a:extLst>
            </p:cNvPr>
            <p:cNvPicPr>
              <a:picLocks noChangeAspect="1"/>
            </p:cNvPicPr>
            <p:nvPr/>
          </p:nvPicPr>
          <p:blipFill rotWithShape="1">
            <a:blip r:embed="rId2"/>
            <a:srcRect t="5834" r="15793" b="9378"/>
            <a:stretch/>
          </p:blipFill>
          <p:spPr>
            <a:xfrm>
              <a:off x="8293770" y="1260346"/>
              <a:ext cx="2482128" cy="1621858"/>
            </a:xfrm>
            <a:prstGeom prst="roundRect">
              <a:avLst>
                <a:gd name="adj" fmla="val 0"/>
              </a:avLst>
            </a:prstGeom>
            <a:solidFill>
              <a:schemeClr val="accent3"/>
            </a:solidFill>
            <a:ln>
              <a:noFill/>
            </a:ln>
            <a:effectLst/>
          </p:spPr>
        </p:pic>
        <p:cxnSp>
          <p:nvCxnSpPr>
            <p:cNvPr id="91" name="Conector reto 90">
              <a:extLst>
                <a:ext uri="{FF2B5EF4-FFF2-40B4-BE49-F238E27FC236}">
                  <a16:creationId xmlns:a16="http://schemas.microsoft.com/office/drawing/2014/main" id="{3E06E22D-2067-96CD-855F-01D7CD2E6EC5}"/>
                </a:ext>
              </a:extLst>
            </p:cNvPr>
            <p:cNvCxnSpPr>
              <a:cxnSpLocks/>
            </p:cNvCxnSpPr>
            <p:nvPr/>
          </p:nvCxnSpPr>
          <p:spPr>
            <a:xfrm>
              <a:off x="8293223" y="1260346"/>
              <a:ext cx="0" cy="1621858"/>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0" name="Agrupar 99">
            <a:extLst>
              <a:ext uri="{FF2B5EF4-FFF2-40B4-BE49-F238E27FC236}">
                <a16:creationId xmlns:a16="http://schemas.microsoft.com/office/drawing/2014/main" id="{A988F8BD-6B9E-58E6-24C9-36493FC602D2}"/>
              </a:ext>
            </a:extLst>
          </p:cNvPr>
          <p:cNvGrpSpPr/>
          <p:nvPr/>
        </p:nvGrpSpPr>
        <p:grpSpPr>
          <a:xfrm>
            <a:off x="7736296" y="3040965"/>
            <a:ext cx="2482402" cy="1714068"/>
            <a:chOff x="8293223" y="3040965"/>
            <a:chExt cx="2482402" cy="1714068"/>
          </a:xfrm>
          <a:effectLst>
            <a:outerShdw blurRad="50800" dist="38100" dir="2700000" algn="tl" rotWithShape="0">
              <a:prstClr val="black">
                <a:alpha val="15000"/>
              </a:prstClr>
            </a:outerShdw>
          </a:effectLst>
        </p:grpSpPr>
        <p:pic>
          <p:nvPicPr>
            <p:cNvPr id="8" name="Picture 7">
              <a:extLst>
                <a:ext uri="{FF2B5EF4-FFF2-40B4-BE49-F238E27FC236}">
                  <a16:creationId xmlns:a16="http://schemas.microsoft.com/office/drawing/2014/main" id="{928DD4F6-7AA5-527E-0222-710C8D04FF46}"/>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t="3710" r="1332" b="3710"/>
            <a:stretch/>
          </p:blipFill>
          <p:spPr>
            <a:xfrm>
              <a:off x="8293497" y="3074175"/>
              <a:ext cx="2482128" cy="1680858"/>
            </a:xfrm>
            <a:prstGeom prst="roundRect">
              <a:avLst>
                <a:gd name="adj" fmla="val 0"/>
              </a:avLst>
            </a:prstGeom>
            <a:ln>
              <a:noFill/>
            </a:ln>
            <a:effectLst/>
            <a:scene3d>
              <a:camera prst="orthographicFront"/>
              <a:lightRig rig="contrasting" dir="t">
                <a:rot lat="0" lon="0" rev="4200000"/>
              </a:lightRig>
            </a:scene3d>
            <a:sp3d prstMaterial="matte">
              <a:contourClr>
                <a:srgbClr val="969696"/>
              </a:contourClr>
            </a:sp3d>
          </p:spPr>
        </p:pic>
        <p:cxnSp>
          <p:nvCxnSpPr>
            <p:cNvPr id="94" name="Conector reto 93">
              <a:extLst>
                <a:ext uri="{FF2B5EF4-FFF2-40B4-BE49-F238E27FC236}">
                  <a16:creationId xmlns:a16="http://schemas.microsoft.com/office/drawing/2014/main" id="{C9705A24-BF5F-C2F4-B8B3-44060D0823D0}"/>
                </a:ext>
              </a:extLst>
            </p:cNvPr>
            <p:cNvCxnSpPr>
              <a:cxnSpLocks/>
            </p:cNvCxnSpPr>
            <p:nvPr/>
          </p:nvCxnSpPr>
          <p:spPr>
            <a:xfrm>
              <a:off x="8293223" y="3040965"/>
              <a:ext cx="0" cy="1714068"/>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9" name="Agrupar 98">
            <a:extLst>
              <a:ext uri="{FF2B5EF4-FFF2-40B4-BE49-F238E27FC236}">
                <a16:creationId xmlns:a16="http://schemas.microsoft.com/office/drawing/2014/main" id="{B1220E1D-9FF1-7E76-7DBC-B3632F676CCE}"/>
              </a:ext>
            </a:extLst>
          </p:cNvPr>
          <p:cNvGrpSpPr/>
          <p:nvPr/>
        </p:nvGrpSpPr>
        <p:grpSpPr>
          <a:xfrm>
            <a:off x="7736296" y="4947004"/>
            <a:ext cx="2482127" cy="1731611"/>
            <a:chOff x="8293223" y="4947004"/>
            <a:chExt cx="2482127" cy="1731611"/>
          </a:xfrm>
          <a:effectLst>
            <a:outerShdw blurRad="50800" dist="38100" dir="2700000" algn="tl" rotWithShape="0">
              <a:prstClr val="black">
                <a:alpha val="15000"/>
              </a:prstClr>
            </a:outerShdw>
          </a:effectLst>
        </p:grpSpPr>
        <p:pic>
          <p:nvPicPr>
            <p:cNvPr id="17" name="Picture 16">
              <a:extLst>
                <a:ext uri="{FF2B5EF4-FFF2-40B4-BE49-F238E27FC236}">
                  <a16:creationId xmlns:a16="http://schemas.microsoft.com/office/drawing/2014/main" id="{98B14560-5AE4-B38A-99C0-F1261800B0B9}"/>
                </a:ext>
              </a:extLst>
            </p:cNvPr>
            <p:cNvPicPr>
              <a:picLocks noChangeAspect="1"/>
            </p:cNvPicPr>
            <p:nvPr/>
          </p:nvPicPr>
          <p:blipFill>
            <a:blip r:embed="rId5"/>
            <a:stretch>
              <a:fillRect/>
            </a:stretch>
          </p:blipFill>
          <p:spPr>
            <a:xfrm>
              <a:off x="8293223" y="4947004"/>
              <a:ext cx="2482127" cy="1731611"/>
            </a:xfrm>
            <a:prstGeom prst="roundRect">
              <a:avLst>
                <a:gd name="adj" fmla="val 0"/>
              </a:avLst>
            </a:prstGeom>
            <a:solidFill>
              <a:schemeClr val="accent3"/>
            </a:solidFill>
            <a:ln>
              <a:noFill/>
            </a:ln>
            <a:effectLst/>
          </p:spPr>
        </p:pic>
        <p:cxnSp>
          <p:nvCxnSpPr>
            <p:cNvPr id="96" name="Conector reto 95">
              <a:extLst>
                <a:ext uri="{FF2B5EF4-FFF2-40B4-BE49-F238E27FC236}">
                  <a16:creationId xmlns:a16="http://schemas.microsoft.com/office/drawing/2014/main" id="{224487FC-C3E2-FBC0-A49B-4E887D96F8DB}"/>
                </a:ext>
              </a:extLst>
            </p:cNvPr>
            <p:cNvCxnSpPr>
              <a:cxnSpLocks/>
            </p:cNvCxnSpPr>
            <p:nvPr/>
          </p:nvCxnSpPr>
          <p:spPr>
            <a:xfrm>
              <a:off x="8293223" y="4947004"/>
              <a:ext cx="0" cy="1731611"/>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34839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Agrupar 34">
            <a:extLst>
              <a:ext uri="{FF2B5EF4-FFF2-40B4-BE49-F238E27FC236}">
                <a16:creationId xmlns:a16="http://schemas.microsoft.com/office/drawing/2014/main" id="{797BFBDE-1D42-F721-8B04-907DABB8688A}"/>
              </a:ext>
            </a:extLst>
          </p:cNvPr>
          <p:cNvGrpSpPr/>
          <p:nvPr/>
        </p:nvGrpSpPr>
        <p:grpSpPr>
          <a:xfrm>
            <a:off x="116977" y="293165"/>
            <a:ext cx="1575636" cy="1575636"/>
            <a:chOff x="5324602" y="1726040"/>
            <a:chExt cx="808992" cy="808992"/>
          </a:xfrm>
        </p:grpSpPr>
        <p:sp>
          <p:nvSpPr>
            <p:cNvPr id="36" name="Oval 11">
              <a:extLst>
                <a:ext uri="{FF2B5EF4-FFF2-40B4-BE49-F238E27FC236}">
                  <a16:creationId xmlns:a16="http://schemas.microsoft.com/office/drawing/2014/main" id="{C2F6FA81-D706-F4C4-5DED-D766E75E8634}"/>
                </a:ext>
              </a:extLst>
            </p:cNvPr>
            <p:cNvSpPr/>
            <p:nvPr/>
          </p:nvSpPr>
          <p:spPr>
            <a:xfrm>
              <a:off x="5324602" y="1726040"/>
              <a:ext cx="808992" cy="808992"/>
            </a:xfrm>
            <a:prstGeom prst="ellipse">
              <a:avLst/>
            </a:prstGeom>
            <a:solidFill>
              <a:schemeClr val="bg1"/>
            </a:solidFill>
            <a:ln w="25400">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37" name="Forma Livre: Forma 36">
              <a:extLst>
                <a:ext uri="{FF2B5EF4-FFF2-40B4-BE49-F238E27FC236}">
                  <a16:creationId xmlns:a16="http://schemas.microsoft.com/office/drawing/2014/main" id="{326F3DC6-AB20-C158-423E-448A2C38E391}"/>
                </a:ext>
              </a:extLst>
            </p:cNvPr>
            <p:cNvSpPr/>
            <p:nvPr/>
          </p:nvSpPr>
          <p:spPr>
            <a:xfrm>
              <a:off x="5503687" y="1909734"/>
              <a:ext cx="49079" cy="49079"/>
            </a:xfrm>
            <a:custGeom>
              <a:avLst/>
              <a:gdLst>
                <a:gd name="connsiteX0" fmla="*/ 32720 w 49079"/>
                <a:gd name="connsiteY0" fmla="*/ 16360 h 49079"/>
                <a:gd name="connsiteX1" fmla="*/ 32720 w 49079"/>
                <a:gd name="connsiteY1" fmla="*/ 0 h 49079"/>
                <a:gd name="connsiteX2" fmla="*/ 16360 w 49079"/>
                <a:gd name="connsiteY2" fmla="*/ 0 h 49079"/>
                <a:gd name="connsiteX3" fmla="*/ 16360 w 49079"/>
                <a:gd name="connsiteY3" fmla="*/ 16360 h 49079"/>
                <a:gd name="connsiteX4" fmla="*/ 0 w 49079"/>
                <a:gd name="connsiteY4" fmla="*/ 16360 h 49079"/>
                <a:gd name="connsiteX5" fmla="*/ 0 w 49079"/>
                <a:gd name="connsiteY5" fmla="*/ 32720 h 49079"/>
                <a:gd name="connsiteX6" fmla="*/ 16360 w 49079"/>
                <a:gd name="connsiteY6" fmla="*/ 32720 h 49079"/>
                <a:gd name="connsiteX7" fmla="*/ 16360 w 49079"/>
                <a:gd name="connsiteY7" fmla="*/ 49080 h 49079"/>
                <a:gd name="connsiteX8" fmla="*/ 32720 w 49079"/>
                <a:gd name="connsiteY8" fmla="*/ 49080 h 49079"/>
                <a:gd name="connsiteX9" fmla="*/ 32720 w 49079"/>
                <a:gd name="connsiteY9" fmla="*/ 32720 h 49079"/>
                <a:gd name="connsiteX10" fmla="*/ 49080 w 49079"/>
                <a:gd name="connsiteY10" fmla="*/ 32720 h 49079"/>
                <a:gd name="connsiteX11" fmla="*/ 49080 w 49079"/>
                <a:gd name="connsiteY11" fmla="*/ 16360 h 49079"/>
                <a:gd name="connsiteX12" fmla="*/ 32720 w 49079"/>
                <a:gd name="connsiteY12" fmla="*/ 16360 h 4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79" h="49079">
                  <a:moveTo>
                    <a:pt x="32720" y="16360"/>
                  </a:moveTo>
                  <a:lnTo>
                    <a:pt x="32720" y="0"/>
                  </a:lnTo>
                  <a:lnTo>
                    <a:pt x="16360" y="0"/>
                  </a:lnTo>
                  <a:lnTo>
                    <a:pt x="16360" y="16360"/>
                  </a:lnTo>
                  <a:lnTo>
                    <a:pt x="0" y="16360"/>
                  </a:lnTo>
                  <a:lnTo>
                    <a:pt x="0" y="32720"/>
                  </a:lnTo>
                  <a:lnTo>
                    <a:pt x="16360" y="32720"/>
                  </a:lnTo>
                  <a:lnTo>
                    <a:pt x="16360" y="49080"/>
                  </a:lnTo>
                  <a:lnTo>
                    <a:pt x="32720" y="49080"/>
                  </a:lnTo>
                  <a:lnTo>
                    <a:pt x="32720" y="32720"/>
                  </a:lnTo>
                  <a:lnTo>
                    <a:pt x="49080" y="32720"/>
                  </a:lnTo>
                  <a:lnTo>
                    <a:pt x="49080" y="16360"/>
                  </a:lnTo>
                  <a:lnTo>
                    <a:pt x="32720" y="16360"/>
                  </a:lnTo>
                  <a:close/>
                </a:path>
              </a:pathLst>
            </a:custGeom>
            <a:solidFill>
              <a:srgbClr val="000532"/>
            </a:solidFill>
            <a:ln w="8096" cap="flat">
              <a:noFill/>
              <a:prstDash val="solid"/>
              <a:miter/>
            </a:ln>
          </p:spPr>
          <p:txBody>
            <a:bodyPr rtlCol="0" anchor="ctr"/>
            <a:lstStyle/>
            <a:p>
              <a:endParaRPr lang="pt-BR"/>
            </a:p>
          </p:txBody>
        </p:sp>
        <p:sp>
          <p:nvSpPr>
            <p:cNvPr id="38" name="Forma Livre: Forma 37">
              <a:extLst>
                <a:ext uri="{FF2B5EF4-FFF2-40B4-BE49-F238E27FC236}">
                  <a16:creationId xmlns:a16="http://schemas.microsoft.com/office/drawing/2014/main" id="{B1124D74-9F99-7E0A-0C57-2E6F6D22152F}"/>
                </a:ext>
              </a:extLst>
            </p:cNvPr>
            <p:cNvSpPr/>
            <p:nvPr/>
          </p:nvSpPr>
          <p:spPr>
            <a:xfrm>
              <a:off x="5476325" y="2016031"/>
              <a:ext cx="176073" cy="220899"/>
            </a:xfrm>
            <a:custGeom>
              <a:avLst/>
              <a:gdLst>
                <a:gd name="connsiteX0" fmla="*/ 132638 w 176073"/>
                <a:gd name="connsiteY0" fmla="*/ 216728 h 220899"/>
                <a:gd name="connsiteX1" fmla="*/ 132557 w 176073"/>
                <a:gd name="connsiteY1" fmla="*/ 208466 h 220899"/>
                <a:gd name="connsiteX2" fmla="*/ 108017 w 176073"/>
                <a:gd name="connsiteY2" fmla="*/ 167567 h 220899"/>
                <a:gd name="connsiteX3" fmla="*/ 103845 w 176073"/>
                <a:gd name="connsiteY3" fmla="*/ 164131 h 220899"/>
                <a:gd name="connsiteX4" fmla="*/ 66954 w 176073"/>
                <a:gd name="connsiteY4" fmla="*/ 150307 h 220899"/>
                <a:gd name="connsiteX5" fmla="*/ 85931 w 176073"/>
                <a:gd name="connsiteY5" fmla="*/ 147117 h 220899"/>
                <a:gd name="connsiteX6" fmla="*/ 91821 w 176073"/>
                <a:gd name="connsiteY6" fmla="*/ 142945 h 220899"/>
                <a:gd name="connsiteX7" fmla="*/ 92066 w 176073"/>
                <a:gd name="connsiteY7" fmla="*/ 135747 h 220899"/>
                <a:gd name="connsiteX8" fmla="*/ 73007 w 176073"/>
                <a:gd name="connsiteY8" fmla="*/ 92802 h 220899"/>
                <a:gd name="connsiteX9" fmla="*/ 87649 w 176073"/>
                <a:gd name="connsiteY9" fmla="*/ 104581 h 220899"/>
                <a:gd name="connsiteX10" fmla="*/ 98528 w 176073"/>
                <a:gd name="connsiteY10" fmla="*/ 104009 h 220899"/>
                <a:gd name="connsiteX11" fmla="*/ 109080 w 176073"/>
                <a:gd name="connsiteY11" fmla="*/ 93457 h 220899"/>
                <a:gd name="connsiteX12" fmla="*/ 109080 w 176073"/>
                <a:gd name="connsiteY12" fmla="*/ 139182 h 220899"/>
                <a:gd name="connsiteX13" fmla="*/ 110307 w 176073"/>
                <a:gd name="connsiteY13" fmla="*/ 143518 h 220899"/>
                <a:gd name="connsiteX14" fmla="*/ 140164 w 176073"/>
                <a:gd name="connsiteY14" fmla="*/ 191289 h 220899"/>
                <a:gd name="connsiteX15" fmla="*/ 148426 w 176073"/>
                <a:gd name="connsiteY15" fmla="*/ 173702 h 220899"/>
                <a:gd name="connsiteX16" fmla="*/ 125358 w 176073"/>
                <a:gd name="connsiteY16" fmla="*/ 136892 h 220899"/>
                <a:gd name="connsiteX17" fmla="*/ 125358 w 176073"/>
                <a:gd name="connsiteY17" fmla="*/ 73825 h 220899"/>
                <a:gd name="connsiteX18" fmla="*/ 120287 w 176073"/>
                <a:gd name="connsiteY18" fmla="*/ 66299 h 220899"/>
                <a:gd name="connsiteX19" fmla="*/ 111371 w 176073"/>
                <a:gd name="connsiteY19" fmla="*/ 68099 h 220899"/>
                <a:gd name="connsiteX20" fmla="*/ 91984 w 176073"/>
                <a:gd name="connsiteY20" fmla="*/ 87485 h 220899"/>
                <a:gd name="connsiteX21" fmla="*/ 56811 w 176073"/>
                <a:gd name="connsiteY21" fmla="*/ 59346 h 220899"/>
                <a:gd name="connsiteX22" fmla="*/ 46667 w 176073"/>
                <a:gd name="connsiteY22" fmla="*/ 59265 h 220899"/>
                <a:gd name="connsiteX23" fmla="*/ 44213 w 176073"/>
                <a:gd name="connsiteY23" fmla="*/ 69081 h 220899"/>
                <a:gd name="connsiteX24" fmla="*/ 72680 w 176073"/>
                <a:gd name="connsiteY24" fmla="*/ 133047 h 220899"/>
                <a:gd name="connsiteX25" fmla="*/ 33989 w 176073"/>
                <a:gd name="connsiteY25" fmla="*/ 139510 h 220899"/>
                <a:gd name="connsiteX26" fmla="*/ 27199 w 176073"/>
                <a:gd name="connsiteY26" fmla="*/ 146790 h 220899"/>
                <a:gd name="connsiteX27" fmla="*/ 32434 w 176073"/>
                <a:gd name="connsiteY27" fmla="*/ 155215 h 220899"/>
                <a:gd name="connsiteX28" fmla="*/ 95174 w 176073"/>
                <a:gd name="connsiteY28" fmla="*/ 178773 h 220899"/>
                <a:gd name="connsiteX29" fmla="*/ 110062 w 176073"/>
                <a:gd name="connsiteY29" fmla="*/ 203640 h 220899"/>
                <a:gd name="connsiteX30" fmla="*/ 26381 w 176073"/>
                <a:gd name="connsiteY30" fmla="*/ 152516 h 220899"/>
                <a:gd name="connsiteX31" fmla="*/ 25072 w 176073"/>
                <a:gd name="connsiteY31" fmla="*/ 17547 h 220899"/>
                <a:gd name="connsiteX32" fmla="*/ 143109 w 176073"/>
                <a:gd name="connsiteY32" fmla="*/ 78651 h 220899"/>
                <a:gd name="connsiteX33" fmla="*/ 162004 w 176073"/>
                <a:gd name="connsiteY33" fmla="*/ 144745 h 220899"/>
                <a:gd name="connsiteX34" fmla="*/ 176074 w 176073"/>
                <a:gd name="connsiteY34" fmla="*/ 115542 h 220899"/>
                <a:gd name="connsiteX35" fmla="*/ 156442 w 176073"/>
                <a:gd name="connsiteY35" fmla="*/ 69162 h 220899"/>
                <a:gd name="connsiteX36" fmla="*/ 19919 w 176073"/>
                <a:gd name="connsiteY36" fmla="*/ 42 h 220899"/>
                <a:gd name="connsiteX37" fmla="*/ 11248 w 176073"/>
                <a:gd name="connsiteY37" fmla="*/ 6013 h 220899"/>
                <a:gd name="connsiteX38" fmla="*/ 11657 w 176073"/>
                <a:gd name="connsiteY38" fmla="*/ 158651 h 220899"/>
                <a:gd name="connsiteX39" fmla="*/ 125522 w 176073"/>
                <a:gd name="connsiteY39" fmla="*/ 220900 h 220899"/>
                <a:gd name="connsiteX40" fmla="*/ 132638 w 176073"/>
                <a:gd name="connsiteY40" fmla="*/ 216728 h 22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073" h="220899">
                  <a:moveTo>
                    <a:pt x="132638" y="216728"/>
                  </a:moveTo>
                  <a:cubicBezTo>
                    <a:pt x="134111" y="214192"/>
                    <a:pt x="134029" y="211002"/>
                    <a:pt x="132557" y="208466"/>
                  </a:cubicBezTo>
                  <a:lnTo>
                    <a:pt x="108017" y="167567"/>
                  </a:lnTo>
                  <a:cubicBezTo>
                    <a:pt x="107035" y="166013"/>
                    <a:pt x="105645" y="164786"/>
                    <a:pt x="103845" y="164131"/>
                  </a:cubicBezTo>
                  <a:lnTo>
                    <a:pt x="66954" y="150307"/>
                  </a:lnTo>
                  <a:lnTo>
                    <a:pt x="85931" y="147117"/>
                  </a:lnTo>
                  <a:cubicBezTo>
                    <a:pt x="88467" y="146708"/>
                    <a:pt x="90594" y="145154"/>
                    <a:pt x="91821" y="142945"/>
                  </a:cubicBezTo>
                  <a:cubicBezTo>
                    <a:pt x="93048" y="140737"/>
                    <a:pt x="93129" y="138037"/>
                    <a:pt x="92066" y="135747"/>
                  </a:cubicBezTo>
                  <a:lnTo>
                    <a:pt x="73007" y="92802"/>
                  </a:lnTo>
                  <a:lnTo>
                    <a:pt x="87649" y="104581"/>
                  </a:lnTo>
                  <a:cubicBezTo>
                    <a:pt x="90921" y="107199"/>
                    <a:pt x="95583" y="106954"/>
                    <a:pt x="98528" y="104009"/>
                  </a:cubicBezTo>
                  <a:lnTo>
                    <a:pt x="109080" y="93457"/>
                  </a:lnTo>
                  <a:lnTo>
                    <a:pt x="109080" y="139182"/>
                  </a:lnTo>
                  <a:cubicBezTo>
                    <a:pt x="109080" y="140737"/>
                    <a:pt x="109489" y="142209"/>
                    <a:pt x="110307" y="143518"/>
                  </a:cubicBezTo>
                  <a:lnTo>
                    <a:pt x="140164" y="191289"/>
                  </a:lnTo>
                  <a:cubicBezTo>
                    <a:pt x="142454" y="186462"/>
                    <a:pt x="145317" y="180409"/>
                    <a:pt x="148426" y="173702"/>
                  </a:cubicBezTo>
                  <a:lnTo>
                    <a:pt x="125358" y="136892"/>
                  </a:lnTo>
                  <a:lnTo>
                    <a:pt x="125358" y="73825"/>
                  </a:lnTo>
                  <a:cubicBezTo>
                    <a:pt x="125358" y="70553"/>
                    <a:pt x="123395" y="67526"/>
                    <a:pt x="120287" y="66299"/>
                  </a:cubicBezTo>
                  <a:cubicBezTo>
                    <a:pt x="117260" y="64991"/>
                    <a:pt x="113743" y="65727"/>
                    <a:pt x="111371" y="68099"/>
                  </a:cubicBezTo>
                  <a:lnTo>
                    <a:pt x="91984" y="87485"/>
                  </a:lnTo>
                  <a:lnTo>
                    <a:pt x="56811" y="59346"/>
                  </a:lnTo>
                  <a:cubicBezTo>
                    <a:pt x="53866" y="56974"/>
                    <a:pt x="49694" y="56974"/>
                    <a:pt x="46667" y="59265"/>
                  </a:cubicBezTo>
                  <a:cubicBezTo>
                    <a:pt x="43723" y="61555"/>
                    <a:pt x="42659" y="65645"/>
                    <a:pt x="44213" y="69081"/>
                  </a:cubicBezTo>
                  <a:lnTo>
                    <a:pt x="72680" y="133047"/>
                  </a:lnTo>
                  <a:lnTo>
                    <a:pt x="33989" y="139510"/>
                  </a:lnTo>
                  <a:cubicBezTo>
                    <a:pt x="30308" y="140082"/>
                    <a:pt x="27526" y="143109"/>
                    <a:pt x="27199" y="146790"/>
                  </a:cubicBezTo>
                  <a:cubicBezTo>
                    <a:pt x="26872" y="150471"/>
                    <a:pt x="28999" y="153906"/>
                    <a:pt x="32434" y="155215"/>
                  </a:cubicBezTo>
                  <a:lnTo>
                    <a:pt x="95174" y="178773"/>
                  </a:lnTo>
                  <a:lnTo>
                    <a:pt x="110062" y="203640"/>
                  </a:lnTo>
                  <a:cubicBezTo>
                    <a:pt x="86585" y="200614"/>
                    <a:pt x="42414" y="189980"/>
                    <a:pt x="26381" y="152516"/>
                  </a:cubicBezTo>
                  <a:cubicBezTo>
                    <a:pt x="7077" y="107444"/>
                    <a:pt x="20083" y="39306"/>
                    <a:pt x="25072" y="17547"/>
                  </a:cubicBezTo>
                  <a:cubicBezTo>
                    <a:pt x="46422" y="20819"/>
                    <a:pt x="111207" y="34071"/>
                    <a:pt x="143109" y="78651"/>
                  </a:cubicBezTo>
                  <a:cubicBezTo>
                    <a:pt x="158242" y="99837"/>
                    <a:pt x="162413" y="123641"/>
                    <a:pt x="162004" y="144745"/>
                  </a:cubicBezTo>
                  <a:cubicBezTo>
                    <a:pt x="167648" y="132884"/>
                    <a:pt x="172884" y="122005"/>
                    <a:pt x="176074" y="115542"/>
                  </a:cubicBezTo>
                  <a:cubicBezTo>
                    <a:pt x="173129" y="100082"/>
                    <a:pt x="167158" y="84132"/>
                    <a:pt x="156442" y="69162"/>
                  </a:cubicBezTo>
                  <a:cubicBezTo>
                    <a:pt x="114152" y="9285"/>
                    <a:pt x="23764" y="451"/>
                    <a:pt x="19919" y="42"/>
                  </a:cubicBezTo>
                  <a:cubicBezTo>
                    <a:pt x="15911" y="-367"/>
                    <a:pt x="12312" y="2251"/>
                    <a:pt x="11248" y="6013"/>
                  </a:cubicBezTo>
                  <a:cubicBezTo>
                    <a:pt x="10185" y="9776"/>
                    <a:pt x="-13782" y="99428"/>
                    <a:pt x="11657" y="158651"/>
                  </a:cubicBezTo>
                  <a:cubicBezTo>
                    <a:pt x="37997" y="220164"/>
                    <a:pt x="121923" y="220900"/>
                    <a:pt x="125522" y="220900"/>
                  </a:cubicBezTo>
                  <a:cubicBezTo>
                    <a:pt x="128467" y="220900"/>
                    <a:pt x="131166" y="219346"/>
                    <a:pt x="132638" y="216728"/>
                  </a:cubicBezTo>
                  <a:close/>
                </a:path>
              </a:pathLst>
            </a:custGeom>
            <a:solidFill>
              <a:schemeClr val="accent2"/>
            </a:solidFill>
            <a:ln w="8096" cap="flat">
              <a:noFill/>
              <a:prstDash val="solid"/>
              <a:miter/>
            </a:ln>
          </p:spPr>
          <p:txBody>
            <a:bodyPr rtlCol="0" anchor="ctr"/>
            <a:lstStyle/>
            <a:p>
              <a:endParaRPr lang="pt-BR"/>
            </a:p>
          </p:txBody>
        </p:sp>
        <p:sp>
          <p:nvSpPr>
            <p:cNvPr id="39" name="Forma Livre: Forma 38">
              <a:extLst>
                <a:ext uri="{FF2B5EF4-FFF2-40B4-BE49-F238E27FC236}">
                  <a16:creationId xmlns:a16="http://schemas.microsoft.com/office/drawing/2014/main" id="{D68A4741-DF9E-CC97-9486-B36B3978F67D}"/>
                </a:ext>
              </a:extLst>
            </p:cNvPr>
            <p:cNvSpPr/>
            <p:nvPr/>
          </p:nvSpPr>
          <p:spPr>
            <a:xfrm>
              <a:off x="5806590" y="2090698"/>
              <a:ext cx="163572" cy="154330"/>
            </a:xfrm>
            <a:custGeom>
              <a:avLst/>
              <a:gdLst>
                <a:gd name="connsiteX0" fmla="*/ 163271 w 163572"/>
                <a:gd name="connsiteY0" fmla="*/ 14700 h 154330"/>
                <a:gd name="connsiteX1" fmla="*/ 157709 w 163572"/>
                <a:gd name="connsiteY1" fmla="*/ 7829 h 154330"/>
                <a:gd name="connsiteX2" fmla="*/ 27157 w 163572"/>
                <a:gd name="connsiteY2" fmla="*/ 25661 h 154330"/>
                <a:gd name="connsiteX3" fmla="*/ 0 w 163572"/>
                <a:gd name="connsiteY3" fmla="*/ 62470 h 154330"/>
                <a:gd name="connsiteX4" fmla="*/ 10797 w 163572"/>
                <a:gd name="connsiteY4" fmla="*/ 85211 h 154330"/>
                <a:gd name="connsiteX5" fmla="*/ 37709 w 163572"/>
                <a:gd name="connsiteY5" fmla="*/ 38258 h 154330"/>
                <a:gd name="connsiteX6" fmla="*/ 147402 w 163572"/>
                <a:gd name="connsiteY6" fmla="*/ 21898 h 154330"/>
                <a:gd name="connsiteX7" fmla="*/ 109038 w 163572"/>
                <a:gd name="connsiteY7" fmla="*/ 123820 h 154330"/>
                <a:gd name="connsiteX8" fmla="*/ 54396 w 163572"/>
                <a:gd name="connsiteY8" fmla="*/ 135354 h 154330"/>
                <a:gd name="connsiteX9" fmla="*/ 128507 w 163572"/>
                <a:gd name="connsiteY9" fmla="*/ 53882 h 154330"/>
                <a:gd name="connsiteX10" fmla="*/ 129079 w 163572"/>
                <a:gd name="connsiteY10" fmla="*/ 43657 h 154330"/>
                <a:gd name="connsiteX11" fmla="*/ 119181 w 163572"/>
                <a:gd name="connsiteY11" fmla="*/ 40876 h 154330"/>
                <a:gd name="connsiteX12" fmla="*/ 70102 w 163572"/>
                <a:gd name="connsiteY12" fmla="*/ 61898 h 154330"/>
                <a:gd name="connsiteX13" fmla="*/ 64703 w 163572"/>
                <a:gd name="connsiteY13" fmla="*/ 45783 h 154330"/>
                <a:gd name="connsiteX14" fmla="*/ 56932 w 163572"/>
                <a:gd name="connsiteY14" fmla="*/ 40221 h 154330"/>
                <a:gd name="connsiteX15" fmla="*/ 49161 w 163572"/>
                <a:gd name="connsiteY15" fmla="*/ 45783 h 154330"/>
                <a:gd name="connsiteX16" fmla="*/ 33456 w 163572"/>
                <a:gd name="connsiteY16" fmla="*/ 92982 h 154330"/>
                <a:gd name="connsiteX17" fmla="*/ 20450 w 163572"/>
                <a:gd name="connsiteY17" fmla="*/ 105824 h 154330"/>
                <a:gd name="connsiteX18" fmla="*/ 27812 w 163572"/>
                <a:gd name="connsiteY18" fmla="*/ 121529 h 154330"/>
                <a:gd name="connsiteX19" fmla="*/ 46298 w 163572"/>
                <a:gd name="connsiteY19" fmla="*/ 103206 h 154330"/>
                <a:gd name="connsiteX20" fmla="*/ 48262 w 163572"/>
                <a:gd name="connsiteY20" fmla="*/ 100016 h 154330"/>
                <a:gd name="connsiteX21" fmla="*/ 56850 w 163572"/>
                <a:gd name="connsiteY21" fmla="*/ 74250 h 154330"/>
                <a:gd name="connsiteX22" fmla="*/ 57259 w 163572"/>
                <a:gd name="connsiteY22" fmla="*/ 75477 h 154330"/>
                <a:gd name="connsiteX23" fmla="*/ 61677 w 163572"/>
                <a:gd name="connsiteY23" fmla="*/ 80385 h 154330"/>
                <a:gd name="connsiteX24" fmla="*/ 68221 w 163572"/>
                <a:gd name="connsiteY24" fmla="*/ 80385 h 154330"/>
                <a:gd name="connsiteX25" fmla="*/ 90879 w 163572"/>
                <a:gd name="connsiteY25" fmla="*/ 70650 h 154330"/>
                <a:gd name="connsiteX26" fmla="*/ 34356 w 163572"/>
                <a:gd name="connsiteY26" fmla="*/ 132818 h 154330"/>
                <a:gd name="connsiteX27" fmla="*/ 32311 w 163572"/>
                <a:gd name="connsiteY27" fmla="*/ 139525 h 154330"/>
                <a:gd name="connsiteX28" fmla="*/ 36155 w 163572"/>
                <a:gd name="connsiteY28" fmla="*/ 145333 h 154330"/>
                <a:gd name="connsiteX29" fmla="*/ 71247 w 163572"/>
                <a:gd name="connsiteY29" fmla="*/ 154331 h 154330"/>
                <a:gd name="connsiteX30" fmla="*/ 119181 w 163572"/>
                <a:gd name="connsiteY30" fmla="*/ 136417 h 154330"/>
                <a:gd name="connsiteX31" fmla="*/ 162944 w 163572"/>
                <a:gd name="connsiteY31" fmla="*/ 14700 h 15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3572" h="154330">
                  <a:moveTo>
                    <a:pt x="163271" y="14700"/>
                  </a:moveTo>
                  <a:cubicBezTo>
                    <a:pt x="162944" y="11510"/>
                    <a:pt x="160735" y="8892"/>
                    <a:pt x="157709" y="7829"/>
                  </a:cubicBezTo>
                  <a:cubicBezTo>
                    <a:pt x="154519" y="6765"/>
                    <a:pt x="79182" y="-17693"/>
                    <a:pt x="27157" y="25661"/>
                  </a:cubicBezTo>
                  <a:cubicBezTo>
                    <a:pt x="13333" y="37195"/>
                    <a:pt x="4908" y="49955"/>
                    <a:pt x="0" y="62470"/>
                  </a:cubicBezTo>
                  <a:cubicBezTo>
                    <a:pt x="3436" y="69669"/>
                    <a:pt x="7117" y="77522"/>
                    <a:pt x="10797" y="85211"/>
                  </a:cubicBezTo>
                  <a:cubicBezTo>
                    <a:pt x="12924" y="69996"/>
                    <a:pt x="20041" y="52900"/>
                    <a:pt x="37709" y="38258"/>
                  </a:cubicBezTo>
                  <a:cubicBezTo>
                    <a:pt x="75419" y="6765"/>
                    <a:pt x="130388" y="17563"/>
                    <a:pt x="147402" y="21898"/>
                  </a:cubicBezTo>
                  <a:cubicBezTo>
                    <a:pt x="148057" y="38912"/>
                    <a:pt x="146830" y="92327"/>
                    <a:pt x="109038" y="123820"/>
                  </a:cubicBezTo>
                  <a:cubicBezTo>
                    <a:pt x="87607" y="141652"/>
                    <a:pt x="66257" y="139035"/>
                    <a:pt x="54396" y="135354"/>
                  </a:cubicBezTo>
                  <a:lnTo>
                    <a:pt x="128507" y="53882"/>
                  </a:lnTo>
                  <a:cubicBezTo>
                    <a:pt x="131124" y="51019"/>
                    <a:pt x="131369" y="46765"/>
                    <a:pt x="129079" y="43657"/>
                  </a:cubicBezTo>
                  <a:cubicBezTo>
                    <a:pt x="126871" y="40548"/>
                    <a:pt x="122699" y="39403"/>
                    <a:pt x="119181" y="40876"/>
                  </a:cubicBezTo>
                  <a:lnTo>
                    <a:pt x="70102" y="61898"/>
                  </a:lnTo>
                  <a:lnTo>
                    <a:pt x="64703" y="45783"/>
                  </a:lnTo>
                  <a:cubicBezTo>
                    <a:pt x="63558" y="42430"/>
                    <a:pt x="60450" y="40221"/>
                    <a:pt x="56932" y="40221"/>
                  </a:cubicBezTo>
                  <a:cubicBezTo>
                    <a:pt x="53415" y="40221"/>
                    <a:pt x="50307" y="42511"/>
                    <a:pt x="49161" y="45783"/>
                  </a:cubicBezTo>
                  <a:lnTo>
                    <a:pt x="33456" y="92982"/>
                  </a:lnTo>
                  <a:lnTo>
                    <a:pt x="20450" y="105824"/>
                  </a:lnTo>
                  <a:cubicBezTo>
                    <a:pt x="23476" y="112286"/>
                    <a:pt x="26094" y="117767"/>
                    <a:pt x="27812" y="121529"/>
                  </a:cubicBezTo>
                  <a:lnTo>
                    <a:pt x="46298" y="103206"/>
                  </a:lnTo>
                  <a:cubicBezTo>
                    <a:pt x="47198" y="102307"/>
                    <a:pt x="47934" y="101162"/>
                    <a:pt x="48262" y="100016"/>
                  </a:cubicBezTo>
                  <a:lnTo>
                    <a:pt x="56850" y="74250"/>
                  </a:lnTo>
                  <a:lnTo>
                    <a:pt x="57259" y="75477"/>
                  </a:lnTo>
                  <a:cubicBezTo>
                    <a:pt x="57996" y="77603"/>
                    <a:pt x="59550" y="79403"/>
                    <a:pt x="61677" y="80385"/>
                  </a:cubicBezTo>
                  <a:cubicBezTo>
                    <a:pt x="63722" y="81284"/>
                    <a:pt x="66176" y="81366"/>
                    <a:pt x="68221" y="80385"/>
                  </a:cubicBezTo>
                  <a:lnTo>
                    <a:pt x="90879" y="70650"/>
                  </a:lnTo>
                  <a:lnTo>
                    <a:pt x="34356" y="132818"/>
                  </a:lnTo>
                  <a:cubicBezTo>
                    <a:pt x="32720" y="134617"/>
                    <a:pt x="31983" y="137071"/>
                    <a:pt x="32311" y="139525"/>
                  </a:cubicBezTo>
                  <a:cubicBezTo>
                    <a:pt x="32638" y="141979"/>
                    <a:pt x="34110" y="144106"/>
                    <a:pt x="36155" y="145333"/>
                  </a:cubicBezTo>
                  <a:cubicBezTo>
                    <a:pt x="43435" y="149750"/>
                    <a:pt x="56278" y="154331"/>
                    <a:pt x="71247" y="154331"/>
                  </a:cubicBezTo>
                  <a:cubicBezTo>
                    <a:pt x="86216" y="154331"/>
                    <a:pt x="103067" y="149914"/>
                    <a:pt x="119181" y="136417"/>
                  </a:cubicBezTo>
                  <a:cubicBezTo>
                    <a:pt x="171042" y="93227"/>
                    <a:pt x="163353" y="17890"/>
                    <a:pt x="162944" y="14700"/>
                  </a:cubicBezTo>
                  <a:close/>
                </a:path>
              </a:pathLst>
            </a:custGeom>
            <a:solidFill>
              <a:schemeClr val="accent2"/>
            </a:solidFill>
            <a:ln w="8096" cap="flat">
              <a:noFill/>
              <a:prstDash val="solid"/>
              <a:miter/>
            </a:ln>
          </p:spPr>
          <p:txBody>
            <a:bodyPr rtlCol="0" anchor="ctr"/>
            <a:lstStyle/>
            <a:p>
              <a:endParaRPr lang="pt-BR"/>
            </a:p>
          </p:txBody>
        </p:sp>
        <p:sp>
          <p:nvSpPr>
            <p:cNvPr id="40" name="Forma Livre: Forma 39">
              <a:extLst>
                <a:ext uri="{FF2B5EF4-FFF2-40B4-BE49-F238E27FC236}">
                  <a16:creationId xmlns:a16="http://schemas.microsoft.com/office/drawing/2014/main" id="{AC409A76-1840-9D18-DC35-DEC3FFA6F836}"/>
                </a:ext>
              </a:extLst>
            </p:cNvPr>
            <p:cNvSpPr/>
            <p:nvPr/>
          </p:nvSpPr>
          <p:spPr>
            <a:xfrm>
              <a:off x="5618615" y="2179671"/>
              <a:ext cx="211696" cy="130960"/>
            </a:xfrm>
            <a:custGeom>
              <a:avLst/>
              <a:gdLst>
                <a:gd name="connsiteX0" fmla="*/ 205234 w 211696"/>
                <a:gd name="connsiteY0" fmla="*/ 114519 h 130960"/>
                <a:gd name="connsiteX1" fmla="*/ 136686 w 211696"/>
                <a:gd name="connsiteY1" fmla="*/ 114519 h 130960"/>
                <a:gd name="connsiteX2" fmla="*/ 132024 w 211696"/>
                <a:gd name="connsiteY2" fmla="*/ 100040 h 130960"/>
                <a:gd name="connsiteX3" fmla="*/ 114028 w 211696"/>
                <a:gd name="connsiteY3" fmla="*/ 71247 h 130960"/>
                <a:gd name="connsiteX4" fmla="*/ 114028 w 211696"/>
                <a:gd name="connsiteY4" fmla="*/ 65439 h 130960"/>
                <a:gd name="connsiteX5" fmla="*/ 122208 w 211696"/>
                <a:gd name="connsiteY5" fmla="*/ 65439 h 130960"/>
                <a:gd name="connsiteX6" fmla="*/ 163108 w 211696"/>
                <a:gd name="connsiteY6" fmla="*/ 24540 h 130960"/>
                <a:gd name="connsiteX7" fmla="*/ 154928 w 211696"/>
                <a:gd name="connsiteY7" fmla="*/ 16360 h 130960"/>
                <a:gd name="connsiteX8" fmla="*/ 138568 w 211696"/>
                <a:gd name="connsiteY8" fmla="*/ 16360 h 130960"/>
                <a:gd name="connsiteX9" fmla="*/ 114028 w 211696"/>
                <a:gd name="connsiteY9" fmla="*/ 24785 h 130960"/>
                <a:gd name="connsiteX10" fmla="*/ 114028 w 211696"/>
                <a:gd name="connsiteY10" fmla="*/ 24540 h 130960"/>
                <a:gd name="connsiteX11" fmla="*/ 110592 w 211696"/>
                <a:gd name="connsiteY11" fmla="*/ 24540 h 130960"/>
                <a:gd name="connsiteX12" fmla="*/ 73128 w 211696"/>
                <a:gd name="connsiteY12" fmla="*/ 0 h 130960"/>
                <a:gd name="connsiteX13" fmla="*/ 56769 w 211696"/>
                <a:gd name="connsiteY13" fmla="*/ 0 h 130960"/>
                <a:gd name="connsiteX14" fmla="*/ 48589 w 211696"/>
                <a:gd name="connsiteY14" fmla="*/ 8180 h 130960"/>
                <a:gd name="connsiteX15" fmla="*/ 89488 w 211696"/>
                <a:gd name="connsiteY15" fmla="*/ 49080 h 130960"/>
                <a:gd name="connsiteX16" fmla="*/ 97668 w 211696"/>
                <a:gd name="connsiteY16" fmla="*/ 49080 h 130960"/>
                <a:gd name="connsiteX17" fmla="*/ 97668 w 211696"/>
                <a:gd name="connsiteY17" fmla="*/ 71247 h 130960"/>
                <a:gd name="connsiteX18" fmla="*/ 79672 w 211696"/>
                <a:gd name="connsiteY18" fmla="*/ 100040 h 130960"/>
                <a:gd name="connsiteX19" fmla="*/ 75010 w 211696"/>
                <a:gd name="connsiteY19" fmla="*/ 114519 h 130960"/>
                <a:gd name="connsiteX20" fmla="*/ 6626 w 211696"/>
                <a:gd name="connsiteY20" fmla="*/ 114519 h 130960"/>
                <a:gd name="connsiteX21" fmla="*/ 0 w 211696"/>
                <a:gd name="connsiteY21" fmla="*/ 130879 h 130960"/>
                <a:gd name="connsiteX22" fmla="*/ 84090 w 211696"/>
                <a:gd name="connsiteY22" fmla="*/ 130879 h 130960"/>
                <a:gd name="connsiteX23" fmla="*/ 90633 w 211696"/>
                <a:gd name="connsiteY23" fmla="*/ 127525 h 130960"/>
                <a:gd name="connsiteX24" fmla="*/ 91860 w 211696"/>
                <a:gd name="connsiteY24" fmla="*/ 120245 h 130960"/>
                <a:gd name="connsiteX25" fmla="*/ 93415 w 211696"/>
                <a:gd name="connsiteY25" fmla="*/ 108711 h 130960"/>
                <a:gd name="connsiteX26" fmla="*/ 105685 w 211696"/>
                <a:gd name="connsiteY26" fmla="*/ 89079 h 130960"/>
                <a:gd name="connsiteX27" fmla="*/ 117954 w 211696"/>
                <a:gd name="connsiteY27" fmla="*/ 108711 h 130960"/>
                <a:gd name="connsiteX28" fmla="*/ 120163 w 211696"/>
                <a:gd name="connsiteY28" fmla="*/ 116400 h 130960"/>
                <a:gd name="connsiteX29" fmla="*/ 119590 w 211696"/>
                <a:gd name="connsiteY29" fmla="*/ 120327 h 130960"/>
                <a:gd name="connsiteX30" fmla="*/ 120736 w 211696"/>
                <a:gd name="connsiteY30" fmla="*/ 127607 h 130960"/>
                <a:gd name="connsiteX31" fmla="*/ 127361 w 211696"/>
                <a:gd name="connsiteY31" fmla="*/ 130960 h 130960"/>
                <a:gd name="connsiteX32" fmla="*/ 211696 w 211696"/>
                <a:gd name="connsiteY32" fmla="*/ 130960 h 130960"/>
                <a:gd name="connsiteX33" fmla="*/ 205071 w 211696"/>
                <a:gd name="connsiteY33" fmla="*/ 114601 h 130960"/>
                <a:gd name="connsiteX34" fmla="*/ 138650 w 211696"/>
                <a:gd name="connsiteY34" fmla="*/ 32720 h 130960"/>
                <a:gd name="connsiteX35" fmla="*/ 145439 w 211696"/>
                <a:gd name="connsiteY35" fmla="*/ 32720 h 130960"/>
                <a:gd name="connsiteX36" fmla="*/ 122290 w 211696"/>
                <a:gd name="connsiteY36" fmla="*/ 49080 h 130960"/>
                <a:gd name="connsiteX37" fmla="*/ 115500 w 211696"/>
                <a:gd name="connsiteY37" fmla="*/ 49080 h 130960"/>
                <a:gd name="connsiteX38" fmla="*/ 138650 w 211696"/>
                <a:gd name="connsiteY38" fmla="*/ 32720 h 130960"/>
                <a:gd name="connsiteX39" fmla="*/ 89570 w 211696"/>
                <a:gd name="connsiteY39" fmla="*/ 32720 h 130960"/>
                <a:gd name="connsiteX40" fmla="*/ 66421 w 211696"/>
                <a:gd name="connsiteY40" fmla="*/ 16360 h 130960"/>
                <a:gd name="connsiteX41" fmla="*/ 73210 w 211696"/>
                <a:gd name="connsiteY41" fmla="*/ 16360 h 130960"/>
                <a:gd name="connsiteX42" fmla="*/ 96359 w 211696"/>
                <a:gd name="connsiteY42" fmla="*/ 32720 h 130960"/>
                <a:gd name="connsiteX43" fmla="*/ 89570 w 211696"/>
                <a:gd name="connsiteY43" fmla="*/ 32720 h 13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1696" h="130960">
                  <a:moveTo>
                    <a:pt x="205234" y="114519"/>
                  </a:moveTo>
                  <a:lnTo>
                    <a:pt x="136686" y="114519"/>
                  </a:lnTo>
                  <a:cubicBezTo>
                    <a:pt x="136359" y="109447"/>
                    <a:pt x="134805" y="104458"/>
                    <a:pt x="132024" y="100040"/>
                  </a:cubicBezTo>
                  <a:lnTo>
                    <a:pt x="114028" y="71247"/>
                  </a:lnTo>
                  <a:lnTo>
                    <a:pt x="114028" y="65439"/>
                  </a:lnTo>
                  <a:lnTo>
                    <a:pt x="122208" y="65439"/>
                  </a:lnTo>
                  <a:cubicBezTo>
                    <a:pt x="144785" y="65439"/>
                    <a:pt x="163108" y="47116"/>
                    <a:pt x="163108" y="24540"/>
                  </a:cubicBezTo>
                  <a:cubicBezTo>
                    <a:pt x="163108" y="20041"/>
                    <a:pt x="159427" y="16360"/>
                    <a:pt x="154928" y="16360"/>
                  </a:cubicBezTo>
                  <a:lnTo>
                    <a:pt x="138568" y="16360"/>
                  </a:lnTo>
                  <a:cubicBezTo>
                    <a:pt x="129324" y="16360"/>
                    <a:pt x="120899" y="19550"/>
                    <a:pt x="114028" y="24785"/>
                  </a:cubicBezTo>
                  <a:lnTo>
                    <a:pt x="114028" y="24540"/>
                  </a:lnTo>
                  <a:lnTo>
                    <a:pt x="110592" y="24540"/>
                  </a:lnTo>
                  <a:cubicBezTo>
                    <a:pt x="104294" y="10143"/>
                    <a:pt x="89897" y="0"/>
                    <a:pt x="73128" y="0"/>
                  </a:cubicBezTo>
                  <a:lnTo>
                    <a:pt x="56769" y="0"/>
                  </a:lnTo>
                  <a:cubicBezTo>
                    <a:pt x="52270" y="0"/>
                    <a:pt x="48589" y="3681"/>
                    <a:pt x="48589" y="8180"/>
                  </a:cubicBezTo>
                  <a:cubicBezTo>
                    <a:pt x="48589" y="30756"/>
                    <a:pt x="66912" y="49080"/>
                    <a:pt x="89488" y="49080"/>
                  </a:cubicBezTo>
                  <a:lnTo>
                    <a:pt x="97668" y="49080"/>
                  </a:lnTo>
                  <a:lnTo>
                    <a:pt x="97668" y="71247"/>
                  </a:lnTo>
                  <a:lnTo>
                    <a:pt x="79672" y="100040"/>
                  </a:lnTo>
                  <a:cubicBezTo>
                    <a:pt x="76891" y="104458"/>
                    <a:pt x="75337" y="109447"/>
                    <a:pt x="75010" y="114519"/>
                  </a:cubicBezTo>
                  <a:lnTo>
                    <a:pt x="6626" y="114519"/>
                  </a:lnTo>
                  <a:lnTo>
                    <a:pt x="0" y="130879"/>
                  </a:lnTo>
                  <a:lnTo>
                    <a:pt x="84090" y="130879"/>
                  </a:lnTo>
                  <a:cubicBezTo>
                    <a:pt x="86707" y="130879"/>
                    <a:pt x="89161" y="129652"/>
                    <a:pt x="90633" y="127525"/>
                  </a:cubicBezTo>
                  <a:cubicBezTo>
                    <a:pt x="92188" y="125398"/>
                    <a:pt x="92597" y="122699"/>
                    <a:pt x="91860" y="120245"/>
                  </a:cubicBezTo>
                  <a:cubicBezTo>
                    <a:pt x="90633" y="116318"/>
                    <a:pt x="91206" y="112228"/>
                    <a:pt x="93415" y="108711"/>
                  </a:cubicBezTo>
                  <a:lnTo>
                    <a:pt x="105685" y="89079"/>
                  </a:lnTo>
                  <a:lnTo>
                    <a:pt x="117954" y="108711"/>
                  </a:lnTo>
                  <a:cubicBezTo>
                    <a:pt x="119427" y="111083"/>
                    <a:pt x="120163" y="113701"/>
                    <a:pt x="120163" y="116400"/>
                  </a:cubicBezTo>
                  <a:cubicBezTo>
                    <a:pt x="120163" y="117791"/>
                    <a:pt x="119999" y="119100"/>
                    <a:pt x="119590" y="120327"/>
                  </a:cubicBezTo>
                  <a:cubicBezTo>
                    <a:pt x="118772" y="122781"/>
                    <a:pt x="119263" y="125562"/>
                    <a:pt x="120736" y="127607"/>
                  </a:cubicBezTo>
                  <a:cubicBezTo>
                    <a:pt x="122290" y="129733"/>
                    <a:pt x="124744" y="130960"/>
                    <a:pt x="127361" y="130960"/>
                  </a:cubicBezTo>
                  <a:lnTo>
                    <a:pt x="211696" y="130960"/>
                  </a:lnTo>
                  <a:lnTo>
                    <a:pt x="205071" y="114601"/>
                  </a:lnTo>
                  <a:close/>
                  <a:moveTo>
                    <a:pt x="138650" y="32720"/>
                  </a:moveTo>
                  <a:lnTo>
                    <a:pt x="145439" y="32720"/>
                  </a:lnTo>
                  <a:cubicBezTo>
                    <a:pt x="142085" y="42208"/>
                    <a:pt x="132924" y="49080"/>
                    <a:pt x="122290" y="49080"/>
                  </a:cubicBezTo>
                  <a:lnTo>
                    <a:pt x="115500" y="49080"/>
                  </a:lnTo>
                  <a:cubicBezTo>
                    <a:pt x="118854" y="39591"/>
                    <a:pt x="128016" y="32720"/>
                    <a:pt x="138650" y="32720"/>
                  </a:cubicBezTo>
                  <a:close/>
                  <a:moveTo>
                    <a:pt x="89570" y="32720"/>
                  </a:moveTo>
                  <a:cubicBezTo>
                    <a:pt x="78936" y="32720"/>
                    <a:pt x="69775" y="25849"/>
                    <a:pt x="66421" y="16360"/>
                  </a:cubicBezTo>
                  <a:lnTo>
                    <a:pt x="73210" y="16360"/>
                  </a:lnTo>
                  <a:cubicBezTo>
                    <a:pt x="83844" y="16360"/>
                    <a:pt x="93006" y="23231"/>
                    <a:pt x="96359" y="32720"/>
                  </a:cubicBezTo>
                  <a:lnTo>
                    <a:pt x="89570" y="32720"/>
                  </a:lnTo>
                  <a:close/>
                </a:path>
              </a:pathLst>
            </a:custGeom>
            <a:solidFill>
              <a:schemeClr val="accent2"/>
            </a:solidFill>
            <a:ln w="8096" cap="flat">
              <a:noFill/>
              <a:prstDash val="solid"/>
              <a:miter/>
            </a:ln>
          </p:spPr>
          <p:txBody>
            <a:bodyPr rtlCol="0" anchor="ctr"/>
            <a:lstStyle/>
            <a:p>
              <a:endParaRPr lang="pt-BR"/>
            </a:p>
          </p:txBody>
        </p:sp>
        <p:sp>
          <p:nvSpPr>
            <p:cNvPr id="41" name="Forma Livre: Forma 40">
              <a:extLst>
                <a:ext uri="{FF2B5EF4-FFF2-40B4-BE49-F238E27FC236}">
                  <a16:creationId xmlns:a16="http://schemas.microsoft.com/office/drawing/2014/main" id="{3F03CC1A-2117-3A93-20F8-4973EDC44B78}"/>
                </a:ext>
              </a:extLst>
            </p:cNvPr>
            <p:cNvSpPr/>
            <p:nvPr/>
          </p:nvSpPr>
          <p:spPr>
            <a:xfrm>
              <a:off x="5693594" y="2065439"/>
              <a:ext cx="61870" cy="81512"/>
            </a:xfrm>
            <a:custGeom>
              <a:avLst/>
              <a:gdLst>
                <a:gd name="connsiteX0" fmla="*/ 57127 w 61870"/>
                <a:gd name="connsiteY0" fmla="*/ 34315 h 81512"/>
                <a:gd name="connsiteX1" fmla="*/ 37904 w 61870"/>
                <a:gd name="connsiteY1" fmla="*/ 3558 h 81512"/>
                <a:gd name="connsiteX2" fmla="*/ 23998 w 61870"/>
                <a:gd name="connsiteY2" fmla="*/ 3558 h 81512"/>
                <a:gd name="connsiteX3" fmla="*/ 4775 w 61870"/>
                <a:gd name="connsiteY3" fmla="*/ 34315 h 81512"/>
                <a:gd name="connsiteX4" fmla="*/ 3957 w 61870"/>
                <a:gd name="connsiteY4" fmla="*/ 65644 h 81512"/>
                <a:gd name="connsiteX5" fmla="*/ 30951 w 61870"/>
                <a:gd name="connsiteY5" fmla="*/ 81513 h 81512"/>
                <a:gd name="connsiteX6" fmla="*/ 57945 w 61870"/>
                <a:gd name="connsiteY6" fmla="*/ 65644 h 81512"/>
                <a:gd name="connsiteX7" fmla="*/ 57127 w 61870"/>
                <a:gd name="connsiteY7" fmla="*/ 34315 h 81512"/>
                <a:gd name="connsiteX8" fmla="*/ 43630 w 61870"/>
                <a:gd name="connsiteY8" fmla="*/ 57709 h 81512"/>
                <a:gd name="connsiteX9" fmla="*/ 30951 w 61870"/>
                <a:gd name="connsiteY9" fmla="*/ 65153 h 81512"/>
                <a:gd name="connsiteX10" fmla="*/ 18272 w 61870"/>
                <a:gd name="connsiteY10" fmla="*/ 57709 h 81512"/>
                <a:gd name="connsiteX11" fmla="*/ 18681 w 61870"/>
                <a:gd name="connsiteY11" fmla="*/ 42985 h 81512"/>
                <a:gd name="connsiteX12" fmla="*/ 30951 w 61870"/>
                <a:gd name="connsiteY12" fmla="*/ 23354 h 81512"/>
                <a:gd name="connsiteX13" fmla="*/ 43221 w 61870"/>
                <a:gd name="connsiteY13" fmla="*/ 42985 h 81512"/>
                <a:gd name="connsiteX14" fmla="*/ 43630 w 61870"/>
                <a:gd name="connsiteY14" fmla="*/ 57709 h 8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870" h="81512">
                  <a:moveTo>
                    <a:pt x="57127" y="34315"/>
                  </a:moveTo>
                  <a:lnTo>
                    <a:pt x="37904" y="3558"/>
                  </a:lnTo>
                  <a:cubicBezTo>
                    <a:pt x="34877" y="-1186"/>
                    <a:pt x="27025" y="-1186"/>
                    <a:pt x="23998" y="3558"/>
                  </a:cubicBezTo>
                  <a:lnTo>
                    <a:pt x="4775" y="34315"/>
                  </a:lnTo>
                  <a:cubicBezTo>
                    <a:pt x="-1278" y="43967"/>
                    <a:pt x="-1605" y="55664"/>
                    <a:pt x="3957" y="65644"/>
                  </a:cubicBezTo>
                  <a:cubicBezTo>
                    <a:pt x="9438" y="75623"/>
                    <a:pt x="19581" y="81513"/>
                    <a:pt x="30951" y="81513"/>
                  </a:cubicBezTo>
                  <a:cubicBezTo>
                    <a:pt x="42321" y="81513"/>
                    <a:pt x="52382" y="75542"/>
                    <a:pt x="57945" y="65644"/>
                  </a:cubicBezTo>
                  <a:cubicBezTo>
                    <a:pt x="63425" y="55664"/>
                    <a:pt x="63180" y="43967"/>
                    <a:pt x="57127" y="34315"/>
                  </a:cubicBezTo>
                  <a:close/>
                  <a:moveTo>
                    <a:pt x="43630" y="57709"/>
                  </a:moveTo>
                  <a:cubicBezTo>
                    <a:pt x="41012" y="62372"/>
                    <a:pt x="36268" y="65153"/>
                    <a:pt x="30951" y="65153"/>
                  </a:cubicBezTo>
                  <a:cubicBezTo>
                    <a:pt x="25634" y="65153"/>
                    <a:pt x="20890" y="62372"/>
                    <a:pt x="18272" y="57709"/>
                  </a:cubicBezTo>
                  <a:cubicBezTo>
                    <a:pt x="15655" y="53047"/>
                    <a:pt x="15818" y="47566"/>
                    <a:pt x="18681" y="42985"/>
                  </a:cubicBezTo>
                  <a:lnTo>
                    <a:pt x="30951" y="23354"/>
                  </a:lnTo>
                  <a:lnTo>
                    <a:pt x="43221" y="42985"/>
                  </a:lnTo>
                  <a:cubicBezTo>
                    <a:pt x="46084" y="47484"/>
                    <a:pt x="46166" y="53047"/>
                    <a:pt x="43630" y="57709"/>
                  </a:cubicBezTo>
                  <a:close/>
                </a:path>
              </a:pathLst>
            </a:custGeom>
            <a:solidFill>
              <a:srgbClr val="000532"/>
            </a:solidFill>
            <a:ln w="8096" cap="flat">
              <a:noFill/>
              <a:prstDash val="solid"/>
              <a:miter/>
            </a:ln>
          </p:spPr>
          <p:txBody>
            <a:bodyPr rtlCol="0" anchor="ctr"/>
            <a:lstStyle/>
            <a:p>
              <a:endParaRPr lang="pt-BR"/>
            </a:p>
          </p:txBody>
        </p:sp>
        <p:sp>
          <p:nvSpPr>
            <p:cNvPr id="42" name="Forma Livre: Forma 41">
              <a:extLst>
                <a:ext uri="{FF2B5EF4-FFF2-40B4-BE49-F238E27FC236}">
                  <a16:creationId xmlns:a16="http://schemas.microsoft.com/office/drawing/2014/main" id="{39E6DB2C-9425-04F1-119C-7EDEAE7AA178}"/>
                </a:ext>
              </a:extLst>
            </p:cNvPr>
            <p:cNvSpPr/>
            <p:nvPr/>
          </p:nvSpPr>
          <p:spPr>
            <a:xfrm>
              <a:off x="5593667" y="1860655"/>
              <a:ext cx="98159" cy="98159"/>
            </a:xfrm>
            <a:custGeom>
              <a:avLst/>
              <a:gdLst>
                <a:gd name="connsiteX0" fmla="*/ 49080 w 98159"/>
                <a:gd name="connsiteY0" fmla="*/ 0 h 98159"/>
                <a:gd name="connsiteX1" fmla="*/ 0 w 98159"/>
                <a:gd name="connsiteY1" fmla="*/ 49080 h 98159"/>
                <a:gd name="connsiteX2" fmla="*/ 49080 w 98159"/>
                <a:gd name="connsiteY2" fmla="*/ 98159 h 98159"/>
                <a:gd name="connsiteX3" fmla="*/ 98159 w 98159"/>
                <a:gd name="connsiteY3" fmla="*/ 49080 h 98159"/>
                <a:gd name="connsiteX4" fmla="*/ 49080 w 98159"/>
                <a:gd name="connsiteY4" fmla="*/ 0 h 98159"/>
                <a:gd name="connsiteX5" fmla="*/ 49080 w 98159"/>
                <a:gd name="connsiteY5" fmla="*/ 81799 h 98159"/>
                <a:gd name="connsiteX6" fmla="*/ 16360 w 98159"/>
                <a:gd name="connsiteY6" fmla="*/ 49080 h 98159"/>
                <a:gd name="connsiteX7" fmla="*/ 49080 w 98159"/>
                <a:gd name="connsiteY7" fmla="*/ 16360 h 98159"/>
                <a:gd name="connsiteX8" fmla="*/ 81799 w 98159"/>
                <a:gd name="connsiteY8" fmla="*/ 49080 h 98159"/>
                <a:gd name="connsiteX9" fmla="*/ 49080 w 98159"/>
                <a:gd name="connsiteY9" fmla="*/ 81799 h 9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159" h="98159">
                  <a:moveTo>
                    <a:pt x="49080" y="0"/>
                  </a:moveTo>
                  <a:cubicBezTo>
                    <a:pt x="22004" y="0"/>
                    <a:pt x="0" y="22004"/>
                    <a:pt x="0" y="49080"/>
                  </a:cubicBezTo>
                  <a:cubicBezTo>
                    <a:pt x="0" y="76155"/>
                    <a:pt x="22004" y="98159"/>
                    <a:pt x="49080" y="98159"/>
                  </a:cubicBezTo>
                  <a:cubicBezTo>
                    <a:pt x="76155" y="98159"/>
                    <a:pt x="98159" y="76155"/>
                    <a:pt x="98159" y="49080"/>
                  </a:cubicBezTo>
                  <a:cubicBezTo>
                    <a:pt x="98159" y="22004"/>
                    <a:pt x="76155" y="0"/>
                    <a:pt x="49080" y="0"/>
                  </a:cubicBezTo>
                  <a:close/>
                  <a:moveTo>
                    <a:pt x="49080" y="81799"/>
                  </a:moveTo>
                  <a:cubicBezTo>
                    <a:pt x="31002" y="81799"/>
                    <a:pt x="16360" y="67157"/>
                    <a:pt x="16360" y="49080"/>
                  </a:cubicBezTo>
                  <a:cubicBezTo>
                    <a:pt x="16360" y="31002"/>
                    <a:pt x="31002" y="16360"/>
                    <a:pt x="49080" y="16360"/>
                  </a:cubicBezTo>
                  <a:cubicBezTo>
                    <a:pt x="67157" y="16360"/>
                    <a:pt x="81799" y="31002"/>
                    <a:pt x="81799" y="49080"/>
                  </a:cubicBezTo>
                  <a:cubicBezTo>
                    <a:pt x="81799" y="67157"/>
                    <a:pt x="67157" y="81799"/>
                    <a:pt x="49080" y="81799"/>
                  </a:cubicBezTo>
                  <a:close/>
                </a:path>
              </a:pathLst>
            </a:custGeom>
            <a:solidFill>
              <a:schemeClr val="accent1"/>
            </a:solidFill>
            <a:ln w="8096" cap="flat">
              <a:noFill/>
              <a:prstDash val="solid"/>
              <a:miter/>
            </a:ln>
          </p:spPr>
          <p:txBody>
            <a:bodyPr rtlCol="0" anchor="ctr"/>
            <a:lstStyle/>
            <a:p>
              <a:endParaRPr lang="pt-BR"/>
            </a:p>
          </p:txBody>
        </p:sp>
        <p:sp>
          <p:nvSpPr>
            <p:cNvPr id="43" name="Forma Livre: Forma 42">
              <a:extLst>
                <a:ext uri="{FF2B5EF4-FFF2-40B4-BE49-F238E27FC236}">
                  <a16:creationId xmlns:a16="http://schemas.microsoft.com/office/drawing/2014/main" id="{A43A505E-58A4-6EDE-FE2C-571F8BF234BA}"/>
                </a:ext>
              </a:extLst>
            </p:cNvPr>
            <p:cNvSpPr/>
            <p:nvPr/>
          </p:nvSpPr>
          <p:spPr>
            <a:xfrm>
              <a:off x="5847244" y="1991533"/>
              <a:ext cx="65439" cy="65439"/>
            </a:xfrm>
            <a:custGeom>
              <a:avLst/>
              <a:gdLst>
                <a:gd name="connsiteX0" fmla="*/ 32720 w 65439"/>
                <a:gd name="connsiteY0" fmla="*/ 0 h 65439"/>
                <a:gd name="connsiteX1" fmla="*/ 0 w 65439"/>
                <a:gd name="connsiteY1" fmla="*/ 32720 h 65439"/>
                <a:gd name="connsiteX2" fmla="*/ 32720 w 65439"/>
                <a:gd name="connsiteY2" fmla="*/ 65439 h 65439"/>
                <a:gd name="connsiteX3" fmla="*/ 65439 w 65439"/>
                <a:gd name="connsiteY3" fmla="*/ 32720 h 65439"/>
                <a:gd name="connsiteX4" fmla="*/ 32720 w 65439"/>
                <a:gd name="connsiteY4" fmla="*/ 0 h 65439"/>
                <a:gd name="connsiteX5" fmla="*/ 32720 w 65439"/>
                <a:gd name="connsiteY5" fmla="*/ 49080 h 65439"/>
                <a:gd name="connsiteX6" fmla="*/ 16360 w 65439"/>
                <a:gd name="connsiteY6" fmla="*/ 32720 h 65439"/>
                <a:gd name="connsiteX7" fmla="*/ 32720 w 65439"/>
                <a:gd name="connsiteY7" fmla="*/ 16360 h 65439"/>
                <a:gd name="connsiteX8" fmla="*/ 49080 w 65439"/>
                <a:gd name="connsiteY8" fmla="*/ 32720 h 65439"/>
                <a:gd name="connsiteX9" fmla="*/ 32720 w 65439"/>
                <a:gd name="connsiteY9" fmla="*/ 49080 h 6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439" h="65439">
                  <a:moveTo>
                    <a:pt x="32720" y="0"/>
                  </a:moveTo>
                  <a:cubicBezTo>
                    <a:pt x="14642" y="0"/>
                    <a:pt x="0" y="14642"/>
                    <a:pt x="0" y="32720"/>
                  </a:cubicBezTo>
                  <a:cubicBezTo>
                    <a:pt x="0" y="50797"/>
                    <a:pt x="14642" y="65439"/>
                    <a:pt x="32720" y="65439"/>
                  </a:cubicBezTo>
                  <a:cubicBezTo>
                    <a:pt x="50797" y="65439"/>
                    <a:pt x="65439" y="50797"/>
                    <a:pt x="65439" y="32720"/>
                  </a:cubicBezTo>
                  <a:cubicBezTo>
                    <a:pt x="65439" y="14642"/>
                    <a:pt x="50797" y="0"/>
                    <a:pt x="32720" y="0"/>
                  </a:cubicBezTo>
                  <a:close/>
                  <a:moveTo>
                    <a:pt x="32720" y="49080"/>
                  </a:moveTo>
                  <a:cubicBezTo>
                    <a:pt x="23722" y="49080"/>
                    <a:pt x="16360" y="41718"/>
                    <a:pt x="16360" y="32720"/>
                  </a:cubicBezTo>
                  <a:cubicBezTo>
                    <a:pt x="16360" y="23722"/>
                    <a:pt x="23722" y="16360"/>
                    <a:pt x="32720" y="16360"/>
                  </a:cubicBezTo>
                  <a:cubicBezTo>
                    <a:pt x="41718" y="16360"/>
                    <a:pt x="49080" y="23722"/>
                    <a:pt x="49080" y="32720"/>
                  </a:cubicBezTo>
                  <a:cubicBezTo>
                    <a:pt x="49080" y="41718"/>
                    <a:pt x="41718" y="49080"/>
                    <a:pt x="32720" y="49080"/>
                  </a:cubicBezTo>
                  <a:close/>
                </a:path>
              </a:pathLst>
            </a:custGeom>
            <a:solidFill>
              <a:schemeClr val="accent1"/>
            </a:solidFill>
            <a:ln w="8096" cap="flat">
              <a:noFill/>
              <a:prstDash val="solid"/>
              <a:miter/>
            </a:ln>
          </p:spPr>
          <p:txBody>
            <a:bodyPr rtlCol="0" anchor="ctr"/>
            <a:lstStyle/>
            <a:p>
              <a:endParaRPr lang="pt-BR"/>
            </a:p>
          </p:txBody>
        </p:sp>
        <p:sp>
          <p:nvSpPr>
            <p:cNvPr id="44" name="Forma Livre: Forma 43">
              <a:extLst>
                <a:ext uri="{FF2B5EF4-FFF2-40B4-BE49-F238E27FC236}">
                  <a16:creationId xmlns:a16="http://schemas.microsoft.com/office/drawing/2014/main" id="{1DC39F31-CF1C-0F6A-E9B1-6363D03EE191}"/>
                </a:ext>
              </a:extLst>
            </p:cNvPr>
            <p:cNvSpPr/>
            <p:nvPr/>
          </p:nvSpPr>
          <p:spPr>
            <a:xfrm>
              <a:off x="5920863" y="1860655"/>
              <a:ext cx="49079" cy="49079"/>
            </a:xfrm>
            <a:custGeom>
              <a:avLst/>
              <a:gdLst>
                <a:gd name="connsiteX0" fmla="*/ 32720 w 49079"/>
                <a:gd name="connsiteY0" fmla="*/ 16360 h 49079"/>
                <a:gd name="connsiteX1" fmla="*/ 32720 w 49079"/>
                <a:gd name="connsiteY1" fmla="*/ 0 h 49079"/>
                <a:gd name="connsiteX2" fmla="*/ 16360 w 49079"/>
                <a:gd name="connsiteY2" fmla="*/ 0 h 49079"/>
                <a:gd name="connsiteX3" fmla="*/ 16360 w 49079"/>
                <a:gd name="connsiteY3" fmla="*/ 16360 h 49079"/>
                <a:gd name="connsiteX4" fmla="*/ 0 w 49079"/>
                <a:gd name="connsiteY4" fmla="*/ 16360 h 49079"/>
                <a:gd name="connsiteX5" fmla="*/ 0 w 49079"/>
                <a:gd name="connsiteY5" fmla="*/ 32720 h 49079"/>
                <a:gd name="connsiteX6" fmla="*/ 16360 w 49079"/>
                <a:gd name="connsiteY6" fmla="*/ 32720 h 49079"/>
                <a:gd name="connsiteX7" fmla="*/ 16360 w 49079"/>
                <a:gd name="connsiteY7" fmla="*/ 49080 h 49079"/>
                <a:gd name="connsiteX8" fmla="*/ 32720 w 49079"/>
                <a:gd name="connsiteY8" fmla="*/ 49080 h 49079"/>
                <a:gd name="connsiteX9" fmla="*/ 32720 w 49079"/>
                <a:gd name="connsiteY9" fmla="*/ 32720 h 49079"/>
                <a:gd name="connsiteX10" fmla="*/ 49080 w 49079"/>
                <a:gd name="connsiteY10" fmla="*/ 32720 h 49079"/>
                <a:gd name="connsiteX11" fmla="*/ 49080 w 49079"/>
                <a:gd name="connsiteY11" fmla="*/ 16360 h 49079"/>
                <a:gd name="connsiteX12" fmla="*/ 32720 w 49079"/>
                <a:gd name="connsiteY12" fmla="*/ 16360 h 4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79" h="49079">
                  <a:moveTo>
                    <a:pt x="32720" y="16360"/>
                  </a:moveTo>
                  <a:lnTo>
                    <a:pt x="32720" y="0"/>
                  </a:lnTo>
                  <a:lnTo>
                    <a:pt x="16360" y="0"/>
                  </a:lnTo>
                  <a:lnTo>
                    <a:pt x="16360" y="16360"/>
                  </a:lnTo>
                  <a:lnTo>
                    <a:pt x="0" y="16360"/>
                  </a:lnTo>
                  <a:lnTo>
                    <a:pt x="0" y="32720"/>
                  </a:lnTo>
                  <a:lnTo>
                    <a:pt x="16360" y="32720"/>
                  </a:lnTo>
                  <a:lnTo>
                    <a:pt x="16360" y="49080"/>
                  </a:lnTo>
                  <a:lnTo>
                    <a:pt x="32720" y="49080"/>
                  </a:lnTo>
                  <a:lnTo>
                    <a:pt x="32720" y="32720"/>
                  </a:lnTo>
                  <a:lnTo>
                    <a:pt x="49080" y="32720"/>
                  </a:lnTo>
                  <a:lnTo>
                    <a:pt x="49080" y="16360"/>
                  </a:lnTo>
                  <a:lnTo>
                    <a:pt x="32720" y="16360"/>
                  </a:lnTo>
                  <a:close/>
                </a:path>
              </a:pathLst>
            </a:custGeom>
            <a:solidFill>
              <a:srgbClr val="000532"/>
            </a:solidFill>
            <a:ln w="8096" cap="flat">
              <a:noFill/>
              <a:prstDash val="solid"/>
              <a:miter/>
            </a:ln>
          </p:spPr>
          <p:txBody>
            <a:bodyPr rtlCol="0" anchor="ctr"/>
            <a:lstStyle/>
            <a:p>
              <a:endParaRPr lang="pt-BR"/>
            </a:p>
          </p:txBody>
        </p:sp>
        <p:sp>
          <p:nvSpPr>
            <p:cNvPr id="45" name="Forma Livre: Forma 44">
              <a:extLst>
                <a:ext uri="{FF2B5EF4-FFF2-40B4-BE49-F238E27FC236}">
                  <a16:creationId xmlns:a16="http://schemas.microsoft.com/office/drawing/2014/main" id="{DE71EFEF-88D4-39A9-276F-52BE2B0806FB}"/>
                </a:ext>
              </a:extLst>
            </p:cNvPr>
            <p:cNvSpPr/>
            <p:nvPr/>
          </p:nvSpPr>
          <p:spPr>
            <a:xfrm>
              <a:off x="5776324" y="1860511"/>
              <a:ext cx="79427" cy="79324"/>
            </a:xfrm>
            <a:custGeom>
              <a:avLst/>
              <a:gdLst>
                <a:gd name="connsiteX0" fmla="*/ 11534 w 79427"/>
                <a:gd name="connsiteY0" fmla="*/ 38507 h 79324"/>
                <a:gd name="connsiteX1" fmla="*/ 27648 w 79427"/>
                <a:gd name="connsiteY1" fmla="*/ 22556 h 79324"/>
                <a:gd name="connsiteX2" fmla="*/ 57014 w 79427"/>
                <a:gd name="connsiteY2" fmla="*/ 22556 h 79324"/>
                <a:gd name="connsiteX3" fmla="*/ 63067 w 79427"/>
                <a:gd name="connsiteY3" fmla="*/ 37198 h 79324"/>
                <a:gd name="connsiteX4" fmla="*/ 57014 w 79427"/>
                <a:gd name="connsiteY4" fmla="*/ 51840 h 79324"/>
                <a:gd name="connsiteX5" fmla="*/ 40900 w 79427"/>
                <a:gd name="connsiteY5" fmla="*/ 67791 h 79324"/>
                <a:gd name="connsiteX6" fmla="*/ 52433 w 79427"/>
                <a:gd name="connsiteY6" fmla="*/ 79325 h 79324"/>
                <a:gd name="connsiteX7" fmla="*/ 68548 w 79427"/>
                <a:gd name="connsiteY7" fmla="*/ 63374 h 79324"/>
                <a:gd name="connsiteX8" fmla="*/ 79427 w 79427"/>
                <a:gd name="connsiteY8" fmla="*/ 37116 h 79324"/>
                <a:gd name="connsiteX9" fmla="*/ 68548 w 79427"/>
                <a:gd name="connsiteY9" fmla="*/ 10859 h 79324"/>
                <a:gd name="connsiteX10" fmla="*/ 16114 w 79427"/>
                <a:gd name="connsiteY10" fmla="*/ 10859 h 79324"/>
                <a:gd name="connsiteX11" fmla="*/ 0 w 79427"/>
                <a:gd name="connsiteY11" fmla="*/ 26810 h 79324"/>
                <a:gd name="connsiteX12" fmla="*/ 11534 w 79427"/>
                <a:gd name="connsiteY12" fmla="*/ 38343 h 7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427" h="79324">
                  <a:moveTo>
                    <a:pt x="11534" y="38507"/>
                  </a:moveTo>
                  <a:lnTo>
                    <a:pt x="27648" y="22556"/>
                  </a:lnTo>
                  <a:cubicBezTo>
                    <a:pt x="35746" y="14458"/>
                    <a:pt x="48916" y="14458"/>
                    <a:pt x="57014" y="22556"/>
                  </a:cubicBezTo>
                  <a:cubicBezTo>
                    <a:pt x="60940" y="26482"/>
                    <a:pt x="63067" y="31718"/>
                    <a:pt x="63067" y="37198"/>
                  </a:cubicBezTo>
                  <a:cubicBezTo>
                    <a:pt x="63067" y="42761"/>
                    <a:pt x="60940" y="47914"/>
                    <a:pt x="57014" y="51840"/>
                  </a:cubicBezTo>
                  <a:lnTo>
                    <a:pt x="40900" y="67791"/>
                  </a:lnTo>
                  <a:lnTo>
                    <a:pt x="52433" y="79325"/>
                  </a:lnTo>
                  <a:lnTo>
                    <a:pt x="68548" y="63374"/>
                  </a:lnTo>
                  <a:cubicBezTo>
                    <a:pt x="75582" y="56339"/>
                    <a:pt x="79427" y="47096"/>
                    <a:pt x="79427" y="37116"/>
                  </a:cubicBezTo>
                  <a:cubicBezTo>
                    <a:pt x="79427" y="27137"/>
                    <a:pt x="75582" y="17894"/>
                    <a:pt x="68548" y="10859"/>
                  </a:cubicBezTo>
                  <a:cubicBezTo>
                    <a:pt x="54069" y="-3620"/>
                    <a:pt x="30593" y="-3620"/>
                    <a:pt x="16114" y="10859"/>
                  </a:cubicBezTo>
                  <a:lnTo>
                    <a:pt x="0" y="26810"/>
                  </a:lnTo>
                  <a:lnTo>
                    <a:pt x="11534" y="38343"/>
                  </a:lnTo>
                  <a:close/>
                </a:path>
              </a:pathLst>
            </a:custGeom>
            <a:solidFill>
              <a:srgbClr val="000532"/>
            </a:solidFill>
            <a:ln w="8096" cap="flat">
              <a:noFill/>
              <a:prstDash val="solid"/>
              <a:miter/>
            </a:ln>
          </p:spPr>
          <p:txBody>
            <a:bodyPr rtlCol="0" anchor="ctr"/>
            <a:lstStyle/>
            <a:p>
              <a:endParaRPr lang="pt-BR"/>
            </a:p>
          </p:txBody>
        </p:sp>
        <p:sp>
          <p:nvSpPr>
            <p:cNvPr id="48" name="Forma Livre: Forma 47">
              <a:extLst>
                <a:ext uri="{FF2B5EF4-FFF2-40B4-BE49-F238E27FC236}">
                  <a16:creationId xmlns:a16="http://schemas.microsoft.com/office/drawing/2014/main" id="{911B40EB-12A1-D4FB-C24B-B7B43E286108}"/>
                </a:ext>
              </a:extLst>
            </p:cNvPr>
            <p:cNvSpPr/>
            <p:nvPr/>
          </p:nvSpPr>
          <p:spPr>
            <a:xfrm rot="17794200">
              <a:off x="5640759" y="2228826"/>
              <a:ext cx="36564" cy="16359"/>
            </a:xfrm>
            <a:custGeom>
              <a:avLst/>
              <a:gdLst>
                <a:gd name="connsiteX0" fmla="*/ 0 w 36564"/>
                <a:gd name="connsiteY0" fmla="*/ 0 h 16359"/>
                <a:gd name="connsiteX1" fmla="*/ 36564 w 36564"/>
                <a:gd name="connsiteY1" fmla="*/ 0 h 16359"/>
                <a:gd name="connsiteX2" fmla="*/ 36564 w 36564"/>
                <a:gd name="connsiteY2" fmla="*/ 16360 h 16359"/>
                <a:gd name="connsiteX3" fmla="*/ 0 w 36564"/>
                <a:gd name="connsiteY3" fmla="*/ 16360 h 16359"/>
              </a:gdLst>
              <a:ahLst/>
              <a:cxnLst>
                <a:cxn ang="0">
                  <a:pos x="connsiteX0" y="connsiteY0"/>
                </a:cxn>
                <a:cxn ang="0">
                  <a:pos x="connsiteX1" y="connsiteY1"/>
                </a:cxn>
                <a:cxn ang="0">
                  <a:pos x="connsiteX2" y="connsiteY2"/>
                </a:cxn>
                <a:cxn ang="0">
                  <a:pos x="connsiteX3" y="connsiteY3"/>
                </a:cxn>
              </a:cxnLst>
              <a:rect l="l" t="t" r="r" b="b"/>
              <a:pathLst>
                <a:path w="36564" h="16359">
                  <a:moveTo>
                    <a:pt x="0" y="0"/>
                  </a:moveTo>
                  <a:lnTo>
                    <a:pt x="36564" y="0"/>
                  </a:lnTo>
                  <a:lnTo>
                    <a:pt x="36564" y="16360"/>
                  </a:lnTo>
                  <a:lnTo>
                    <a:pt x="0" y="16360"/>
                  </a:lnTo>
                  <a:close/>
                </a:path>
              </a:pathLst>
            </a:custGeom>
            <a:solidFill>
              <a:srgbClr val="000532"/>
            </a:solidFill>
            <a:ln w="8096" cap="flat">
              <a:noFill/>
              <a:prstDash val="solid"/>
              <a:miter/>
            </a:ln>
          </p:spPr>
          <p:txBody>
            <a:bodyPr rtlCol="0" anchor="ctr"/>
            <a:lstStyle/>
            <a:p>
              <a:endParaRPr lang="pt-BR"/>
            </a:p>
          </p:txBody>
        </p:sp>
        <p:sp>
          <p:nvSpPr>
            <p:cNvPr id="50" name="Forma Livre: Forma 49">
              <a:extLst>
                <a:ext uri="{FF2B5EF4-FFF2-40B4-BE49-F238E27FC236}">
                  <a16:creationId xmlns:a16="http://schemas.microsoft.com/office/drawing/2014/main" id="{D687FAD5-D9A2-F0E0-373D-C464C4B48959}"/>
                </a:ext>
              </a:extLst>
            </p:cNvPr>
            <p:cNvSpPr/>
            <p:nvPr/>
          </p:nvSpPr>
          <p:spPr>
            <a:xfrm rot="17794200">
              <a:off x="5629479" y="2269709"/>
              <a:ext cx="18323" cy="16359"/>
            </a:xfrm>
            <a:custGeom>
              <a:avLst/>
              <a:gdLst>
                <a:gd name="connsiteX0" fmla="*/ 0 w 18323"/>
                <a:gd name="connsiteY0" fmla="*/ 0 h 16359"/>
                <a:gd name="connsiteX1" fmla="*/ 18323 w 18323"/>
                <a:gd name="connsiteY1" fmla="*/ 0 h 16359"/>
                <a:gd name="connsiteX2" fmla="*/ 18323 w 18323"/>
                <a:gd name="connsiteY2" fmla="*/ 16360 h 16359"/>
                <a:gd name="connsiteX3" fmla="*/ 0 w 18323"/>
                <a:gd name="connsiteY3" fmla="*/ 16360 h 16359"/>
              </a:gdLst>
              <a:ahLst/>
              <a:cxnLst>
                <a:cxn ang="0">
                  <a:pos x="connsiteX0" y="connsiteY0"/>
                </a:cxn>
                <a:cxn ang="0">
                  <a:pos x="connsiteX1" y="connsiteY1"/>
                </a:cxn>
                <a:cxn ang="0">
                  <a:pos x="connsiteX2" y="connsiteY2"/>
                </a:cxn>
                <a:cxn ang="0">
                  <a:pos x="connsiteX3" y="connsiteY3"/>
                </a:cxn>
              </a:cxnLst>
              <a:rect l="l" t="t" r="r" b="b"/>
              <a:pathLst>
                <a:path w="18323" h="16359">
                  <a:moveTo>
                    <a:pt x="0" y="0"/>
                  </a:moveTo>
                  <a:lnTo>
                    <a:pt x="18323" y="0"/>
                  </a:lnTo>
                  <a:lnTo>
                    <a:pt x="18323" y="16360"/>
                  </a:lnTo>
                  <a:lnTo>
                    <a:pt x="0" y="16360"/>
                  </a:lnTo>
                  <a:close/>
                </a:path>
              </a:pathLst>
            </a:custGeom>
            <a:solidFill>
              <a:srgbClr val="000532"/>
            </a:solidFill>
            <a:ln w="8096" cap="flat">
              <a:noFill/>
              <a:prstDash val="solid"/>
              <a:miter/>
            </a:ln>
          </p:spPr>
          <p:txBody>
            <a:bodyPr rtlCol="0" anchor="ctr"/>
            <a:lstStyle/>
            <a:p>
              <a:endParaRPr lang="pt-BR"/>
            </a:p>
          </p:txBody>
        </p:sp>
        <p:sp>
          <p:nvSpPr>
            <p:cNvPr id="54" name="Forma Livre: Forma 53">
              <a:extLst>
                <a:ext uri="{FF2B5EF4-FFF2-40B4-BE49-F238E27FC236}">
                  <a16:creationId xmlns:a16="http://schemas.microsoft.com/office/drawing/2014/main" id="{DC509A4C-3B13-CFB2-09C3-64C1B441386D}"/>
                </a:ext>
              </a:extLst>
            </p:cNvPr>
            <p:cNvSpPr/>
            <p:nvPr/>
          </p:nvSpPr>
          <p:spPr>
            <a:xfrm>
              <a:off x="5588229" y="2016073"/>
              <a:ext cx="272551" cy="335212"/>
            </a:xfrm>
            <a:custGeom>
              <a:avLst/>
              <a:gdLst>
                <a:gd name="connsiteX0" fmla="*/ 268504 w 272551"/>
                <a:gd name="connsiteY0" fmla="*/ 276808 h 335212"/>
                <a:gd name="connsiteX1" fmla="*/ 240774 w 272551"/>
                <a:gd name="connsiteY1" fmla="*/ 218813 h 335212"/>
                <a:gd name="connsiteX2" fmla="*/ 240774 w 272551"/>
                <a:gd name="connsiteY2" fmla="*/ 218976 h 335212"/>
                <a:gd name="connsiteX3" fmla="*/ 211654 w 272551"/>
                <a:gd name="connsiteY3" fmla="*/ 157872 h 335212"/>
                <a:gd name="connsiteX4" fmla="*/ 201756 w 272551"/>
                <a:gd name="connsiteY4" fmla="*/ 137177 h 335212"/>
                <a:gd name="connsiteX5" fmla="*/ 201756 w 272551"/>
                <a:gd name="connsiteY5" fmla="*/ 47689 h 335212"/>
                <a:gd name="connsiteX6" fmla="*/ 218116 w 272551"/>
                <a:gd name="connsiteY6" fmla="*/ 24540 h 335212"/>
                <a:gd name="connsiteX7" fmla="*/ 193576 w 272551"/>
                <a:gd name="connsiteY7" fmla="*/ 0 h 335212"/>
                <a:gd name="connsiteX8" fmla="*/ 79057 w 272551"/>
                <a:gd name="connsiteY8" fmla="*/ 0 h 335212"/>
                <a:gd name="connsiteX9" fmla="*/ 54517 w 272551"/>
                <a:gd name="connsiteY9" fmla="*/ 24540 h 335212"/>
                <a:gd name="connsiteX10" fmla="*/ 70877 w 272551"/>
                <a:gd name="connsiteY10" fmla="*/ 47689 h 335212"/>
                <a:gd name="connsiteX11" fmla="*/ 70877 w 272551"/>
                <a:gd name="connsiteY11" fmla="*/ 137177 h 335212"/>
                <a:gd name="connsiteX12" fmla="*/ 66869 w 272551"/>
                <a:gd name="connsiteY12" fmla="*/ 145521 h 335212"/>
                <a:gd name="connsiteX13" fmla="*/ 66869 w 272551"/>
                <a:gd name="connsiteY13" fmla="*/ 144703 h 335212"/>
                <a:gd name="connsiteX14" fmla="*/ 37667 w 272551"/>
                <a:gd name="connsiteY14" fmla="*/ 206052 h 335212"/>
                <a:gd name="connsiteX15" fmla="*/ 37667 w 272551"/>
                <a:gd name="connsiteY15" fmla="*/ 206216 h 335212"/>
                <a:gd name="connsiteX16" fmla="*/ 4047 w 272551"/>
                <a:gd name="connsiteY16" fmla="*/ 276727 h 335212"/>
                <a:gd name="connsiteX17" fmla="*/ 6338 w 272551"/>
                <a:gd name="connsiteY17" fmla="*/ 316154 h 335212"/>
                <a:gd name="connsiteX18" fmla="*/ 40939 w 272551"/>
                <a:gd name="connsiteY18" fmla="*/ 335213 h 335212"/>
                <a:gd name="connsiteX19" fmla="*/ 231613 w 272551"/>
                <a:gd name="connsiteY19" fmla="*/ 335213 h 335212"/>
                <a:gd name="connsiteX20" fmla="*/ 266214 w 272551"/>
                <a:gd name="connsiteY20" fmla="*/ 316154 h 335212"/>
                <a:gd name="connsiteX21" fmla="*/ 268504 w 272551"/>
                <a:gd name="connsiteY21" fmla="*/ 276727 h 335212"/>
                <a:gd name="connsiteX22" fmla="*/ 252390 w 272551"/>
                <a:gd name="connsiteY22" fmla="*/ 307565 h 335212"/>
                <a:gd name="connsiteX23" fmla="*/ 231613 w 272551"/>
                <a:gd name="connsiteY23" fmla="*/ 319017 h 335212"/>
                <a:gd name="connsiteX24" fmla="*/ 40939 w 272551"/>
                <a:gd name="connsiteY24" fmla="*/ 319017 h 335212"/>
                <a:gd name="connsiteX25" fmla="*/ 20162 w 272551"/>
                <a:gd name="connsiteY25" fmla="*/ 307565 h 335212"/>
                <a:gd name="connsiteX26" fmla="*/ 16481 w 272551"/>
                <a:gd name="connsiteY26" fmla="*/ 294477 h 335212"/>
                <a:gd name="connsiteX27" fmla="*/ 16890 w 272551"/>
                <a:gd name="connsiteY27" fmla="*/ 294477 h 335212"/>
                <a:gd name="connsiteX28" fmla="*/ 21634 w 272551"/>
                <a:gd name="connsiteY28" fmla="*/ 278117 h 335212"/>
                <a:gd name="connsiteX29" fmla="*/ 21470 w 272551"/>
                <a:gd name="connsiteY29" fmla="*/ 278117 h 335212"/>
                <a:gd name="connsiteX30" fmla="*/ 86255 w 272551"/>
                <a:gd name="connsiteY30" fmla="*/ 142576 h 335212"/>
                <a:gd name="connsiteX31" fmla="*/ 87073 w 272551"/>
                <a:gd name="connsiteY31" fmla="*/ 139059 h 335212"/>
                <a:gd name="connsiteX32" fmla="*/ 87073 w 272551"/>
                <a:gd name="connsiteY32" fmla="*/ 49080 h 335212"/>
                <a:gd name="connsiteX33" fmla="*/ 111613 w 272551"/>
                <a:gd name="connsiteY33" fmla="*/ 49080 h 335212"/>
                <a:gd name="connsiteX34" fmla="*/ 111613 w 272551"/>
                <a:gd name="connsiteY34" fmla="*/ 32720 h 335212"/>
                <a:gd name="connsiteX35" fmla="*/ 78893 w 272551"/>
                <a:gd name="connsiteY35" fmla="*/ 32720 h 335212"/>
                <a:gd name="connsiteX36" fmla="*/ 70714 w 272551"/>
                <a:gd name="connsiteY36" fmla="*/ 24540 h 335212"/>
                <a:gd name="connsiteX37" fmla="*/ 78893 w 272551"/>
                <a:gd name="connsiteY37" fmla="*/ 16360 h 335212"/>
                <a:gd name="connsiteX38" fmla="*/ 193412 w 272551"/>
                <a:gd name="connsiteY38" fmla="*/ 16360 h 335212"/>
                <a:gd name="connsiteX39" fmla="*/ 201592 w 272551"/>
                <a:gd name="connsiteY39" fmla="*/ 24540 h 335212"/>
                <a:gd name="connsiteX40" fmla="*/ 193412 w 272551"/>
                <a:gd name="connsiteY40" fmla="*/ 32720 h 335212"/>
                <a:gd name="connsiteX41" fmla="*/ 160693 w 272551"/>
                <a:gd name="connsiteY41" fmla="*/ 32720 h 335212"/>
                <a:gd name="connsiteX42" fmla="*/ 160693 w 272551"/>
                <a:gd name="connsiteY42" fmla="*/ 49080 h 335212"/>
                <a:gd name="connsiteX43" fmla="*/ 185232 w 272551"/>
                <a:gd name="connsiteY43" fmla="*/ 49080 h 335212"/>
                <a:gd name="connsiteX44" fmla="*/ 185232 w 272551"/>
                <a:gd name="connsiteY44" fmla="*/ 139059 h 335212"/>
                <a:gd name="connsiteX45" fmla="*/ 186050 w 272551"/>
                <a:gd name="connsiteY45" fmla="*/ 142576 h 335212"/>
                <a:gd name="connsiteX46" fmla="*/ 250017 w 272551"/>
                <a:gd name="connsiteY46" fmla="*/ 276318 h 335212"/>
                <a:gd name="connsiteX47" fmla="*/ 255661 w 272551"/>
                <a:gd name="connsiteY47" fmla="*/ 294477 h 335212"/>
                <a:gd name="connsiteX48" fmla="*/ 255907 w 272551"/>
                <a:gd name="connsiteY48" fmla="*/ 294477 h 335212"/>
                <a:gd name="connsiteX49" fmla="*/ 252226 w 272551"/>
                <a:gd name="connsiteY49" fmla="*/ 307565 h 3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72551" h="335212">
                  <a:moveTo>
                    <a:pt x="268504" y="276808"/>
                  </a:moveTo>
                  <a:lnTo>
                    <a:pt x="240774" y="218813"/>
                  </a:lnTo>
                  <a:lnTo>
                    <a:pt x="240774" y="218976"/>
                  </a:lnTo>
                  <a:lnTo>
                    <a:pt x="211654" y="157872"/>
                  </a:lnTo>
                  <a:lnTo>
                    <a:pt x="201756" y="137177"/>
                  </a:lnTo>
                  <a:lnTo>
                    <a:pt x="201756" y="47689"/>
                  </a:lnTo>
                  <a:cubicBezTo>
                    <a:pt x="211245" y="44335"/>
                    <a:pt x="218116" y="35174"/>
                    <a:pt x="218116" y="24540"/>
                  </a:cubicBezTo>
                  <a:cubicBezTo>
                    <a:pt x="218116" y="11043"/>
                    <a:pt x="207073" y="0"/>
                    <a:pt x="193576" y="0"/>
                  </a:cubicBezTo>
                  <a:lnTo>
                    <a:pt x="79057" y="0"/>
                  </a:lnTo>
                  <a:cubicBezTo>
                    <a:pt x="65560" y="0"/>
                    <a:pt x="54517" y="11043"/>
                    <a:pt x="54517" y="24540"/>
                  </a:cubicBezTo>
                  <a:cubicBezTo>
                    <a:pt x="54517" y="35174"/>
                    <a:pt x="61388" y="44335"/>
                    <a:pt x="70877" y="47689"/>
                  </a:cubicBezTo>
                  <a:lnTo>
                    <a:pt x="70877" y="137177"/>
                  </a:lnTo>
                  <a:lnTo>
                    <a:pt x="66869" y="145521"/>
                  </a:lnTo>
                  <a:cubicBezTo>
                    <a:pt x="66869" y="145521"/>
                    <a:pt x="66869" y="144948"/>
                    <a:pt x="66869" y="144703"/>
                  </a:cubicBezTo>
                  <a:lnTo>
                    <a:pt x="37667" y="206052"/>
                  </a:lnTo>
                  <a:lnTo>
                    <a:pt x="37667" y="206216"/>
                  </a:lnTo>
                  <a:lnTo>
                    <a:pt x="4047" y="276727"/>
                  </a:lnTo>
                  <a:cubicBezTo>
                    <a:pt x="-2088" y="289487"/>
                    <a:pt x="-1188" y="304211"/>
                    <a:pt x="6338" y="316154"/>
                  </a:cubicBezTo>
                  <a:cubicBezTo>
                    <a:pt x="13863" y="328096"/>
                    <a:pt x="26787" y="335213"/>
                    <a:pt x="40939" y="335213"/>
                  </a:cubicBezTo>
                  <a:lnTo>
                    <a:pt x="231613" y="335213"/>
                  </a:lnTo>
                  <a:cubicBezTo>
                    <a:pt x="245764" y="335213"/>
                    <a:pt x="258688" y="328096"/>
                    <a:pt x="266214" y="316154"/>
                  </a:cubicBezTo>
                  <a:cubicBezTo>
                    <a:pt x="273739" y="304211"/>
                    <a:pt x="274639" y="289487"/>
                    <a:pt x="268504" y="276727"/>
                  </a:cubicBezTo>
                  <a:close/>
                  <a:moveTo>
                    <a:pt x="252390" y="307565"/>
                  </a:moveTo>
                  <a:cubicBezTo>
                    <a:pt x="247891" y="314763"/>
                    <a:pt x="240120" y="319017"/>
                    <a:pt x="231613" y="319017"/>
                  </a:cubicBezTo>
                  <a:lnTo>
                    <a:pt x="40939" y="319017"/>
                  </a:lnTo>
                  <a:cubicBezTo>
                    <a:pt x="32432" y="319017"/>
                    <a:pt x="24661" y="314763"/>
                    <a:pt x="20162" y="307565"/>
                  </a:cubicBezTo>
                  <a:cubicBezTo>
                    <a:pt x="17626" y="303557"/>
                    <a:pt x="16481" y="299058"/>
                    <a:pt x="16481" y="294477"/>
                  </a:cubicBezTo>
                  <a:lnTo>
                    <a:pt x="16890" y="294477"/>
                  </a:lnTo>
                  <a:cubicBezTo>
                    <a:pt x="16890" y="289078"/>
                    <a:pt x="19507" y="282616"/>
                    <a:pt x="21634" y="278117"/>
                  </a:cubicBezTo>
                  <a:lnTo>
                    <a:pt x="21470" y="278117"/>
                  </a:lnTo>
                  <a:lnTo>
                    <a:pt x="86255" y="142576"/>
                  </a:lnTo>
                  <a:cubicBezTo>
                    <a:pt x="86746" y="141513"/>
                    <a:pt x="87073" y="140286"/>
                    <a:pt x="87073" y="139059"/>
                  </a:cubicBezTo>
                  <a:lnTo>
                    <a:pt x="87073" y="49080"/>
                  </a:lnTo>
                  <a:lnTo>
                    <a:pt x="111613" y="49080"/>
                  </a:lnTo>
                  <a:lnTo>
                    <a:pt x="111613" y="32720"/>
                  </a:lnTo>
                  <a:lnTo>
                    <a:pt x="78893" y="32720"/>
                  </a:lnTo>
                  <a:cubicBezTo>
                    <a:pt x="74395" y="32720"/>
                    <a:pt x="70714" y="29039"/>
                    <a:pt x="70714" y="24540"/>
                  </a:cubicBezTo>
                  <a:cubicBezTo>
                    <a:pt x="70714" y="20041"/>
                    <a:pt x="74395" y="16360"/>
                    <a:pt x="78893" y="16360"/>
                  </a:cubicBezTo>
                  <a:lnTo>
                    <a:pt x="193412" y="16360"/>
                  </a:lnTo>
                  <a:cubicBezTo>
                    <a:pt x="197911" y="16360"/>
                    <a:pt x="201592" y="20041"/>
                    <a:pt x="201592" y="24540"/>
                  </a:cubicBezTo>
                  <a:cubicBezTo>
                    <a:pt x="201592" y="29039"/>
                    <a:pt x="197911" y="32720"/>
                    <a:pt x="193412" y="32720"/>
                  </a:cubicBezTo>
                  <a:lnTo>
                    <a:pt x="160693" y="32720"/>
                  </a:lnTo>
                  <a:lnTo>
                    <a:pt x="160693" y="49080"/>
                  </a:lnTo>
                  <a:lnTo>
                    <a:pt x="185232" y="49080"/>
                  </a:lnTo>
                  <a:lnTo>
                    <a:pt x="185232" y="139059"/>
                  </a:lnTo>
                  <a:cubicBezTo>
                    <a:pt x="185232" y="140286"/>
                    <a:pt x="185478" y="141513"/>
                    <a:pt x="186050" y="142576"/>
                  </a:cubicBezTo>
                  <a:lnTo>
                    <a:pt x="250017" y="276318"/>
                  </a:lnTo>
                  <a:cubicBezTo>
                    <a:pt x="252226" y="280653"/>
                    <a:pt x="255580" y="288260"/>
                    <a:pt x="255661" y="294477"/>
                  </a:cubicBezTo>
                  <a:lnTo>
                    <a:pt x="255907" y="294477"/>
                  </a:lnTo>
                  <a:cubicBezTo>
                    <a:pt x="255907" y="299058"/>
                    <a:pt x="254762" y="303557"/>
                    <a:pt x="252226" y="307565"/>
                  </a:cubicBezTo>
                  <a:close/>
                </a:path>
              </a:pathLst>
            </a:custGeom>
            <a:solidFill>
              <a:srgbClr val="000532"/>
            </a:solidFill>
            <a:ln w="8096" cap="flat">
              <a:noFill/>
              <a:prstDash val="solid"/>
              <a:miter/>
            </a:ln>
          </p:spPr>
          <p:txBody>
            <a:bodyPr rtlCol="0" anchor="ctr"/>
            <a:lstStyle/>
            <a:p>
              <a:endParaRPr lang="pt-BR"/>
            </a:p>
          </p:txBody>
        </p:sp>
        <p:sp>
          <p:nvSpPr>
            <p:cNvPr id="57" name="Forma Livre: Forma 56">
              <a:extLst>
                <a:ext uri="{FF2B5EF4-FFF2-40B4-BE49-F238E27FC236}">
                  <a16:creationId xmlns:a16="http://schemas.microsoft.com/office/drawing/2014/main" id="{39CA7735-3905-C509-D909-C498A209F598}"/>
                </a:ext>
              </a:extLst>
            </p:cNvPr>
            <p:cNvSpPr/>
            <p:nvPr/>
          </p:nvSpPr>
          <p:spPr>
            <a:xfrm>
              <a:off x="5716447" y="1887566"/>
              <a:ext cx="112064" cy="112064"/>
            </a:xfrm>
            <a:custGeom>
              <a:avLst/>
              <a:gdLst>
                <a:gd name="connsiteX0" fmla="*/ 101676 w 112064"/>
                <a:gd name="connsiteY0" fmla="*/ 62904 h 112064"/>
                <a:gd name="connsiteX1" fmla="*/ 90143 w 112064"/>
                <a:gd name="connsiteY1" fmla="*/ 51370 h 112064"/>
                <a:gd name="connsiteX2" fmla="*/ 89979 w 112064"/>
                <a:gd name="connsiteY2" fmla="*/ 51533 h 112064"/>
                <a:gd name="connsiteX3" fmla="*/ 87525 w 112064"/>
                <a:gd name="connsiteY3" fmla="*/ 49080 h 112064"/>
                <a:gd name="connsiteX4" fmla="*/ 62985 w 112064"/>
                <a:gd name="connsiteY4" fmla="*/ 24540 h 112064"/>
                <a:gd name="connsiteX5" fmla="*/ 60613 w 112064"/>
                <a:gd name="connsiteY5" fmla="*/ 22168 h 112064"/>
                <a:gd name="connsiteX6" fmla="*/ 60777 w 112064"/>
                <a:gd name="connsiteY6" fmla="*/ 22004 h 112064"/>
                <a:gd name="connsiteX7" fmla="*/ 49243 w 112064"/>
                <a:gd name="connsiteY7" fmla="*/ 10470 h 112064"/>
                <a:gd name="connsiteX8" fmla="*/ 49079 w 112064"/>
                <a:gd name="connsiteY8" fmla="*/ 10634 h 112064"/>
                <a:gd name="connsiteX9" fmla="*/ 38446 w 112064"/>
                <a:gd name="connsiteY9" fmla="*/ 0 h 112064"/>
                <a:gd name="connsiteX10" fmla="*/ 26912 w 112064"/>
                <a:gd name="connsiteY10" fmla="*/ 11534 h 112064"/>
                <a:gd name="connsiteX11" fmla="*/ 43272 w 112064"/>
                <a:gd name="connsiteY11" fmla="*/ 27894 h 112064"/>
                <a:gd name="connsiteX12" fmla="*/ 45644 w 112064"/>
                <a:gd name="connsiteY12" fmla="*/ 30266 h 112064"/>
                <a:gd name="connsiteX13" fmla="*/ 2372 w 112064"/>
                <a:gd name="connsiteY13" fmla="*/ 73537 h 112064"/>
                <a:gd name="connsiteX14" fmla="*/ 0 w 112064"/>
                <a:gd name="connsiteY14" fmla="*/ 79345 h 112064"/>
                <a:gd name="connsiteX15" fmla="*/ 0 w 112064"/>
                <a:gd name="connsiteY15" fmla="*/ 103885 h 112064"/>
                <a:gd name="connsiteX16" fmla="*/ 8180 w 112064"/>
                <a:gd name="connsiteY16" fmla="*/ 112065 h 112064"/>
                <a:gd name="connsiteX17" fmla="*/ 32720 w 112064"/>
                <a:gd name="connsiteY17" fmla="*/ 112065 h 112064"/>
                <a:gd name="connsiteX18" fmla="*/ 38527 w 112064"/>
                <a:gd name="connsiteY18" fmla="*/ 109693 h 112064"/>
                <a:gd name="connsiteX19" fmla="*/ 81799 w 112064"/>
                <a:gd name="connsiteY19" fmla="*/ 66421 h 112064"/>
                <a:gd name="connsiteX20" fmla="*/ 84171 w 112064"/>
                <a:gd name="connsiteY20" fmla="*/ 68793 h 112064"/>
                <a:gd name="connsiteX21" fmla="*/ 100531 w 112064"/>
                <a:gd name="connsiteY21" fmla="*/ 85153 h 112064"/>
                <a:gd name="connsiteX22" fmla="*/ 112065 w 112064"/>
                <a:gd name="connsiteY22" fmla="*/ 73619 h 112064"/>
                <a:gd name="connsiteX23" fmla="*/ 101513 w 112064"/>
                <a:gd name="connsiteY23" fmla="*/ 63067 h 112064"/>
                <a:gd name="connsiteX24" fmla="*/ 101676 w 112064"/>
                <a:gd name="connsiteY24" fmla="*/ 62904 h 112064"/>
                <a:gd name="connsiteX25" fmla="*/ 29284 w 112064"/>
                <a:gd name="connsiteY25" fmla="*/ 95787 h 112064"/>
                <a:gd name="connsiteX26" fmla="*/ 16278 w 112064"/>
                <a:gd name="connsiteY26" fmla="*/ 95787 h 112064"/>
                <a:gd name="connsiteX27" fmla="*/ 16278 w 112064"/>
                <a:gd name="connsiteY27" fmla="*/ 82781 h 112064"/>
                <a:gd name="connsiteX28" fmla="*/ 57178 w 112064"/>
                <a:gd name="connsiteY28" fmla="*/ 41881 h 112064"/>
                <a:gd name="connsiteX29" fmla="*/ 70184 w 112064"/>
                <a:gd name="connsiteY29" fmla="*/ 54887 h 112064"/>
                <a:gd name="connsiteX30" fmla="*/ 29284 w 112064"/>
                <a:gd name="connsiteY30" fmla="*/ 95787 h 11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2064" h="112064">
                  <a:moveTo>
                    <a:pt x="101676" y="62904"/>
                  </a:moveTo>
                  <a:lnTo>
                    <a:pt x="90143" y="51370"/>
                  </a:lnTo>
                  <a:lnTo>
                    <a:pt x="89979" y="51533"/>
                  </a:lnTo>
                  <a:lnTo>
                    <a:pt x="87525" y="49080"/>
                  </a:lnTo>
                  <a:lnTo>
                    <a:pt x="62985" y="24540"/>
                  </a:lnTo>
                  <a:lnTo>
                    <a:pt x="60613" y="22168"/>
                  </a:lnTo>
                  <a:lnTo>
                    <a:pt x="60777" y="22004"/>
                  </a:lnTo>
                  <a:lnTo>
                    <a:pt x="49243" y="10470"/>
                  </a:lnTo>
                  <a:lnTo>
                    <a:pt x="49079" y="10634"/>
                  </a:lnTo>
                  <a:lnTo>
                    <a:pt x="38446" y="0"/>
                  </a:lnTo>
                  <a:lnTo>
                    <a:pt x="26912" y="11534"/>
                  </a:lnTo>
                  <a:lnTo>
                    <a:pt x="43272" y="27894"/>
                  </a:lnTo>
                  <a:lnTo>
                    <a:pt x="45644" y="30266"/>
                  </a:lnTo>
                  <a:lnTo>
                    <a:pt x="2372" y="73537"/>
                  </a:lnTo>
                  <a:cubicBezTo>
                    <a:pt x="818" y="75092"/>
                    <a:pt x="0" y="77137"/>
                    <a:pt x="0" y="79345"/>
                  </a:cubicBezTo>
                  <a:lnTo>
                    <a:pt x="0" y="103885"/>
                  </a:lnTo>
                  <a:cubicBezTo>
                    <a:pt x="0" y="108384"/>
                    <a:pt x="3681" y="112065"/>
                    <a:pt x="8180" y="112065"/>
                  </a:cubicBezTo>
                  <a:lnTo>
                    <a:pt x="32720" y="112065"/>
                  </a:lnTo>
                  <a:cubicBezTo>
                    <a:pt x="34928" y="112065"/>
                    <a:pt x="36973" y="111165"/>
                    <a:pt x="38527" y="109693"/>
                  </a:cubicBezTo>
                  <a:lnTo>
                    <a:pt x="81799" y="66421"/>
                  </a:lnTo>
                  <a:lnTo>
                    <a:pt x="84171" y="68793"/>
                  </a:lnTo>
                  <a:lnTo>
                    <a:pt x="100531" y="85153"/>
                  </a:lnTo>
                  <a:lnTo>
                    <a:pt x="112065" y="73619"/>
                  </a:lnTo>
                  <a:lnTo>
                    <a:pt x="101513" y="63067"/>
                  </a:lnTo>
                  <a:lnTo>
                    <a:pt x="101676" y="62904"/>
                  </a:lnTo>
                  <a:close/>
                  <a:moveTo>
                    <a:pt x="29284" y="95787"/>
                  </a:moveTo>
                  <a:lnTo>
                    <a:pt x="16278" y="95787"/>
                  </a:lnTo>
                  <a:lnTo>
                    <a:pt x="16278" y="82781"/>
                  </a:lnTo>
                  <a:lnTo>
                    <a:pt x="57178" y="41881"/>
                  </a:lnTo>
                  <a:lnTo>
                    <a:pt x="70184" y="54887"/>
                  </a:lnTo>
                  <a:lnTo>
                    <a:pt x="29284" y="95787"/>
                  </a:lnTo>
                  <a:close/>
                </a:path>
              </a:pathLst>
            </a:custGeom>
            <a:solidFill>
              <a:srgbClr val="000532"/>
            </a:solidFill>
            <a:ln w="8096" cap="flat">
              <a:noFill/>
              <a:prstDash val="solid"/>
              <a:miter/>
            </a:ln>
          </p:spPr>
          <p:txBody>
            <a:bodyPr rtlCol="0" anchor="ctr"/>
            <a:lstStyle/>
            <a:p>
              <a:endParaRPr lang="pt-BR"/>
            </a:p>
          </p:txBody>
        </p:sp>
      </p:grpSp>
      <p:sp>
        <p:nvSpPr>
          <p:cNvPr id="6" name="Title 1">
            <a:extLst>
              <a:ext uri="{FF2B5EF4-FFF2-40B4-BE49-F238E27FC236}">
                <a16:creationId xmlns:a16="http://schemas.microsoft.com/office/drawing/2014/main" id="{0614C2C2-A9FD-CB6C-AFEE-B94554D6718E}"/>
              </a:ext>
            </a:extLst>
          </p:cNvPr>
          <p:cNvSpPr txBox="1">
            <a:spLocks/>
          </p:cNvSpPr>
          <p:nvPr/>
        </p:nvSpPr>
        <p:spPr>
          <a:xfrm>
            <a:off x="1740566" y="471783"/>
            <a:ext cx="3781165" cy="1218399"/>
          </a:xfrm>
          <a:prstGeom prst="rect">
            <a:avLst/>
          </a:prstGeom>
        </p:spPr>
        <p:txBody>
          <a:bodyPr/>
          <a:lstStyle>
            <a:lvl1pPr algn="r"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algn="l"/>
            <a:r>
              <a:rPr lang="en-US" sz="4400" dirty="0"/>
              <a:t>R&amp;D of New Materials</a:t>
            </a:r>
            <a:endParaRPr lang="pt-BR" sz="4200" dirty="0"/>
          </a:p>
        </p:txBody>
      </p:sp>
      <p:grpSp>
        <p:nvGrpSpPr>
          <p:cNvPr id="111" name="Agrupar 110">
            <a:extLst>
              <a:ext uri="{FF2B5EF4-FFF2-40B4-BE49-F238E27FC236}">
                <a16:creationId xmlns:a16="http://schemas.microsoft.com/office/drawing/2014/main" id="{EF484CDC-5E3E-F44C-3EDF-5B9490577AD1}"/>
              </a:ext>
            </a:extLst>
          </p:cNvPr>
          <p:cNvGrpSpPr/>
          <p:nvPr/>
        </p:nvGrpSpPr>
        <p:grpSpPr>
          <a:xfrm>
            <a:off x="5399774" y="4371289"/>
            <a:ext cx="6314273" cy="369332"/>
            <a:chOff x="5795749" y="3524265"/>
            <a:chExt cx="4385140" cy="369332"/>
          </a:xfrm>
        </p:grpSpPr>
        <p:sp>
          <p:nvSpPr>
            <p:cNvPr id="51" name="CaixaDeTexto 50">
              <a:extLst>
                <a:ext uri="{FF2B5EF4-FFF2-40B4-BE49-F238E27FC236}">
                  <a16:creationId xmlns:a16="http://schemas.microsoft.com/office/drawing/2014/main" id="{4E9F6F0C-5E78-DE65-D646-D1482617B45F}"/>
                </a:ext>
              </a:extLst>
            </p:cNvPr>
            <p:cNvSpPr txBox="1"/>
            <p:nvPr/>
          </p:nvSpPr>
          <p:spPr>
            <a:xfrm>
              <a:off x="5871419" y="3524265"/>
              <a:ext cx="4309470" cy="369332"/>
            </a:xfrm>
            <a:prstGeom prst="rect">
              <a:avLst/>
            </a:prstGeom>
            <a:noFill/>
          </p:spPr>
          <p:txBody>
            <a:bodyPr wrap="square">
              <a:spAutoFit/>
            </a:bodyPr>
            <a:lstStyle/>
            <a:p>
              <a:r>
                <a:rPr lang="en-US" b="1" dirty="0"/>
                <a:t>Management of laboratory tests for biomaterials qualification.</a:t>
              </a:r>
              <a:endParaRPr lang="pt-BR" b="1" dirty="0"/>
            </a:p>
          </p:txBody>
        </p:sp>
        <p:sp>
          <p:nvSpPr>
            <p:cNvPr id="88" name="Elipse 54">
              <a:extLst>
                <a:ext uri="{FF2B5EF4-FFF2-40B4-BE49-F238E27FC236}">
                  <a16:creationId xmlns:a16="http://schemas.microsoft.com/office/drawing/2014/main" id="{11FF8647-032D-F894-4E52-37A92E687266}"/>
                </a:ext>
              </a:extLst>
            </p:cNvPr>
            <p:cNvSpPr/>
            <p:nvPr/>
          </p:nvSpPr>
          <p:spPr>
            <a:xfrm>
              <a:off x="5795749" y="370114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106" name="Agrupar 105">
            <a:extLst>
              <a:ext uri="{FF2B5EF4-FFF2-40B4-BE49-F238E27FC236}">
                <a16:creationId xmlns:a16="http://schemas.microsoft.com/office/drawing/2014/main" id="{D8500D64-855E-6295-5CA3-D7B78E4D4F09}"/>
              </a:ext>
            </a:extLst>
          </p:cNvPr>
          <p:cNvGrpSpPr/>
          <p:nvPr/>
        </p:nvGrpSpPr>
        <p:grpSpPr>
          <a:xfrm>
            <a:off x="5383844" y="3391948"/>
            <a:ext cx="4416655" cy="369332"/>
            <a:chOff x="5795749" y="2640469"/>
            <a:chExt cx="3565978" cy="369332"/>
          </a:xfrm>
        </p:grpSpPr>
        <p:sp>
          <p:nvSpPr>
            <p:cNvPr id="26" name="CaixaDeTexto 25">
              <a:extLst>
                <a:ext uri="{FF2B5EF4-FFF2-40B4-BE49-F238E27FC236}">
                  <a16:creationId xmlns:a16="http://schemas.microsoft.com/office/drawing/2014/main" id="{AE0E2798-9EBC-7DDE-D3D2-DA143E8F038E}"/>
                </a:ext>
              </a:extLst>
            </p:cNvPr>
            <p:cNvSpPr txBox="1"/>
            <p:nvPr/>
          </p:nvSpPr>
          <p:spPr>
            <a:xfrm>
              <a:off x="5891402" y="2640469"/>
              <a:ext cx="3470325" cy="369332"/>
            </a:xfrm>
            <a:prstGeom prst="rect">
              <a:avLst/>
            </a:prstGeom>
            <a:noFill/>
          </p:spPr>
          <p:txBody>
            <a:bodyPr wrap="square">
              <a:spAutoFit/>
            </a:bodyPr>
            <a:lstStyle/>
            <a:p>
              <a:r>
                <a:rPr lang="en-US" b="1" dirty="0"/>
                <a:t>Bibliographic research of biomaterials;</a:t>
              </a:r>
              <a:endParaRPr lang="pt-BR" b="1" dirty="0"/>
            </a:p>
          </p:txBody>
        </p:sp>
        <p:sp>
          <p:nvSpPr>
            <p:cNvPr id="90" name="Elipse 54">
              <a:extLst>
                <a:ext uri="{FF2B5EF4-FFF2-40B4-BE49-F238E27FC236}">
                  <a16:creationId xmlns:a16="http://schemas.microsoft.com/office/drawing/2014/main" id="{B98263C7-31FF-7771-0565-2BA547B78C1D}"/>
                </a:ext>
              </a:extLst>
            </p:cNvPr>
            <p:cNvSpPr/>
            <p:nvPr/>
          </p:nvSpPr>
          <p:spPr>
            <a:xfrm>
              <a:off x="5795749" y="2780163"/>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98" name="Agrupar 97">
            <a:extLst>
              <a:ext uri="{FF2B5EF4-FFF2-40B4-BE49-F238E27FC236}">
                <a16:creationId xmlns:a16="http://schemas.microsoft.com/office/drawing/2014/main" id="{910A8680-B487-9D81-4696-159AC505C125}"/>
              </a:ext>
            </a:extLst>
          </p:cNvPr>
          <p:cNvGrpSpPr/>
          <p:nvPr/>
        </p:nvGrpSpPr>
        <p:grpSpPr>
          <a:xfrm>
            <a:off x="861179" y="2470048"/>
            <a:ext cx="1876640" cy="1883186"/>
            <a:chOff x="861179" y="2470048"/>
            <a:chExt cx="1876640" cy="1883186"/>
          </a:xfrm>
          <a:effectLst>
            <a:outerShdw blurRad="50800" dist="38100" dir="2700000" algn="tl" rotWithShape="0">
              <a:prstClr val="black">
                <a:alpha val="15000"/>
              </a:prstClr>
            </a:outerShdw>
          </a:effectLst>
        </p:grpSpPr>
        <p:pic>
          <p:nvPicPr>
            <p:cNvPr id="72" name="Picture 16">
              <a:extLst>
                <a:ext uri="{FF2B5EF4-FFF2-40B4-BE49-F238E27FC236}">
                  <a16:creationId xmlns:a16="http://schemas.microsoft.com/office/drawing/2014/main" id="{102DA5D2-1162-5217-25F2-C169E5E98F5E}"/>
                </a:ext>
              </a:extLst>
            </p:cNvPr>
            <p:cNvPicPr>
              <a:picLocks noChangeAspect="1"/>
            </p:cNvPicPr>
            <p:nvPr/>
          </p:nvPicPr>
          <p:blipFill rotWithShape="1">
            <a:blip r:embed="rId2"/>
            <a:srcRect t="5442" b="5442"/>
            <a:stretch/>
          </p:blipFill>
          <p:spPr>
            <a:xfrm>
              <a:off x="861179" y="2474787"/>
              <a:ext cx="1876640" cy="1878447"/>
            </a:xfrm>
            <a:prstGeom prst="rect">
              <a:avLst/>
            </a:prstGeom>
            <a:ln w="0">
              <a:noFill/>
            </a:ln>
          </p:spPr>
        </p:pic>
        <p:cxnSp>
          <p:nvCxnSpPr>
            <p:cNvPr id="91" name="Conector reto 90">
              <a:extLst>
                <a:ext uri="{FF2B5EF4-FFF2-40B4-BE49-F238E27FC236}">
                  <a16:creationId xmlns:a16="http://schemas.microsoft.com/office/drawing/2014/main" id="{AEFB9795-6B45-149A-3825-BC6F6F3D7F79}"/>
                </a:ext>
              </a:extLst>
            </p:cNvPr>
            <p:cNvCxnSpPr>
              <a:cxnSpLocks/>
            </p:cNvCxnSpPr>
            <p:nvPr/>
          </p:nvCxnSpPr>
          <p:spPr>
            <a:xfrm>
              <a:off x="861179" y="2470048"/>
              <a:ext cx="0" cy="188318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9" name="Agrupar 98">
            <a:extLst>
              <a:ext uri="{FF2B5EF4-FFF2-40B4-BE49-F238E27FC236}">
                <a16:creationId xmlns:a16="http://schemas.microsoft.com/office/drawing/2014/main" id="{20502039-3161-27AB-552F-2E26632CD15A}"/>
              </a:ext>
            </a:extLst>
          </p:cNvPr>
          <p:cNvGrpSpPr/>
          <p:nvPr/>
        </p:nvGrpSpPr>
        <p:grpSpPr>
          <a:xfrm>
            <a:off x="852959" y="4426217"/>
            <a:ext cx="1884860" cy="1891405"/>
            <a:chOff x="852959" y="4426217"/>
            <a:chExt cx="1884860" cy="1891405"/>
          </a:xfrm>
          <a:effectLst>
            <a:outerShdw blurRad="50800" dist="38100" dir="2700000" algn="tl" rotWithShape="0">
              <a:prstClr val="black">
                <a:alpha val="15000"/>
              </a:prstClr>
            </a:outerShdw>
          </a:effectLst>
        </p:grpSpPr>
        <p:pic>
          <p:nvPicPr>
            <p:cNvPr id="4" name="Picture Placeholder 16" descr="A white plastic objects on a white surface&#10;&#10;Description automatically generated">
              <a:extLst>
                <a:ext uri="{FF2B5EF4-FFF2-40B4-BE49-F238E27FC236}">
                  <a16:creationId xmlns:a16="http://schemas.microsoft.com/office/drawing/2014/main" id="{9847ADDD-1C43-F83A-D68F-A5CA6BC5B745}"/>
                </a:ext>
              </a:extLst>
            </p:cNvPr>
            <p:cNvPicPr>
              <a:picLocks noChangeAspect="1"/>
            </p:cNvPicPr>
            <p:nvPr/>
          </p:nvPicPr>
          <p:blipFill>
            <a:blip r:embed="rId3">
              <a:extLst>
                <a:ext uri="{28A0092B-C50C-407E-A947-70E740481C1C}">
                  <a14:useLocalDpi xmlns:a14="http://schemas.microsoft.com/office/drawing/2010/main" val="0"/>
                </a:ext>
              </a:extLst>
            </a:blip>
            <a:srcRect t="9548" b="9548"/>
            <a:stretch>
              <a:fillRect/>
            </a:stretch>
          </p:blipFill>
          <p:spPr>
            <a:xfrm>
              <a:off x="852959" y="4432762"/>
              <a:ext cx="1884860" cy="1884860"/>
            </a:xfrm>
            <a:prstGeom prst="rect">
              <a:avLst/>
            </a:prstGeom>
            <a:ln w="0">
              <a:noFill/>
            </a:ln>
          </p:spPr>
        </p:pic>
        <p:cxnSp>
          <p:nvCxnSpPr>
            <p:cNvPr id="93" name="Conector reto 92">
              <a:extLst>
                <a:ext uri="{FF2B5EF4-FFF2-40B4-BE49-F238E27FC236}">
                  <a16:creationId xmlns:a16="http://schemas.microsoft.com/office/drawing/2014/main" id="{166A89B3-435B-EBFE-3469-AD0BDB54FE7F}"/>
                </a:ext>
              </a:extLst>
            </p:cNvPr>
            <p:cNvCxnSpPr>
              <a:cxnSpLocks/>
            </p:cNvCxnSpPr>
            <p:nvPr/>
          </p:nvCxnSpPr>
          <p:spPr>
            <a:xfrm>
              <a:off x="861179" y="4426217"/>
              <a:ext cx="0" cy="188318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7" name="Agrupar 96">
            <a:extLst>
              <a:ext uri="{FF2B5EF4-FFF2-40B4-BE49-F238E27FC236}">
                <a16:creationId xmlns:a16="http://schemas.microsoft.com/office/drawing/2014/main" id="{AE395844-EE0C-62D5-AAD9-1F657F78D713}"/>
              </a:ext>
            </a:extLst>
          </p:cNvPr>
          <p:cNvGrpSpPr/>
          <p:nvPr/>
        </p:nvGrpSpPr>
        <p:grpSpPr>
          <a:xfrm>
            <a:off x="2820500" y="2470048"/>
            <a:ext cx="1878447" cy="1883186"/>
            <a:chOff x="2820500" y="2470048"/>
            <a:chExt cx="1878447" cy="1883186"/>
          </a:xfrm>
          <a:effectLst>
            <a:outerShdw blurRad="50800" dist="38100" dir="2700000" algn="tl" rotWithShape="0">
              <a:prstClr val="black">
                <a:alpha val="15000"/>
              </a:prstClr>
            </a:outerShdw>
          </a:effectLst>
        </p:grpSpPr>
        <p:pic>
          <p:nvPicPr>
            <p:cNvPr id="70" name="Picture 14">
              <a:extLst>
                <a:ext uri="{FF2B5EF4-FFF2-40B4-BE49-F238E27FC236}">
                  <a16:creationId xmlns:a16="http://schemas.microsoft.com/office/drawing/2014/main" id="{955F4B63-788C-5267-94B1-B052AE0BBC67}"/>
                </a:ext>
              </a:extLst>
            </p:cNvPr>
            <p:cNvPicPr>
              <a:picLocks noChangeAspect="1"/>
            </p:cNvPicPr>
            <p:nvPr/>
          </p:nvPicPr>
          <p:blipFill rotWithShape="1">
            <a:blip r:embed="rId4"/>
            <a:srcRect t="12729" b="12729"/>
            <a:stretch/>
          </p:blipFill>
          <p:spPr>
            <a:xfrm>
              <a:off x="2820500" y="2474787"/>
              <a:ext cx="1878447" cy="1878447"/>
            </a:xfrm>
            <a:prstGeom prst="rect">
              <a:avLst/>
            </a:prstGeom>
            <a:solidFill>
              <a:schemeClr val="bg1">
                <a:lumMod val="75000"/>
              </a:schemeClr>
            </a:solidFill>
            <a:ln w="0">
              <a:noFill/>
            </a:ln>
          </p:spPr>
        </p:pic>
        <p:cxnSp>
          <p:nvCxnSpPr>
            <p:cNvPr id="94" name="Conector reto 93">
              <a:extLst>
                <a:ext uri="{FF2B5EF4-FFF2-40B4-BE49-F238E27FC236}">
                  <a16:creationId xmlns:a16="http://schemas.microsoft.com/office/drawing/2014/main" id="{D0CD4BAC-036D-BC6A-1F5A-DCF5536CAB5D}"/>
                </a:ext>
              </a:extLst>
            </p:cNvPr>
            <p:cNvCxnSpPr>
              <a:cxnSpLocks/>
            </p:cNvCxnSpPr>
            <p:nvPr/>
          </p:nvCxnSpPr>
          <p:spPr>
            <a:xfrm>
              <a:off x="2835373" y="2470048"/>
              <a:ext cx="0" cy="188318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6" name="Agrupar 95">
            <a:extLst>
              <a:ext uri="{FF2B5EF4-FFF2-40B4-BE49-F238E27FC236}">
                <a16:creationId xmlns:a16="http://schemas.microsoft.com/office/drawing/2014/main" id="{73E55028-76D0-6650-FACE-56573FB2E477}"/>
              </a:ext>
            </a:extLst>
          </p:cNvPr>
          <p:cNvGrpSpPr/>
          <p:nvPr/>
        </p:nvGrpSpPr>
        <p:grpSpPr>
          <a:xfrm>
            <a:off x="2820500" y="4426217"/>
            <a:ext cx="1884860" cy="1891406"/>
            <a:chOff x="2820500" y="4426217"/>
            <a:chExt cx="1884860" cy="1891406"/>
          </a:xfrm>
          <a:effectLst>
            <a:outerShdw blurRad="50800" dist="38100" dir="2700000" algn="tl" rotWithShape="0">
              <a:prstClr val="black">
                <a:alpha val="15000"/>
              </a:prstClr>
            </a:outerShdw>
          </a:effectLst>
        </p:grpSpPr>
        <p:pic>
          <p:nvPicPr>
            <p:cNvPr id="32" name="Picture 31" descr="A fan of paper with different colors&#10;&#10;Description automatically generated">
              <a:extLst>
                <a:ext uri="{FF2B5EF4-FFF2-40B4-BE49-F238E27FC236}">
                  <a16:creationId xmlns:a16="http://schemas.microsoft.com/office/drawing/2014/main" id="{3B9CE659-F093-4884-8D92-C6E69E8A3D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20500" y="4426217"/>
              <a:ext cx="1884860" cy="1891406"/>
            </a:xfrm>
            <a:prstGeom prst="rect">
              <a:avLst/>
            </a:prstGeom>
            <a:ln w="0">
              <a:noFill/>
            </a:ln>
          </p:spPr>
        </p:pic>
        <p:cxnSp>
          <p:nvCxnSpPr>
            <p:cNvPr id="95" name="Conector reto 94">
              <a:extLst>
                <a:ext uri="{FF2B5EF4-FFF2-40B4-BE49-F238E27FC236}">
                  <a16:creationId xmlns:a16="http://schemas.microsoft.com/office/drawing/2014/main" id="{0806A4C3-0B64-518A-FC5A-3D363FFC0512}"/>
                </a:ext>
              </a:extLst>
            </p:cNvPr>
            <p:cNvCxnSpPr>
              <a:cxnSpLocks/>
            </p:cNvCxnSpPr>
            <p:nvPr/>
          </p:nvCxnSpPr>
          <p:spPr>
            <a:xfrm>
              <a:off x="2835373" y="4426217"/>
              <a:ext cx="0" cy="188318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0" name="Agrupar 109">
            <a:extLst>
              <a:ext uri="{FF2B5EF4-FFF2-40B4-BE49-F238E27FC236}">
                <a16:creationId xmlns:a16="http://schemas.microsoft.com/office/drawing/2014/main" id="{2E1F7225-6CAD-7D28-304B-D6CA8C445382}"/>
              </a:ext>
            </a:extLst>
          </p:cNvPr>
          <p:cNvGrpSpPr/>
          <p:nvPr/>
        </p:nvGrpSpPr>
        <p:grpSpPr>
          <a:xfrm>
            <a:off x="5390261" y="3873581"/>
            <a:ext cx="3249903" cy="356270"/>
            <a:chOff x="5795749" y="3032644"/>
            <a:chExt cx="2623950" cy="356270"/>
          </a:xfrm>
        </p:grpSpPr>
        <p:sp>
          <p:nvSpPr>
            <p:cNvPr id="89" name="Elipse 54">
              <a:extLst>
                <a:ext uri="{FF2B5EF4-FFF2-40B4-BE49-F238E27FC236}">
                  <a16:creationId xmlns:a16="http://schemas.microsoft.com/office/drawing/2014/main" id="{189DBF84-79ED-CCFC-B920-809AF1D094E5}"/>
                </a:ext>
              </a:extLst>
            </p:cNvPr>
            <p:cNvSpPr/>
            <p:nvPr/>
          </p:nvSpPr>
          <p:spPr>
            <a:xfrm>
              <a:off x="5795749" y="3174082"/>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9" name="Text Placeholder 2">
              <a:extLst>
                <a:ext uri="{FF2B5EF4-FFF2-40B4-BE49-F238E27FC236}">
                  <a16:creationId xmlns:a16="http://schemas.microsoft.com/office/drawing/2014/main" id="{9AD0F77A-D861-F47C-ECF1-27E5180748D7}"/>
                </a:ext>
              </a:extLst>
            </p:cNvPr>
            <p:cNvSpPr txBox="1">
              <a:spLocks/>
            </p:cNvSpPr>
            <p:nvPr/>
          </p:nvSpPr>
          <p:spPr>
            <a:xfrm>
              <a:off x="5891403" y="3032644"/>
              <a:ext cx="2528296" cy="35627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1" dirty="0"/>
                <a:t>Development of specimens;</a:t>
              </a:r>
              <a:endParaRPr lang="pt-BR" sz="1800" b="1" dirty="0"/>
            </a:p>
          </p:txBody>
        </p:sp>
      </p:grpSp>
    </p:spTree>
    <p:extLst>
      <p:ext uri="{BB962C8B-B14F-4D97-AF65-F5344CB8AC3E}">
        <p14:creationId xmlns:p14="http://schemas.microsoft.com/office/powerpoint/2010/main" val="22100528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A machine on a counter&#10;&#10;Description automatically generated">
            <a:extLst>
              <a:ext uri="{FF2B5EF4-FFF2-40B4-BE49-F238E27FC236}">
                <a16:creationId xmlns:a16="http://schemas.microsoft.com/office/drawing/2014/main" id="{00B2C3DA-4D7F-43A5-9719-5A995A6475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1567" y="3889307"/>
            <a:ext cx="2161462" cy="2881949"/>
          </a:xfrm>
          <a:prstGeom prst="rect">
            <a:avLst/>
          </a:prstGeom>
        </p:spPr>
      </p:pic>
      <p:sp>
        <p:nvSpPr>
          <p:cNvPr id="6" name="Title 1">
            <a:extLst>
              <a:ext uri="{FF2B5EF4-FFF2-40B4-BE49-F238E27FC236}">
                <a16:creationId xmlns:a16="http://schemas.microsoft.com/office/drawing/2014/main" id="{0614C2C2-A9FD-CB6C-AFEE-B94554D6718E}"/>
              </a:ext>
            </a:extLst>
          </p:cNvPr>
          <p:cNvSpPr txBox="1">
            <a:spLocks/>
          </p:cNvSpPr>
          <p:nvPr/>
        </p:nvSpPr>
        <p:spPr>
          <a:xfrm>
            <a:off x="770419" y="651591"/>
            <a:ext cx="6468177" cy="1345493"/>
          </a:xfrm>
          <a:prstGeom prst="rect">
            <a:avLst/>
          </a:prstGeom>
        </p:spPr>
        <p:txBody>
          <a:bodyPr/>
          <a:lstStyle>
            <a:defPPr>
              <a:defRPr lang="pt-BR"/>
            </a:defPPr>
            <a:lvl1pPr>
              <a:lnSpc>
                <a:spcPct val="90000"/>
              </a:lnSpc>
              <a:spcBef>
                <a:spcPct val="0"/>
              </a:spcBef>
              <a:buNone/>
              <a:defRPr sz="4400" b="1">
                <a:latin typeface="+mj-lt"/>
                <a:ea typeface="+mj-ea"/>
                <a:cs typeface="+mj-cs"/>
              </a:defRPr>
            </a:lvl1pPr>
          </a:lstStyle>
          <a:p>
            <a:pPr>
              <a:lnSpc>
                <a:spcPts val="4200"/>
              </a:lnSpc>
            </a:pPr>
            <a:r>
              <a:rPr lang="pt-BR" sz="4000" dirty="0" err="1"/>
              <a:t>Technical</a:t>
            </a:r>
            <a:r>
              <a:rPr lang="pt-BR" sz="4000" dirty="0"/>
              <a:t> </a:t>
            </a:r>
            <a:r>
              <a:rPr lang="pt-BR" sz="4000" dirty="0" err="1"/>
              <a:t>Capacity</a:t>
            </a:r>
            <a:endParaRPr lang="pt-BR" sz="4000" dirty="0"/>
          </a:p>
          <a:p>
            <a:pPr>
              <a:lnSpc>
                <a:spcPts val="4200"/>
              </a:lnSpc>
            </a:pPr>
            <a:r>
              <a:rPr lang="en-US" sz="4000" dirty="0"/>
              <a:t> </a:t>
            </a:r>
            <a:endParaRPr lang="pt-BR" sz="4000" dirty="0"/>
          </a:p>
        </p:txBody>
      </p:sp>
      <p:sp>
        <p:nvSpPr>
          <p:cNvPr id="34" name="TextBox 33">
            <a:extLst>
              <a:ext uri="{FF2B5EF4-FFF2-40B4-BE49-F238E27FC236}">
                <a16:creationId xmlns:a16="http://schemas.microsoft.com/office/drawing/2014/main" id="{67059647-879F-4B35-B1C0-34A49264C321}"/>
              </a:ext>
            </a:extLst>
          </p:cNvPr>
          <p:cNvSpPr txBox="1"/>
          <p:nvPr/>
        </p:nvSpPr>
        <p:spPr>
          <a:xfrm>
            <a:off x="1659295" y="2440520"/>
            <a:ext cx="8572497" cy="2805063"/>
          </a:xfrm>
          <a:prstGeom prst="rect">
            <a:avLst/>
          </a:prstGeom>
          <a:noFill/>
        </p:spPr>
        <p:txBody>
          <a:bodyPr wrap="square">
            <a:spAutoFit/>
          </a:bodyPr>
          <a:lstStyle/>
          <a:p>
            <a:pPr algn="just" rtl="0" fontAlgn="base">
              <a:lnSpc>
                <a:spcPct val="150000"/>
              </a:lnSpc>
            </a:pPr>
            <a:r>
              <a:rPr lang="en-US" sz="2400" b="1" dirty="0"/>
              <a:t>​Selection of raw material;​</a:t>
            </a:r>
          </a:p>
          <a:p>
            <a:pPr algn="just" rtl="0" fontAlgn="base">
              <a:lnSpc>
                <a:spcPct val="150000"/>
              </a:lnSpc>
            </a:pPr>
            <a:r>
              <a:rPr lang="en-US" sz="2400" b="1" dirty="0"/>
              <a:t>Development of compounds;​</a:t>
            </a:r>
          </a:p>
          <a:p>
            <a:pPr algn="just" rtl="0" fontAlgn="base">
              <a:lnSpc>
                <a:spcPct val="150000"/>
              </a:lnSpc>
            </a:pPr>
            <a:r>
              <a:rPr lang="en-US" sz="2400" b="1" dirty="0"/>
              <a:t>Manufacture of test specimens;</a:t>
            </a:r>
          </a:p>
          <a:p>
            <a:pPr algn="just" rtl="0" fontAlgn="base">
              <a:lnSpc>
                <a:spcPct val="150000"/>
              </a:lnSpc>
            </a:pPr>
            <a:r>
              <a:rPr lang="en-US" sz="2400" b="1" dirty="0"/>
              <a:t>Mechanical and thermal characterizations;</a:t>
            </a:r>
          </a:p>
          <a:p>
            <a:pPr algn="just" rtl="0" fontAlgn="base">
              <a:lnSpc>
                <a:spcPct val="150000"/>
              </a:lnSpc>
            </a:pPr>
            <a:r>
              <a:rPr lang="en-US" sz="2400" b="1" dirty="0"/>
              <a:t>Production of Prototypes.</a:t>
            </a:r>
          </a:p>
        </p:txBody>
      </p:sp>
      <p:sp>
        <p:nvSpPr>
          <p:cNvPr id="3" name="Elipse 54">
            <a:extLst>
              <a:ext uri="{FF2B5EF4-FFF2-40B4-BE49-F238E27FC236}">
                <a16:creationId xmlns:a16="http://schemas.microsoft.com/office/drawing/2014/main" id="{CF60ADCE-4587-D08D-740E-C812125C7F69}"/>
              </a:ext>
            </a:extLst>
          </p:cNvPr>
          <p:cNvSpPr/>
          <p:nvPr/>
        </p:nvSpPr>
        <p:spPr>
          <a:xfrm>
            <a:off x="1340481" y="2750980"/>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Elipse 54">
            <a:extLst>
              <a:ext uri="{FF2B5EF4-FFF2-40B4-BE49-F238E27FC236}">
                <a16:creationId xmlns:a16="http://schemas.microsoft.com/office/drawing/2014/main" id="{97E7D0EE-2878-F337-990B-E3065AAF38C2}"/>
              </a:ext>
            </a:extLst>
          </p:cNvPr>
          <p:cNvSpPr/>
          <p:nvPr/>
        </p:nvSpPr>
        <p:spPr>
          <a:xfrm>
            <a:off x="1340481" y="3311942"/>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 name="Elipse 54">
            <a:extLst>
              <a:ext uri="{FF2B5EF4-FFF2-40B4-BE49-F238E27FC236}">
                <a16:creationId xmlns:a16="http://schemas.microsoft.com/office/drawing/2014/main" id="{9E1A1254-02F2-5376-31B7-C56336930540}"/>
              </a:ext>
            </a:extLst>
          </p:cNvPr>
          <p:cNvSpPr/>
          <p:nvPr/>
        </p:nvSpPr>
        <p:spPr>
          <a:xfrm>
            <a:off x="1340481" y="3851031"/>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Elipse 54">
            <a:extLst>
              <a:ext uri="{FF2B5EF4-FFF2-40B4-BE49-F238E27FC236}">
                <a16:creationId xmlns:a16="http://schemas.microsoft.com/office/drawing/2014/main" id="{CCD1CEF5-628F-2FBA-F6BF-A40AAB1A38F2}"/>
              </a:ext>
            </a:extLst>
          </p:cNvPr>
          <p:cNvSpPr/>
          <p:nvPr/>
        </p:nvSpPr>
        <p:spPr>
          <a:xfrm>
            <a:off x="1340481" y="4390120"/>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54">
            <a:extLst>
              <a:ext uri="{FF2B5EF4-FFF2-40B4-BE49-F238E27FC236}">
                <a16:creationId xmlns:a16="http://schemas.microsoft.com/office/drawing/2014/main" id="{2F73843C-3F66-79D8-EB61-E9D3D5519D6F}"/>
              </a:ext>
            </a:extLst>
          </p:cNvPr>
          <p:cNvSpPr/>
          <p:nvPr/>
        </p:nvSpPr>
        <p:spPr>
          <a:xfrm>
            <a:off x="1340481" y="4958393"/>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1" name="Picture 20" descr="A large white object in a factory&#10;&#10;Description automatically generated">
            <a:extLst>
              <a:ext uri="{FF2B5EF4-FFF2-40B4-BE49-F238E27FC236}">
                <a16:creationId xmlns:a16="http://schemas.microsoft.com/office/drawing/2014/main" id="{544EF9D8-F415-46ED-8F94-789C47B3EC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0931" y="1176994"/>
            <a:ext cx="1892971" cy="3365282"/>
          </a:xfrm>
          <a:prstGeom prst="rect">
            <a:avLst/>
          </a:prstGeom>
        </p:spPr>
      </p:pic>
      <p:pic>
        <p:nvPicPr>
          <p:cNvPr id="23" name="Picture 22">
            <a:extLst>
              <a:ext uri="{FF2B5EF4-FFF2-40B4-BE49-F238E27FC236}">
                <a16:creationId xmlns:a16="http://schemas.microsoft.com/office/drawing/2014/main" id="{6C8C323B-34BE-4182-98BB-BEFDB4CF9803}"/>
              </a:ext>
            </a:extLst>
          </p:cNvPr>
          <p:cNvPicPr>
            <a:picLocks noChangeAspect="1"/>
          </p:cNvPicPr>
          <p:nvPr/>
        </p:nvPicPr>
        <p:blipFill>
          <a:blip r:embed="rId4"/>
          <a:stretch>
            <a:fillRect/>
          </a:stretch>
        </p:blipFill>
        <p:spPr>
          <a:xfrm>
            <a:off x="9119983" y="1167369"/>
            <a:ext cx="2161462" cy="3070971"/>
          </a:xfrm>
          <a:prstGeom prst="rect">
            <a:avLst/>
          </a:prstGeom>
        </p:spPr>
      </p:pic>
      <p:pic>
        <p:nvPicPr>
          <p:cNvPr id="26" name="Picture 25" descr="A hand holding a handful of wood shavings&#10;&#10;Description automatically generated">
            <a:extLst>
              <a:ext uri="{FF2B5EF4-FFF2-40B4-BE49-F238E27FC236}">
                <a16:creationId xmlns:a16="http://schemas.microsoft.com/office/drawing/2014/main" id="{8D275505-7CFB-4C57-80F1-2A6C24866D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38596" y="4247965"/>
            <a:ext cx="1892971" cy="2523961"/>
          </a:xfrm>
          <a:prstGeom prst="rect">
            <a:avLst/>
          </a:prstGeom>
        </p:spPr>
      </p:pic>
    </p:spTree>
    <p:extLst>
      <p:ext uri="{BB962C8B-B14F-4D97-AF65-F5344CB8AC3E}">
        <p14:creationId xmlns:p14="http://schemas.microsoft.com/office/powerpoint/2010/main" val="19208852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744C0D6B-2085-71DB-976A-14E0FFB75656}"/>
              </a:ext>
            </a:extLst>
          </p:cNvPr>
          <p:cNvGrpSpPr/>
          <p:nvPr/>
        </p:nvGrpSpPr>
        <p:grpSpPr>
          <a:xfrm>
            <a:off x="116978" y="286546"/>
            <a:ext cx="1575636" cy="1575636"/>
            <a:chOff x="8679082" y="4372871"/>
            <a:chExt cx="2291729" cy="2291729"/>
          </a:xfrm>
        </p:grpSpPr>
        <p:sp>
          <p:nvSpPr>
            <p:cNvPr id="5" name="Oval 11">
              <a:extLst>
                <a:ext uri="{FF2B5EF4-FFF2-40B4-BE49-F238E27FC236}">
                  <a16:creationId xmlns:a16="http://schemas.microsoft.com/office/drawing/2014/main" id="{0FFC608D-82AD-2E70-A3E0-D5BD817FE742}"/>
                </a:ext>
              </a:extLst>
            </p:cNvPr>
            <p:cNvSpPr/>
            <p:nvPr/>
          </p:nvSpPr>
          <p:spPr>
            <a:xfrm>
              <a:off x="8679082" y="4372871"/>
              <a:ext cx="2291729" cy="2291729"/>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3" name="Google Shape;1347;p60">
              <a:extLst>
                <a:ext uri="{FF2B5EF4-FFF2-40B4-BE49-F238E27FC236}">
                  <a16:creationId xmlns:a16="http://schemas.microsoft.com/office/drawing/2014/main" id="{E33AABD7-2BCE-B191-E9BA-727E52FEF03D}"/>
                </a:ext>
              </a:extLst>
            </p:cNvPr>
            <p:cNvSpPr/>
            <p:nvPr/>
          </p:nvSpPr>
          <p:spPr>
            <a:xfrm>
              <a:off x="9126067" y="4840658"/>
              <a:ext cx="1397758" cy="1270962"/>
            </a:xfrm>
            <a:custGeom>
              <a:avLst/>
              <a:gdLst/>
              <a:ahLst/>
              <a:cxnLst/>
              <a:rect l="l" t="t" r="r" b="b"/>
              <a:pathLst>
                <a:path w="306916" h="301505" extrusionOk="0">
                  <a:moveTo>
                    <a:pt x="300567" y="72761"/>
                  </a:moveTo>
                  <a:lnTo>
                    <a:pt x="270933" y="72761"/>
                  </a:lnTo>
                  <a:cubicBezTo>
                    <a:pt x="267229" y="72761"/>
                    <a:pt x="264583" y="75405"/>
                    <a:pt x="264583" y="79108"/>
                  </a:cubicBezTo>
                  <a:cubicBezTo>
                    <a:pt x="264583" y="82811"/>
                    <a:pt x="267229" y="85456"/>
                    <a:pt x="270933" y="85456"/>
                  </a:cubicBezTo>
                  <a:lnTo>
                    <a:pt x="294217" y="85456"/>
                  </a:lnTo>
                  <a:lnTo>
                    <a:pt x="294217" y="220340"/>
                  </a:lnTo>
                  <a:lnTo>
                    <a:pt x="177271" y="220340"/>
                  </a:lnTo>
                  <a:lnTo>
                    <a:pt x="198438" y="164799"/>
                  </a:lnTo>
                  <a:lnTo>
                    <a:pt x="200025" y="165857"/>
                  </a:lnTo>
                  <a:cubicBezTo>
                    <a:pt x="201083" y="166386"/>
                    <a:pt x="202142" y="166386"/>
                    <a:pt x="202671" y="166386"/>
                  </a:cubicBezTo>
                  <a:cubicBezTo>
                    <a:pt x="204788" y="166386"/>
                    <a:pt x="207433" y="165328"/>
                    <a:pt x="208492" y="163212"/>
                  </a:cubicBezTo>
                  <a:lnTo>
                    <a:pt x="227542" y="126714"/>
                  </a:lnTo>
                  <a:cubicBezTo>
                    <a:pt x="228600" y="125127"/>
                    <a:pt x="228600" y="123012"/>
                    <a:pt x="228071" y="121425"/>
                  </a:cubicBezTo>
                  <a:cubicBezTo>
                    <a:pt x="228071" y="121425"/>
                    <a:pt x="227542" y="120896"/>
                    <a:pt x="227542" y="120896"/>
                  </a:cubicBezTo>
                  <a:lnTo>
                    <a:pt x="230717" y="118780"/>
                  </a:lnTo>
                  <a:cubicBezTo>
                    <a:pt x="231775" y="118251"/>
                    <a:pt x="232304" y="117193"/>
                    <a:pt x="232833" y="116664"/>
                  </a:cubicBezTo>
                  <a:lnTo>
                    <a:pt x="262467" y="59008"/>
                  </a:lnTo>
                  <a:cubicBezTo>
                    <a:pt x="266700" y="51074"/>
                    <a:pt x="263525" y="41023"/>
                    <a:pt x="255587" y="36792"/>
                  </a:cubicBezTo>
                  <a:cubicBezTo>
                    <a:pt x="253471" y="35734"/>
                    <a:pt x="250825" y="35205"/>
                    <a:pt x="248708" y="35205"/>
                  </a:cubicBezTo>
                  <a:cubicBezTo>
                    <a:pt x="248708" y="34147"/>
                    <a:pt x="248708" y="33089"/>
                    <a:pt x="248179" y="32560"/>
                  </a:cubicBezTo>
                  <a:cubicBezTo>
                    <a:pt x="247121" y="28328"/>
                    <a:pt x="243946" y="25155"/>
                    <a:pt x="240242" y="23039"/>
                  </a:cubicBezTo>
                  <a:cubicBezTo>
                    <a:pt x="238125" y="21981"/>
                    <a:pt x="235479" y="21452"/>
                    <a:pt x="233362" y="21452"/>
                  </a:cubicBezTo>
                  <a:cubicBezTo>
                    <a:pt x="233362" y="20394"/>
                    <a:pt x="233362" y="19865"/>
                    <a:pt x="232833" y="18807"/>
                  </a:cubicBezTo>
                  <a:cubicBezTo>
                    <a:pt x="231775" y="14575"/>
                    <a:pt x="228600" y="11402"/>
                    <a:pt x="224896" y="9286"/>
                  </a:cubicBezTo>
                  <a:cubicBezTo>
                    <a:pt x="221192" y="7170"/>
                    <a:pt x="216429" y="6641"/>
                    <a:pt x="212196" y="8228"/>
                  </a:cubicBezTo>
                  <a:cubicBezTo>
                    <a:pt x="212196" y="8228"/>
                    <a:pt x="212196" y="8228"/>
                    <a:pt x="212196" y="8228"/>
                  </a:cubicBezTo>
                  <a:cubicBezTo>
                    <a:pt x="210608" y="5583"/>
                    <a:pt x="208492" y="3467"/>
                    <a:pt x="205846" y="1880"/>
                  </a:cubicBezTo>
                  <a:cubicBezTo>
                    <a:pt x="197908" y="-2351"/>
                    <a:pt x="187854" y="823"/>
                    <a:pt x="183621" y="8757"/>
                  </a:cubicBezTo>
                  <a:lnTo>
                    <a:pt x="167746" y="39965"/>
                  </a:lnTo>
                  <a:lnTo>
                    <a:pt x="159279" y="30973"/>
                  </a:lnTo>
                  <a:cubicBezTo>
                    <a:pt x="158750" y="30444"/>
                    <a:pt x="158221" y="29915"/>
                    <a:pt x="157692" y="29915"/>
                  </a:cubicBezTo>
                  <a:lnTo>
                    <a:pt x="152400" y="27270"/>
                  </a:lnTo>
                  <a:cubicBezTo>
                    <a:pt x="146579" y="24097"/>
                    <a:pt x="139700" y="23039"/>
                    <a:pt x="133350" y="24626"/>
                  </a:cubicBezTo>
                  <a:cubicBezTo>
                    <a:pt x="124354" y="26213"/>
                    <a:pt x="116946" y="32031"/>
                    <a:pt x="112712" y="39965"/>
                  </a:cubicBezTo>
                  <a:lnTo>
                    <a:pt x="111654" y="42081"/>
                  </a:lnTo>
                  <a:cubicBezTo>
                    <a:pt x="110067" y="45255"/>
                    <a:pt x="111125" y="48958"/>
                    <a:pt x="114300" y="50544"/>
                  </a:cubicBezTo>
                  <a:lnTo>
                    <a:pt x="135996" y="61653"/>
                  </a:lnTo>
                  <a:lnTo>
                    <a:pt x="159279" y="90216"/>
                  </a:lnTo>
                  <a:lnTo>
                    <a:pt x="157163" y="94448"/>
                  </a:lnTo>
                  <a:lnTo>
                    <a:pt x="156633" y="94448"/>
                  </a:lnTo>
                  <a:cubicBezTo>
                    <a:pt x="153458" y="93390"/>
                    <a:pt x="150283" y="94977"/>
                    <a:pt x="148696" y="97622"/>
                  </a:cubicBezTo>
                  <a:lnTo>
                    <a:pt x="134408" y="125127"/>
                  </a:lnTo>
                  <a:cubicBezTo>
                    <a:pt x="133879" y="126714"/>
                    <a:pt x="133350" y="128301"/>
                    <a:pt x="133879" y="129888"/>
                  </a:cubicBezTo>
                  <a:cubicBezTo>
                    <a:pt x="134408" y="130946"/>
                    <a:pt x="135467" y="132004"/>
                    <a:pt x="136525" y="133062"/>
                  </a:cubicBezTo>
                  <a:lnTo>
                    <a:pt x="84138" y="220869"/>
                  </a:lnTo>
                  <a:lnTo>
                    <a:pt x="12700" y="220869"/>
                  </a:lnTo>
                  <a:lnTo>
                    <a:pt x="12700" y="85985"/>
                  </a:lnTo>
                  <a:lnTo>
                    <a:pt x="131763" y="85985"/>
                  </a:lnTo>
                  <a:cubicBezTo>
                    <a:pt x="135467" y="85985"/>
                    <a:pt x="138112" y="83340"/>
                    <a:pt x="138112" y="79637"/>
                  </a:cubicBezTo>
                  <a:cubicBezTo>
                    <a:pt x="138112" y="75935"/>
                    <a:pt x="135467" y="73290"/>
                    <a:pt x="131763" y="73290"/>
                  </a:cubicBezTo>
                  <a:lnTo>
                    <a:pt x="6350" y="73290"/>
                  </a:lnTo>
                  <a:cubicBezTo>
                    <a:pt x="2646" y="73290"/>
                    <a:pt x="0" y="75935"/>
                    <a:pt x="0" y="79637"/>
                  </a:cubicBezTo>
                  <a:lnTo>
                    <a:pt x="0" y="256838"/>
                  </a:lnTo>
                  <a:cubicBezTo>
                    <a:pt x="0" y="260540"/>
                    <a:pt x="2646" y="263185"/>
                    <a:pt x="6350" y="263185"/>
                  </a:cubicBezTo>
                  <a:lnTo>
                    <a:pt x="301096" y="263185"/>
                  </a:lnTo>
                  <a:cubicBezTo>
                    <a:pt x="304800" y="263185"/>
                    <a:pt x="307446" y="260540"/>
                    <a:pt x="307446" y="256838"/>
                  </a:cubicBezTo>
                  <a:lnTo>
                    <a:pt x="307446" y="79108"/>
                  </a:lnTo>
                  <a:cubicBezTo>
                    <a:pt x="306917" y="75935"/>
                    <a:pt x="304271" y="72761"/>
                    <a:pt x="300567" y="72761"/>
                  </a:cubicBezTo>
                  <a:close/>
                  <a:moveTo>
                    <a:pt x="170921" y="84927"/>
                  </a:moveTo>
                  <a:lnTo>
                    <a:pt x="144462" y="52132"/>
                  </a:lnTo>
                  <a:cubicBezTo>
                    <a:pt x="143933" y="51602"/>
                    <a:pt x="143404" y="51074"/>
                    <a:pt x="142346" y="50544"/>
                  </a:cubicBezTo>
                  <a:lnTo>
                    <a:pt x="125413" y="41552"/>
                  </a:lnTo>
                  <a:cubicBezTo>
                    <a:pt x="128058" y="38378"/>
                    <a:pt x="131233" y="36263"/>
                    <a:pt x="135467" y="35734"/>
                  </a:cubicBezTo>
                  <a:cubicBezTo>
                    <a:pt x="139171" y="35205"/>
                    <a:pt x="142875" y="35734"/>
                    <a:pt x="146579" y="37320"/>
                  </a:cubicBezTo>
                  <a:lnTo>
                    <a:pt x="151342" y="39436"/>
                  </a:lnTo>
                  <a:lnTo>
                    <a:pt x="165100" y="53718"/>
                  </a:lnTo>
                  <a:cubicBezTo>
                    <a:pt x="166688" y="55305"/>
                    <a:pt x="168804" y="55834"/>
                    <a:pt x="170392" y="55834"/>
                  </a:cubicBezTo>
                  <a:cubicBezTo>
                    <a:pt x="172508" y="55305"/>
                    <a:pt x="174096" y="54247"/>
                    <a:pt x="175154" y="52660"/>
                  </a:cubicBezTo>
                  <a:lnTo>
                    <a:pt x="195263" y="14047"/>
                  </a:lnTo>
                  <a:cubicBezTo>
                    <a:pt x="195792" y="12989"/>
                    <a:pt x="196321" y="12460"/>
                    <a:pt x="197379" y="12460"/>
                  </a:cubicBezTo>
                  <a:cubicBezTo>
                    <a:pt x="198438" y="11931"/>
                    <a:pt x="199496" y="12460"/>
                    <a:pt x="200025" y="12460"/>
                  </a:cubicBezTo>
                  <a:cubicBezTo>
                    <a:pt x="201612" y="13518"/>
                    <a:pt x="202671" y="15633"/>
                    <a:pt x="201612" y="17220"/>
                  </a:cubicBezTo>
                  <a:lnTo>
                    <a:pt x="197379" y="25155"/>
                  </a:lnTo>
                  <a:cubicBezTo>
                    <a:pt x="195792" y="28328"/>
                    <a:pt x="196850" y="32031"/>
                    <a:pt x="200025" y="33618"/>
                  </a:cubicBezTo>
                  <a:cubicBezTo>
                    <a:pt x="203200" y="35205"/>
                    <a:pt x="206904" y="34147"/>
                    <a:pt x="208492" y="30973"/>
                  </a:cubicBezTo>
                  <a:lnTo>
                    <a:pt x="209550" y="29386"/>
                  </a:lnTo>
                  <a:cubicBezTo>
                    <a:pt x="209550" y="29386"/>
                    <a:pt x="209550" y="29386"/>
                    <a:pt x="209550" y="29386"/>
                  </a:cubicBezTo>
                  <a:lnTo>
                    <a:pt x="213783" y="21452"/>
                  </a:lnTo>
                  <a:cubicBezTo>
                    <a:pt x="214313" y="20394"/>
                    <a:pt x="214842" y="19865"/>
                    <a:pt x="215900" y="19865"/>
                  </a:cubicBezTo>
                  <a:cubicBezTo>
                    <a:pt x="216958" y="19336"/>
                    <a:pt x="218017" y="19865"/>
                    <a:pt x="218546" y="19865"/>
                  </a:cubicBezTo>
                  <a:cubicBezTo>
                    <a:pt x="219604" y="20394"/>
                    <a:pt x="220133" y="20923"/>
                    <a:pt x="220133" y="21981"/>
                  </a:cubicBezTo>
                  <a:cubicBezTo>
                    <a:pt x="220663" y="23039"/>
                    <a:pt x="220133" y="24097"/>
                    <a:pt x="220133" y="24626"/>
                  </a:cubicBezTo>
                  <a:lnTo>
                    <a:pt x="215900" y="33089"/>
                  </a:lnTo>
                  <a:cubicBezTo>
                    <a:pt x="214313" y="35734"/>
                    <a:pt x="215371" y="38908"/>
                    <a:pt x="217487" y="41023"/>
                  </a:cubicBezTo>
                  <a:cubicBezTo>
                    <a:pt x="218017" y="41023"/>
                    <a:pt x="218017" y="41552"/>
                    <a:pt x="218546" y="41552"/>
                  </a:cubicBezTo>
                  <a:cubicBezTo>
                    <a:pt x="219604" y="42081"/>
                    <a:pt x="220133" y="42081"/>
                    <a:pt x="221192" y="42081"/>
                  </a:cubicBezTo>
                  <a:cubicBezTo>
                    <a:pt x="221192" y="42081"/>
                    <a:pt x="221192" y="42081"/>
                    <a:pt x="221192" y="42081"/>
                  </a:cubicBezTo>
                  <a:cubicBezTo>
                    <a:pt x="221192" y="42081"/>
                    <a:pt x="221721" y="42081"/>
                    <a:pt x="221721" y="42081"/>
                  </a:cubicBezTo>
                  <a:cubicBezTo>
                    <a:pt x="222779" y="42081"/>
                    <a:pt x="223308" y="41552"/>
                    <a:pt x="224367" y="41552"/>
                  </a:cubicBezTo>
                  <a:cubicBezTo>
                    <a:pt x="224367" y="41552"/>
                    <a:pt x="224896" y="41552"/>
                    <a:pt x="224896" y="41023"/>
                  </a:cubicBezTo>
                  <a:cubicBezTo>
                    <a:pt x="225954" y="40494"/>
                    <a:pt x="226483" y="39965"/>
                    <a:pt x="227013" y="38908"/>
                  </a:cubicBezTo>
                  <a:lnTo>
                    <a:pt x="229129" y="35205"/>
                  </a:lnTo>
                  <a:cubicBezTo>
                    <a:pt x="229658" y="34147"/>
                    <a:pt x="230188" y="33618"/>
                    <a:pt x="231246" y="33618"/>
                  </a:cubicBezTo>
                  <a:cubicBezTo>
                    <a:pt x="232304" y="33089"/>
                    <a:pt x="233362" y="33618"/>
                    <a:pt x="233892" y="33618"/>
                  </a:cubicBezTo>
                  <a:cubicBezTo>
                    <a:pt x="234421" y="33618"/>
                    <a:pt x="235479" y="34676"/>
                    <a:pt x="235479" y="35734"/>
                  </a:cubicBezTo>
                  <a:cubicBezTo>
                    <a:pt x="236008" y="36792"/>
                    <a:pt x="235479" y="37850"/>
                    <a:pt x="235479" y="38378"/>
                  </a:cubicBezTo>
                  <a:lnTo>
                    <a:pt x="232833" y="43139"/>
                  </a:lnTo>
                  <a:lnTo>
                    <a:pt x="232833" y="43139"/>
                  </a:lnTo>
                  <a:lnTo>
                    <a:pt x="232833" y="43139"/>
                  </a:lnTo>
                  <a:lnTo>
                    <a:pt x="231775" y="45255"/>
                  </a:lnTo>
                  <a:cubicBezTo>
                    <a:pt x="230188" y="48429"/>
                    <a:pt x="231246" y="52132"/>
                    <a:pt x="234421" y="53718"/>
                  </a:cubicBezTo>
                  <a:lnTo>
                    <a:pt x="234421" y="53718"/>
                  </a:lnTo>
                  <a:lnTo>
                    <a:pt x="234421" y="53718"/>
                  </a:lnTo>
                  <a:cubicBezTo>
                    <a:pt x="235479" y="54247"/>
                    <a:pt x="236008" y="54247"/>
                    <a:pt x="237067" y="54247"/>
                  </a:cubicBezTo>
                  <a:cubicBezTo>
                    <a:pt x="237067" y="54247"/>
                    <a:pt x="237067" y="54247"/>
                    <a:pt x="237067" y="54247"/>
                  </a:cubicBezTo>
                  <a:cubicBezTo>
                    <a:pt x="237067" y="54247"/>
                    <a:pt x="237596" y="54247"/>
                    <a:pt x="237596" y="54247"/>
                  </a:cubicBezTo>
                  <a:cubicBezTo>
                    <a:pt x="238654" y="54247"/>
                    <a:pt x="239183" y="53718"/>
                    <a:pt x="239712" y="53718"/>
                  </a:cubicBezTo>
                  <a:cubicBezTo>
                    <a:pt x="239712" y="53718"/>
                    <a:pt x="240242" y="53718"/>
                    <a:pt x="240242" y="53189"/>
                  </a:cubicBezTo>
                  <a:cubicBezTo>
                    <a:pt x="241300" y="52660"/>
                    <a:pt x="241829" y="52132"/>
                    <a:pt x="242358" y="51074"/>
                  </a:cubicBezTo>
                  <a:lnTo>
                    <a:pt x="243417" y="48958"/>
                  </a:lnTo>
                  <a:cubicBezTo>
                    <a:pt x="244475" y="47371"/>
                    <a:pt x="246592" y="46313"/>
                    <a:pt x="248179" y="47371"/>
                  </a:cubicBezTo>
                  <a:cubicBezTo>
                    <a:pt x="249767" y="48429"/>
                    <a:pt x="250825" y="50544"/>
                    <a:pt x="249767" y="52132"/>
                  </a:cubicBezTo>
                  <a:lnTo>
                    <a:pt x="220663" y="108201"/>
                  </a:lnTo>
                  <a:lnTo>
                    <a:pt x="212725" y="113490"/>
                  </a:lnTo>
                  <a:lnTo>
                    <a:pt x="166688" y="97622"/>
                  </a:lnTo>
                  <a:lnTo>
                    <a:pt x="169862" y="91274"/>
                  </a:lnTo>
                  <a:cubicBezTo>
                    <a:pt x="172508" y="89159"/>
                    <a:pt x="172508" y="86514"/>
                    <a:pt x="170921" y="84927"/>
                  </a:cubicBezTo>
                  <a:close/>
                  <a:moveTo>
                    <a:pt x="156633" y="107143"/>
                  </a:moveTo>
                  <a:cubicBezTo>
                    <a:pt x="156633" y="107143"/>
                    <a:pt x="157163" y="107672"/>
                    <a:pt x="157163" y="107672"/>
                  </a:cubicBezTo>
                  <a:lnTo>
                    <a:pt x="212725" y="127243"/>
                  </a:lnTo>
                  <a:lnTo>
                    <a:pt x="200025" y="152104"/>
                  </a:lnTo>
                  <a:lnTo>
                    <a:pt x="147638" y="125127"/>
                  </a:lnTo>
                  <a:lnTo>
                    <a:pt x="156633" y="107143"/>
                  </a:lnTo>
                  <a:close/>
                  <a:moveTo>
                    <a:pt x="146579" y="138351"/>
                  </a:moveTo>
                  <a:lnTo>
                    <a:pt x="186796" y="158981"/>
                  </a:lnTo>
                  <a:lnTo>
                    <a:pt x="163513" y="220340"/>
                  </a:lnTo>
                  <a:lnTo>
                    <a:pt x="97896" y="220340"/>
                  </a:lnTo>
                  <a:lnTo>
                    <a:pt x="146579" y="138351"/>
                  </a:lnTo>
                  <a:close/>
                  <a:moveTo>
                    <a:pt x="12171" y="249961"/>
                  </a:moveTo>
                  <a:lnTo>
                    <a:pt x="12171" y="233034"/>
                  </a:lnTo>
                  <a:lnTo>
                    <a:pt x="86783" y="233034"/>
                  </a:lnTo>
                  <a:cubicBezTo>
                    <a:pt x="86783" y="233034"/>
                    <a:pt x="86783" y="233034"/>
                    <a:pt x="86783" y="233034"/>
                  </a:cubicBezTo>
                  <a:lnTo>
                    <a:pt x="167746" y="233034"/>
                  </a:lnTo>
                  <a:cubicBezTo>
                    <a:pt x="167746" y="233034"/>
                    <a:pt x="167746" y="233034"/>
                    <a:pt x="167746" y="233034"/>
                  </a:cubicBezTo>
                  <a:lnTo>
                    <a:pt x="294217" y="233034"/>
                  </a:lnTo>
                  <a:lnTo>
                    <a:pt x="294217" y="249961"/>
                  </a:lnTo>
                  <a:lnTo>
                    <a:pt x="12171" y="249961"/>
                  </a:lnTo>
                  <a:close/>
                  <a:moveTo>
                    <a:pt x="218546" y="300212"/>
                  </a:moveTo>
                  <a:cubicBezTo>
                    <a:pt x="218546" y="303915"/>
                    <a:pt x="215900" y="306560"/>
                    <a:pt x="212196" y="306560"/>
                  </a:cubicBezTo>
                  <a:lnTo>
                    <a:pt x="182563" y="306560"/>
                  </a:lnTo>
                  <a:lnTo>
                    <a:pt x="123296" y="306560"/>
                  </a:lnTo>
                  <a:lnTo>
                    <a:pt x="94192" y="306560"/>
                  </a:lnTo>
                  <a:cubicBezTo>
                    <a:pt x="90487" y="306560"/>
                    <a:pt x="87842" y="303915"/>
                    <a:pt x="87842" y="300212"/>
                  </a:cubicBezTo>
                  <a:cubicBezTo>
                    <a:pt x="87842" y="296509"/>
                    <a:pt x="90487" y="293865"/>
                    <a:pt x="94192" y="293865"/>
                  </a:cubicBezTo>
                  <a:lnTo>
                    <a:pt x="118004" y="293865"/>
                  </a:lnTo>
                  <a:lnTo>
                    <a:pt x="122237" y="269533"/>
                  </a:lnTo>
                  <a:cubicBezTo>
                    <a:pt x="122767" y="265830"/>
                    <a:pt x="125942" y="263714"/>
                    <a:pt x="129646" y="264243"/>
                  </a:cubicBezTo>
                  <a:cubicBezTo>
                    <a:pt x="133350" y="264772"/>
                    <a:pt x="135467" y="267946"/>
                    <a:pt x="134938" y="271649"/>
                  </a:cubicBezTo>
                  <a:lnTo>
                    <a:pt x="131233" y="293865"/>
                  </a:lnTo>
                  <a:lnTo>
                    <a:pt x="175683" y="293865"/>
                  </a:lnTo>
                  <a:lnTo>
                    <a:pt x="171979" y="271649"/>
                  </a:lnTo>
                  <a:cubicBezTo>
                    <a:pt x="171450" y="267946"/>
                    <a:pt x="173567" y="264772"/>
                    <a:pt x="177271" y="264243"/>
                  </a:cubicBezTo>
                  <a:cubicBezTo>
                    <a:pt x="180446" y="263714"/>
                    <a:pt x="184150" y="265830"/>
                    <a:pt x="184679" y="269533"/>
                  </a:cubicBezTo>
                  <a:lnTo>
                    <a:pt x="188913" y="293865"/>
                  </a:lnTo>
                  <a:lnTo>
                    <a:pt x="213254" y="293865"/>
                  </a:lnTo>
                  <a:cubicBezTo>
                    <a:pt x="215371" y="293865"/>
                    <a:pt x="218546" y="297038"/>
                    <a:pt x="218546" y="300212"/>
                  </a:cubicBezTo>
                  <a:close/>
                </a:path>
              </a:pathLst>
            </a:cu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Calibri"/>
                <a:ea typeface="Calibri"/>
                <a:cs typeface="Calibri"/>
                <a:sym typeface="Calibri"/>
              </a:endParaRPr>
            </a:p>
          </p:txBody>
        </p:sp>
      </p:grpSp>
      <p:sp>
        <p:nvSpPr>
          <p:cNvPr id="11" name="TextBox 3">
            <a:extLst>
              <a:ext uri="{FF2B5EF4-FFF2-40B4-BE49-F238E27FC236}">
                <a16:creationId xmlns:a16="http://schemas.microsoft.com/office/drawing/2014/main" id="{785CE17B-EFCD-A723-B137-1DD3AD7E678A}"/>
              </a:ext>
            </a:extLst>
          </p:cNvPr>
          <p:cNvSpPr txBox="1"/>
          <p:nvPr/>
        </p:nvSpPr>
        <p:spPr>
          <a:xfrm>
            <a:off x="1770640" y="476764"/>
            <a:ext cx="4131736" cy="1195199"/>
          </a:xfrm>
          <a:prstGeom prst="rect">
            <a:avLst/>
          </a:prstGeom>
          <a:noFill/>
        </p:spPr>
        <p:txBody>
          <a:bodyPr wrap="square" rtlCol="0">
            <a:spAutoFit/>
          </a:bodyPr>
          <a:lstStyle/>
          <a:p>
            <a:pPr>
              <a:lnSpc>
                <a:spcPts val="4300"/>
              </a:lnSpc>
            </a:pPr>
            <a:r>
              <a:rPr lang="pt-BR" sz="4000" b="1" dirty="0">
                <a:solidFill>
                  <a:srgbClr val="1F3151"/>
                </a:solidFill>
                <a:latin typeface="+mj-lt"/>
              </a:rPr>
              <a:t>Digital </a:t>
            </a:r>
            <a:r>
              <a:rPr lang="pt-BR" sz="4000" b="1" dirty="0" err="1">
                <a:solidFill>
                  <a:srgbClr val="1F3151"/>
                </a:solidFill>
                <a:latin typeface="+mj-lt"/>
              </a:rPr>
              <a:t>Platforms</a:t>
            </a:r>
            <a:endParaRPr lang="pt-BR" sz="4000" b="1" dirty="0">
              <a:solidFill>
                <a:srgbClr val="1F3151"/>
              </a:solidFill>
              <a:latin typeface="+mj-lt"/>
            </a:endParaRPr>
          </a:p>
        </p:txBody>
      </p:sp>
      <p:grpSp>
        <p:nvGrpSpPr>
          <p:cNvPr id="45" name="Agrupar 44">
            <a:extLst>
              <a:ext uri="{FF2B5EF4-FFF2-40B4-BE49-F238E27FC236}">
                <a16:creationId xmlns:a16="http://schemas.microsoft.com/office/drawing/2014/main" id="{CB60F5D6-CA0E-6F94-A562-FA4F85AF9281}"/>
              </a:ext>
            </a:extLst>
          </p:cNvPr>
          <p:cNvGrpSpPr/>
          <p:nvPr/>
        </p:nvGrpSpPr>
        <p:grpSpPr>
          <a:xfrm>
            <a:off x="1884073" y="2498593"/>
            <a:ext cx="3904869" cy="464871"/>
            <a:chOff x="1884073" y="2498593"/>
            <a:chExt cx="3904869" cy="464871"/>
          </a:xfrm>
        </p:grpSpPr>
        <p:sp>
          <p:nvSpPr>
            <p:cNvPr id="7" name="CaixaDeTexto 25">
              <a:extLst>
                <a:ext uri="{FF2B5EF4-FFF2-40B4-BE49-F238E27FC236}">
                  <a16:creationId xmlns:a16="http://schemas.microsoft.com/office/drawing/2014/main" id="{35B7BDD6-28A3-EB47-5DA5-206CBC2911B1}"/>
                </a:ext>
              </a:extLst>
            </p:cNvPr>
            <p:cNvSpPr txBox="1"/>
            <p:nvPr/>
          </p:nvSpPr>
          <p:spPr>
            <a:xfrm>
              <a:off x="2077003" y="2498593"/>
              <a:ext cx="3711939" cy="464871"/>
            </a:xfrm>
            <a:prstGeom prst="rect">
              <a:avLst/>
            </a:prstGeom>
            <a:noFill/>
          </p:spPr>
          <p:txBody>
            <a:bodyPr wrap="square">
              <a:spAutoFit/>
            </a:bodyPr>
            <a:lstStyle/>
            <a:p>
              <a:pPr>
                <a:lnSpc>
                  <a:spcPct val="150000"/>
                </a:lnSpc>
              </a:pPr>
              <a:r>
                <a:rPr lang="en-US" b="1" dirty="0"/>
                <a:t>Reverse Logistics;</a:t>
              </a:r>
              <a:endParaRPr lang="pt-BR" b="1" dirty="0"/>
            </a:p>
          </p:txBody>
        </p:sp>
        <p:sp>
          <p:nvSpPr>
            <p:cNvPr id="23" name="Elipse 54">
              <a:extLst>
                <a:ext uri="{FF2B5EF4-FFF2-40B4-BE49-F238E27FC236}">
                  <a16:creationId xmlns:a16="http://schemas.microsoft.com/office/drawing/2014/main" id="{F72528CA-4CE1-7C30-E7BF-E50BACF66838}"/>
                </a:ext>
              </a:extLst>
            </p:cNvPr>
            <p:cNvSpPr/>
            <p:nvPr/>
          </p:nvSpPr>
          <p:spPr>
            <a:xfrm>
              <a:off x="1884073" y="268664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48" name="Agrupar 47">
            <a:extLst>
              <a:ext uri="{FF2B5EF4-FFF2-40B4-BE49-F238E27FC236}">
                <a16:creationId xmlns:a16="http://schemas.microsoft.com/office/drawing/2014/main" id="{CDF1ABE9-9412-F0B1-D8A7-950D597134F7}"/>
              </a:ext>
            </a:extLst>
          </p:cNvPr>
          <p:cNvGrpSpPr/>
          <p:nvPr/>
        </p:nvGrpSpPr>
        <p:grpSpPr>
          <a:xfrm>
            <a:off x="1884073" y="2972930"/>
            <a:ext cx="3374383" cy="464871"/>
            <a:chOff x="1884073" y="2972930"/>
            <a:chExt cx="3374383" cy="464871"/>
          </a:xfrm>
        </p:grpSpPr>
        <p:sp>
          <p:nvSpPr>
            <p:cNvPr id="26" name="CaixaDeTexto 25">
              <a:extLst>
                <a:ext uri="{FF2B5EF4-FFF2-40B4-BE49-F238E27FC236}">
                  <a16:creationId xmlns:a16="http://schemas.microsoft.com/office/drawing/2014/main" id="{AE0E2798-9EBC-7DDE-D3D2-DA143E8F038E}"/>
                </a:ext>
              </a:extLst>
            </p:cNvPr>
            <p:cNvSpPr txBox="1"/>
            <p:nvPr/>
          </p:nvSpPr>
          <p:spPr>
            <a:xfrm>
              <a:off x="2077004" y="2972930"/>
              <a:ext cx="3181452" cy="464871"/>
            </a:xfrm>
            <a:prstGeom prst="rect">
              <a:avLst/>
            </a:prstGeom>
            <a:noFill/>
          </p:spPr>
          <p:txBody>
            <a:bodyPr wrap="square">
              <a:spAutoFit/>
            </a:bodyPr>
            <a:lstStyle/>
            <a:p>
              <a:pPr>
                <a:lnSpc>
                  <a:spcPct val="150000"/>
                </a:lnSpc>
              </a:pPr>
              <a:r>
                <a:rPr lang="en-US" b="1" dirty="0"/>
                <a:t>Secondary material sales;</a:t>
              </a:r>
              <a:endParaRPr lang="pt-BR" b="1" dirty="0"/>
            </a:p>
          </p:txBody>
        </p:sp>
        <p:sp>
          <p:nvSpPr>
            <p:cNvPr id="25" name="Elipse 54">
              <a:extLst>
                <a:ext uri="{FF2B5EF4-FFF2-40B4-BE49-F238E27FC236}">
                  <a16:creationId xmlns:a16="http://schemas.microsoft.com/office/drawing/2014/main" id="{F211B2DC-B8B3-65BC-4C3E-43A0DF43EC8A}"/>
                </a:ext>
              </a:extLst>
            </p:cNvPr>
            <p:cNvSpPr/>
            <p:nvPr/>
          </p:nvSpPr>
          <p:spPr>
            <a:xfrm>
              <a:off x="1884073" y="316450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50" name="Agrupar 49">
            <a:extLst>
              <a:ext uri="{FF2B5EF4-FFF2-40B4-BE49-F238E27FC236}">
                <a16:creationId xmlns:a16="http://schemas.microsoft.com/office/drawing/2014/main" id="{13ED3BD1-8F51-8B1F-B73B-DD0C12A7A26B}"/>
              </a:ext>
            </a:extLst>
          </p:cNvPr>
          <p:cNvGrpSpPr/>
          <p:nvPr/>
        </p:nvGrpSpPr>
        <p:grpSpPr>
          <a:xfrm>
            <a:off x="1884073" y="3447267"/>
            <a:ext cx="3374383" cy="464871"/>
            <a:chOff x="1884073" y="3447267"/>
            <a:chExt cx="3374383" cy="464871"/>
          </a:xfrm>
        </p:grpSpPr>
        <p:sp>
          <p:nvSpPr>
            <p:cNvPr id="2" name="CaixaDeTexto 25">
              <a:extLst>
                <a:ext uri="{FF2B5EF4-FFF2-40B4-BE49-F238E27FC236}">
                  <a16:creationId xmlns:a16="http://schemas.microsoft.com/office/drawing/2014/main" id="{2E5F1E2C-2C12-35F1-4834-47D944BAAEA0}"/>
                </a:ext>
              </a:extLst>
            </p:cNvPr>
            <p:cNvSpPr txBox="1"/>
            <p:nvPr/>
          </p:nvSpPr>
          <p:spPr>
            <a:xfrm>
              <a:off x="2077004" y="3447267"/>
              <a:ext cx="3181452" cy="464871"/>
            </a:xfrm>
            <a:prstGeom prst="rect">
              <a:avLst/>
            </a:prstGeom>
            <a:noFill/>
          </p:spPr>
          <p:txBody>
            <a:bodyPr wrap="square">
              <a:spAutoFit/>
            </a:bodyPr>
            <a:lstStyle/>
            <a:p>
              <a:pPr>
                <a:lnSpc>
                  <a:spcPct val="150000"/>
                </a:lnSpc>
              </a:pPr>
              <a:r>
                <a:rPr lang="en-US" b="1" dirty="0"/>
                <a:t>Life cycle extension;</a:t>
              </a:r>
              <a:endParaRPr lang="pt-BR" b="1" dirty="0"/>
            </a:p>
          </p:txBody>
        </p:sp>
        <p:sp>
          <p:nvSpPr>
            <p:cNvPr id="27" name="Elipse 54">
              <a:extLst>
                <a:ext uri="{FF2B5EF4-FFF2-40B4-BE49-F238E27FC236}">
                  <a16:creationId xmlns:a16="http://schemas.microsoft.com/office/drawing/2014/main" id="{D909BDAE-D88F-8568-494A-66BC9C80B68E}"/>
                </a:ext>
              </a:extLst>
            </p:cNvPr>
            <p:cNvSpPr/>
            <p:nvPr/>
          </p:nvSpPr>
          <p:spPr>
            <a:xfrm>
              <a:off x="1884073" y="364236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54" name="Agrupar 53">
            <a:extLst>
              <a:ext uri="{FF2B5EF4-FFF2-40B4-BE49-F238E27FC236}">
                <a16:creationId xmlns:a16="http://schemas.microsoft.com/office/drawing/2014/main" id="{FEEE05CF-4726-312B-09AD-C4F427D86EA4}"/>
              </a:ext>
            </a:extLst>
          </p:cNvPr>
          <p:cNvGrpSpPr/>
          <p:nvPr/>
        </p:nvGrpSpPr>
        <p:grpSpPr>
          <a:xfrm>
            <a:off x="1884073" y="3921604"/>
            <a:ext cx="3097824" cy="464871"/>
            <a:chOff x="1884073" y="3921604"/>
            <a:chExt cx="3097824" cy="464871"/>
          </a:xfrm>
        </p:grpSpPr>
        <p:sp>
          <p:nvSpPr>
            <p:cNvPr id="46" name="CaixaDeTexto 45">
              <a:extLst>
                <a:ext uri="{FF2B5EF4-FFF2-40B4-BE49-F238E27FC236}">
                  <a16:creationId xmlns:a16="http://schemas.microsoft.com/office/drawing/2014/main" id="{E22B80D9-3965-F388-82CF-C6A729314FE9}"/>
                </a:ext>
              </a:extLst>
            </p:cNvPr>
            <p:cNvSpPr txBox="1"/>
            <p:nvPr/>
          </p:nvSpPr>
          <p:spPr>
            <a:xfrm>
              <a:off x="2077004" y="3921604"/>
              <a:ext cx="2904893" cy="464871"/>
            </a:xfrm>
            <a:prstGeom prst="rect">
              <a:avLst/>
            </a:prstGeom>
            <a:noFill/>
          </p:spPr>
          <p:txBody>
            <a:bodyPr wrap="square">
              <a:spAutoFit/>
            </a:bodyPr>
            <a:lstStyle/>
            <a:p>
              <a:pPr>
                <a:lnSpc>
                  <a:spcPct val="150000"/>
                </a:lnSpc>
              </a:pPr>
              <a:r>
                <a:rPr lang="en-US" b="1" dirty="0"/>
                <a:t>ESG management;</a:t>
              </a:r>
              <a:endParaRPr lang="pt-BR" b="1" dirty="0"/>
            </a:p>
          </p:txBody>
        </p:sp>
        <p:sp>
          <p:nvSpPr>
            <p:cNvPr id="28" name="Elipse 54">
              <a:extLst>
                <a:ext uri="{FF2B5EF4-FFF2-40B4-BE49-F238E27FC236}">
                  <a16:creationId xmlns:a16="http://schemas.microsoft.com/office/drawing/2014/main" id="{2DD09D50-3EF7-0309-3C3E-659CB75E2D0F}"/>
                </a:ext>
              </a:extLst>
            </p:cNvPr>
            <p:cNvSpPr/>
            <p:nvPr/>
          </p:nvSpPr>
          <p:spPr>
            <a:xfrm>
              <a:off x="1884073" y="412022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56" name="Agrupar 55">
            <a:extLst>
              <a:ext uri="{FF2B5EF4-FFF2-40B4-BE49-F238E27FC236}">
                <a16:creationId xmlns:a16="http://schemas.microsoft.com/office/drawing/2014/main" id="{9B2F9477-EFF4-6A48-9973-00F45740F764}"/>
              </a:ext>
            </a:extLst>
          </p:cNvPr>
          <p:cNvGrpSpPr/>
          <p:nvPr/>
        </p:nvGrpSpPr>
        <p:grpSpPr>
          <a:xfrm>
            <a:off x="1884073" y="4395941"/>
            <a:ext cx="3007891" cy="464871"/>
            <a:chOff x="1884073" y="4395941"/>
            <a:chExt cx="3007891" cy="464871"/>
          </a:xfrm>
        </p:grpSpPr>
        <p:sp>
          <p:nvSpPr>
            <p:cNvPr id="49" name="CaixaDeTexto 48">
              <a:extLst>
                <a:ext uri="{FF2B5EF4-FFF2-40B4-BE49-F238E27FC236}">
                  <a16:creationId xmlns:a16="http://schemas.microsoft.com/office/drawing/2014/main" id="{4CFDB96D-55B8-9BCB-3682-42D251E21293}"/>
                </a:ext>
              </a:extLst>
            </p:cNvPr>
            <p:cNvSpPr txBox="1"/>
            <p:nvPr/>
          </p:nvSpPr>
          <p:spPr>
            <a:xfrm>
              <a:off x="2077004" y="4395941"/>
              <a:ext cx="2814960" cy="464871"/>
            </a:xfrm>
            <a:prstGeom prst="rect">
              <a:avLst/>
            </a:prstGeom>
            <a:noFill/>
          </p:spPr>
          <p:txBody>
            <a:bodyPr wrap="square">
              <a:spAutoFit/>
            </a:bodyPr>
            <a:lstStyle/>
            <a:p>
              <a:pPr>
                <a:lnSpc>
                  <a:spcPct val="150000"/>
                </a:lnSpc>
              </a:pPr>
              <a:r>
                <a:rPr lang="pt-BR" b="1" dirty="0"/>
                <a:t>IOT services;</a:t>
              </a:r>
            </a:p>
          </p:txBody>
        </p:sp>
        <p:sp>
          <p:nvSpPr>
            <p:cNvPr id="29" name="Elipse 54">
              <a:extLst>
                <a:ext uri="{FF2B5EF4-FFF2-40B4-BE49-F238E27FC236}">
                  <a16:creationId xmlns:a16="http://schemas.microsoft.com/office/drawing/2014/main" id="{2FE2D802-0E50-06D3-FCDD-C90455B6801F}"/>
                </a:ext>
              </a:extLst>
            </p:cNvPr>
            <p:cNvSpPr/>
            <p:nvPr/>
          </p:nvSpPr>
          <p:spPr>
            <a:xfrm>
              <a:off x="1884073" y="4598089"/>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57" name="Agrupar 56">
            <a:extLst>
              <a:ext uri="{FF2B5EF4-FFF2-40B4-BE49-F238E27FC236}">
                <a16:creationId xmlns:a16="http://schemas.microsoft.com/office/drawing/2014/main" id="{DFFE7EA0-B166-76C0-61B2-68DBB5FE30A2}"/>
              </a:ext>
            </a:extLst>
          </p:cNvPr>
          <p:cNvGrpSpPr/>
          <p:nvPr/>
        </p:nvGrpSpPr>
        <p:grpSpPr>
          <a:xfrm>
            <a:off x="1884073" y="4870278"/>
            <a:ext cx="3007892" cy="464871"/>
            <a:chOff x="1884073" y="4870278"/>
            <a:chExt cx="3007892" cy="464871"/>
          </a:xfrm>
        </p:grpSpPr>
        <p:sp>
          <p:nvSpPr>
            <p:cNvPr id="51" name="CaixaDeTexto 50">
              <a:extLst>
                <a:ext uri="{FF2B5EF4-FFF2-40B4-BE49-F238E27FC236}">
                  <a16:creationId xmlns:a16="http://schemas.microsoft.com/office/drawing/2014/main" id="{4E9F6F0C-5E78-DE65-D646-D1482617B45F}"/>
                </a:ext>
              </a:extLst>
            </p:cNvPr>
            <p:cNvSpPr txBox="1"/>
            <p:nvPr/>
          </p:nvSpPr>
          <p:spPr>
            <a:xfrm>
              <a:off x="2077004" y="4870278"/>
              <a:ext cx="2814961" cy="464871"/>
            </a:xfrm>
            <a:prstGeom prst="rect">
              <a:avLst/>
            </a:prstGeom>
            <a:noFill/>
          </p:spPr>
          <p:txBody>
            <a:bodyPr wrap="square">
              <a:spAutoFit/>
            </a:bodyPr>
            <a:lstStyle/>
            <a:p>
              <a:pPr>
                <a:lnSpc>
                  <a:spcPct val="150000"/>
                </a:lnSpc>
              </a:pPr>
              <a:r>
                <a:rPr lang="pt-BR" b="1" dirty="0"/>
                <a:t>Industry 4.0.</a:t>
              </a:r>
            </a:p>
          </p:txBody>
        </p:sp>
        <p:sp>
          <p:nvSpPr>
            <p:cNvPr id="30" name="Elipse 54">
              <a:extLst>
                <a:ext uri="{FF2B5EF4-FFF2-40B4-BE49-F238E27FC236}">
                  <a16:creationId xmlns:a16="http://schemas.microsoft.com/office/drawing/2014/main" id="{253AA3C9-EB28-F33F-A584-57C41084B6B3}"/>
                </a:ext>
              </a:extLst>
            </p:cNvPr>
            <p:cNvSpPr/>
            <p:nvPr/>
          </p:nvSpPr>
          <p:spPr>
            <a:xfrm>
              <a:off x="1884073" y="5075947"/>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42" name="Agrupar 41">
            <a:extLst>
              <a:ext uri="{FF2B5EF4-FFF2-40B4-BE49-F238E27FC236}">
                <a16:creationId xmlns:a16="http://schemas.microsoft.com/office/drawing/2014/main" id="{1738E581-183B-44AE-CE3E-EC9129771F5D}"/>
              </a:ext>
            </a:extLst>
          </p:cNvPr>
          <p:cNvGrpSpPr/>
          <p:nvPr/>
        </p:nvGrpSpPr>
        <p:grpSpPr>
          <a:xfrm>
            <a:off x="8068936" y="1867824"/>
            <a:ext cx="2700294" cy="1686669"/>
            <a:chOff x="8068936" y="1867824"/>
            <a:chExt cx="2700294" cy="1686669"/>
          </a:xfrm>
        </p:grpSpPr>
        <p:pic>
          <p:nvPicPr>
            <p:cNvPr id="2056" name="Picture 8" descr="Indústria 4.0: o que é e como se preparar">
              <a:extLst>
                <a:ext uri="{FF2B5EF4-FFF2-40B4-BE49-F238E27FC236}">
                  <a16:creationId xmlns:a16="http://schemas.microsoft.com/office/drawing/2014/main" id="{21E45C40-F119-CF44-03CA-401AB744E6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70559" y="1867824"/>
              <a:ext cx="2698671" cy="1686669"/>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Conector reto 31">
              <a:extLst>
                <a:ext uri="{FF2B5EF4-FFF2-40B4-BE49-F238E27FC236}">
                  <a16:creationId xmlns:a16="http://schemas.microsoft.com/office/drawing/2014/main" id="{87440CBC-AB9B-8DB8-7CFE-DDAF29EC19B8}"/>
                </a:ext>
              </a:extLst>
            </p:cNvPr>
            <p:cNvCxnSpPr>
              <a:cxnSpLocks/>
            </p:cNvCxnSpPr>
            <p:nvPr/>
          </p:nvCxnSpPr>
          <p:spPr>
            <a:xfrm>
              <a:off x="8068936" y="1867824"/>
              <a:ext cx="0" cy="1682693"/>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Agrupar 40">
            <a:extLst>
              <a:ext uri="{FF2B5EF4-FFF2-40B4-BE49-F238E27FC236}">
                <a16:creationId xmlns:a16="http://schemas.microsoft.com/office/drawing/2014/main" id="{6B4DD021-3A4F-24B3-59E8-6BE857D4EF58}"/>
              </a:ext>
            </a:extLst>
          </p:cNvPr>
          <p:cNvGrpSpPr/>
          <p:nvPr/>
        </p:nvGrpSpPr>
        <p:grpSpPr>
          <a:xfrm>
            <a:off x="5902978" y="1844606"/>
            <a:ext cx="1877800" cy="1705911"/>
            <a:chOff x="5902978" y="1844606"/>
            <a:chExt cx="1877800" cy="1705911"/>
          </a:xfrm>
        </p:grpSpPr>
        <p:pic>
          <p:nvPicPr>
            <p:cNvPr id="2050" name="Picture 2">
              <a:extLst>
                <a:ext uri="{FF2B5EF4-FFF2-40B4-BE49-F238E27FC236}">
                  <a16:creationId xmlns:a16="http://schemas.microsoft.com/office/drawing/2014/main" id="{F533B5BD-8008-E460-53DD-8C7622BB2E2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643" r="18629"/>
            <a:stretch/>
          </p:blipFill>
          <p:spPr bwMode="auto">
            <a:xfrm>
              <a:off x="5908711" y="1844606"/>
              <a:ext cx="1872067" cy="1705911"/>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Conector reto 34">
              <a:extLst>
                <a:ext uri="{FF2B5EF4-FFF2-40B4-BE49-F238E27FC236}">
                  <a16:creationId xmlns:a16="http://schemas.microsoft.com/office/drawing/2014/main" id="{9BEC77A7-0B3B-CCE0-C542-E37399375344}"/>
                </a:ext>
              </a:extLst>
            </p:cNvPr>
            <p:cNvCxnSpPr>
              <a:cxnSpLocks/>
            </p:cNvCxnSpPr>
            <p:nvPr/>
          </p:nvCxnSpPr>
          <p:spPr>
            <a:xfrm>
              <a:off x="5902978" y="1867824"/>
              <a:ext cx="0" cy="1682693"/>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 name="Agrupar 42">
            <a:extLst>
              <a:ext uri="{FF2B5EF4-FFF2-40B4-BE49-F238E27FC236}">
                <a16:creationId xmlns:a16="http://schemas.microsoft.com/office/drawing/2014/main" id="{1A99018B-EE90-F942-5E72-3026B01CD999}"/>
              </a:ext>
            </a:extLst>
          </p:cNvPr>
          <p:cNvGrpSpPr/>
          <p:nvPr/>
        </p:nvGrpSpPr>
        <p:grpSpPr>
          <a:xfrm>
            <a:off x="8068936" y="3694596"/>
            <a:ext cx="2700293" cy="1730622"/>
            <a:chOff x="8068936" y="3694596"/>
            <a:chExt cx="2700293" cy="1730622"/>
          </a:xfrm>
        </p:grpSpPr>
        <p:pic>
          <p:nvPicPr>
            <p:cNvPr id="2054" name="Picture 6" descr="Top 5 Ways in Which Businesses can Benefit From IOT Solutions">
              <a:extLst>
                <a:ext uri="{FF2B5EF4-FFF2-40B4-BE49-F238E27FC236}">
                  <a16:creationId xmlns:a16="http://schemas.microsoft.com/office/drawing/2014/main" id="{412A8229-CA32-03F0-6152-0C80080EF8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812" r="11769"/>
            <a:stretch/>
          </p:blipFill>
          <p:spPr bwMode="auto">
            <a:xfrm>
              <a:off x="8070559" y="3694596"/>
              <a:ext cx="2698670" cy="1730622"/>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Conector reto 35">
              <a:extLst>
                <a:ext uri="{FF2B5EF4-FFF2-40B4-BE49-F238E27FC236}">
                  <a16:creationId xmlns:a16="http://schemas.microsoft.com/office/drawing/2014/main" id="{750D1B4E-9986-18C8-8F81-3225BB6C5B42}"/>
                </a:ext>
              </a:extLst>
            </p:cNvPr>
            <p:cNvCxnSpPr>
              <a:cxnSpLocks/>
            </p:cNvCxnSpPr>
            <p:nvPr/>
          </p:nvCxnSpPr>
          <p:spPr>
            <a:xfrm>
              <a:off x="8068936" y="3694596"/>
              <a:ext cx="0" cy="1730622"/>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4" name="Agrupar 43">
            <a:extLst>
              <a:ext uri="{FF2B5EF4-FFF2-40B4-BE49-F238E27FC236}">
                <a16:creationId xmlns:a16="http://schemas.microsoft.com/office/drawing/2014/main" id="{E16E299F-5043-5BB4-95E9-298419892542}"/>
              </a:ext>
            </a:extLst>
          </p:cNvPr>
          <p:cNvGrpSpPr/>
          <p:nvPr/>
        </p:nvGrpSpPr>
        <p:grpSpPr>
          <a:xfrm>
            <a:off x="5902978" y="3694596"/>
            <a:ext cx="1868072" cy="1730622"/>
            <a:chOff x="5902978" y="3694596"/>
            <a:chExt cx="1868072" cy="1730622"/>
          </a:xfrm>
        </p:grpSpPr>
        <p:pic>
          <p:nvPicPr>
            <p:cNvPr id="2052" name="Picture 4">
              <a:extLst>
                <a:ext uri="{FF2B5EF4-FFF2-40B4-BE49-F238E27FC236}">
                  <a16:creationId xmlns:a16="http://schemas.microsoft.com/office/drawing/2014/main" id="{935B7399-7825-CB69-D0F3-85E49CE4A1A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686" r="1"/>
            <a:stretch/>
          </p:blipFill>
          <p:spPr bwMode="auto">
            <a:xfrm>
              <a:off x="5930540" y="3694596"/>
              <a:ext cx="1840510" cy="1730622"/>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Conector reto 36">
              <a:extLst>
                <a:ext uri="{FF2B5EF4-FFF2-40B4-BE49-F238E27FC236}">
                  <a16:creationId xmlns:a16="http://schemas.microsoft.com/office/drawing/2014/main" id="{78D48EEE-4E4B-B7CF-7527-BC84949A43B4}"/>
                </a:ext>
              </a:extLst>
            </p:cNvPr>
            <p:cNvCxnSpPr>
              <a:cxnSpLocks/>
            </p:cNvCxnSpPr>
            <p:nvPr/>
          </p:nvCxnSpPr>
          <p:spPr>
            <a:xfrm>
              <a:off x="5902978" y="3694596"/>
              <a:ext cx="0" cy="1730622"/>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3967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3">
            <a:extLst>
              <a:ext uri="{FF2B5EF4-FFF2-40B4-BE49-F238E27FC236}">
                <a16:creationId xmlns:a16="http://schemas.microsoft.com/office/drawing/2014/main" id="{785CE17B-EFCD-A723-B137-1DD3AD7E678A}"/>
              </a:ext>
            </a:extLst>
          </p:cNvPr>
          <p:cNvSpPr txBox="1"/>
          <p:nvPr/>
        </p:nvSpPr>
        <p:spPr>
          <a:xfrm>
            <a:off x="1722138" y="512222"/>
            <a:ext cx="4131736" cy="1195199"/>
          </a:xfrm>
          <a:prstGeom prst="rect">
            <a:avLst/>
          </a:prstGeom>
          <a:noFill/>
        </p:spPr>
        <p:txBody>
          <a:bodyPr wrap="square" rtlCol="0">
            <a:spAutoFit/>
          </a:bodyPr>
          <a:lstStyle>
            <a:defPPr>
              <a:defRPr lang="pt-BR"/>
            </a:defPPr>
            <a:lvl1pPr>
              <a:lnSpc>
                <a:spcPts val="4300"/>
              </a:lnSpc>
              <a:defRPr sz="4000" b="1">
                <a:solidFill>
                  <a:srgbClr val="1F3151"/>
                </a:solidFill>
                <a:latin typeface="+mj-lt"/>
              </a:defRPr>
            </a:lvl1pPr>
          </a:lstStyle>
          <a:p>
            <a:r>
              <a:rPr lang="pt-BR" dirty="0" err="1"/>
              <a:t>Renewable</a:t>
            </a:r>
            <a:r>
              <a:rPr lang="pt-BR" dirty="0"/>
              <a:t> Energy</a:t>
            </a:r>
          </a:p>
        </p:txBody>
      </p:sp>
      <p:grpSp>
        <p:nvGrpSpPr>
          <p:cNvPr id="2" name="Group 1">
            <a:extLst>
              <a:ext uri="{FF2B5EF4-FFF2-40B4-BE49-F238E27FC236}">
                <a16:creationId xmlns:a16="http://schemas.microsoft.com/office/drawing/2014/main" id="{0EC03EF9-A572-5A72-2D90-40597CD8CCAC}"/>
              </a:ext>
            </a:extLst>
          </p:cNvPr>
          <p:cNvGrpSpPr/>
          <p:nvPr/>
        </p:nvGrpSpPr>
        <p:grpSpPr>
          <a:xfrm>
            <a:off x="116979" y="283476"/>
            <a:ext cx="1617928" cy="1575636"/>
            <a:chOff x="2016795" y="1941690"/>
            <a:chExt cx="808992" cy="808992"/>
          </a:xfrm>
        </p:grpSpPr>
        <p:sp>
          <p:nvSpPr>
            <p:cNvPr id="3" name="Forma Livre: Forma 93">
              <a:extLst>
                <a:ext uri="{FF2B5EF4-FFF2-40B4-BE49-F238E27FC236}">
                  <a16:creationId xmlns:a16="http://schemas.microsoft.com/office/drawing/2014/main" id="{5A95FF82-0203-E33C-039E-5B7CA96FFDC0}"/>
                </a:ext>
              </a:extLst>
            </p:cNvPr>
            <p:cNvSpPr/>
            <p:nvPr/>
          </p:nvSpPr>
          <p:spPr>
            <a:xfrm>
              <a:off x="2540444" y="2154248"/>
              <a:ext cx="19021" cy="21675"/>
            </a:xfrm>
            <a:custGeom>
              <a:avLst/>
              <a:gdLst>
                <a:gd name="connsiteX0" fmla="*/ 5988 w 19021"/>
                <a:gd name="connsiteY0" fmla="*/ 21675 h 21675"/>
                <a:gd name="connsiteX1" fmla="*/ 2466 w 19021"/>
                <a:gd name="connsiteY1" fmla="*/ 20525 h 21675"/>
                <a:gd name="connsiteX2" fmla="*/ 1148 w 19021"/>
                <a:gd name="connsiteY2" fmla="*/ 12162 h 21675"/>
                <a:gd name="connsiteX3" fmla="*/ 8193 w 19021"/>
                <a:gd name="connsiteY3" fmla="*/ 2469 h 21675"/>
                <a:gd name="connsiteX4" fmla="*/ 16556 w 19021"/>
                <a:gd name="connsiteY4" fmla="*/ 1151 h 21675"/>
                <a:gd name="connsiteX5" fmla="*/ 17874 w 19021"/>
                <a:gd name="connsiteY5" fmla="*/ 9514 h 21675"/>
                <a:gd name="connsiteX6" fmla="*/ 10841 w 19021"/>
                <a:gd name="connsiteY6" fmla="*/ 19207 h 21675"/>
                <a:gd name="connsiteX7" fmla="*/ 5988 w 19021"/>
                <a:gd name="connsiteY7" fmla="*/ 21675 h 2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1" h="21675">
                  <a:moveTo>
                    <a:pt x="5988" y="21675"/>
                  </a:moveTo>
                  <a:cubicBezTo>
                    <a:pt x="4754" y="21675"/>
                    <a:pt x="3532" y="21304"/>
                    <a:pt x="2466" y="20525"/>
                  </a:cubicBezTo>
                  <a:cubicBezTo>
                    <a:pt x="-218" y="18584"/>
                    <a:pt x="-793" y="14834"/>
                    <a:pt x="1148" y="12162"/>
                  </a:cubicBezTo>
                  <a:lnTo>
                    <a:pt x="8193" y="2469"/>
                  </a:lnTo>
                  <a:cubicBezTo>
                    <a:pt x="10146" y="-227"/>
                    <a:pt x="13896" y="-790"/>
                    <a:pt x="16556" y="1151"/>
                  </a:cubicBezTo>
                  <a:cubicBezTo>
                    <a:pt x="19240" y="3092"/>
                    <a:pt x="19815" y="6842"/>
                    <a:pt x="17874" y="9514"/>
                  </a:cubicBezTo>
                  <a:lnTo>
                    <a:pt x="10841" y="19207"/>
                  </a:lnTo>
                  <a:cubicBezTo>
                    <a:pt x="9666" y="20825"/>
                    <a:pt x="7845" y="21675"/>
                    <a:pt x="5988" y="21675"/>
                  </a:cubicBezTo>
                  <a:close/>
                </a:path>
              </a:pathLst>
            </a:custGeom>
            <a:solidFill>
              <a:schemeClr val="accent4"/>
            </a:solidFill>
            <a:ln w="11906" cap="flat">
              <a:noFill/>
              <a:prstDash val="solid"/>
              <a:miter/>
            </a:ln>
          </p:spPr>
          <p:txBody>
            <a:bodyPr rtlCol="0" anchor="ctr"/>
            <a:lstStyle/>
            <a:p>
              <a:endParaRPr lang="pt-BR"/>
            </a:p>
          </p:txBody>
        </p:sp>
        <p:sp>
          <p:nvSpPr>
            <p:cNvPr id="4" name="Forma Livre: Forma 94">
              <a:extLst>
                <a:ext uri="{FF2B5EF4-FFF2-40B4-BE49-F238E27FC236}">
                  <a16:creationId xmlns:a16="http://schemas.microsoft.com/office/drawing/2014/main" id="{10A9EB6B-BC93-550D-6576-CB96948108AC}"/>
                </a:ext>
              </a:extLst>
            </p:cNvPr>
            <p:cNvSpPr/>
            <p:nvPr/>
          </p:nvSpPr>
          <p:spPr>
            <a:xfrm>
              <a:off x="2418428" y="2244314"/>
              <a:ext cx="23374" cy="15684"/>
            </a:xfrm>
            <a:custGeom>
              <a:avLst/>
              <a:gdLst>
                <a:gd name="connsiteX0" fmla="*/ 5996 w 23374"/>
                <a:gd name="connsiteY0" fmla="*/ 15684 h 15684"/>
                <a:gd name="connsiteX1" fmla="*/ 293 w 23374"/>
                <a:gd name="connsiteY1" fmla="*/ 11539 h 15684"/>
                <a:gd name="connsiteX2" fmla="*/ 4139 w 23374"/>
                <a:gd name="connsiteY2" fmla="*/ 3990 h 15684"/>
                <a:gd name="connsiteX3" fmla="*/ 15533 w 23374"/>
                <a:gd name="connsiteY3" fmla="*/ 288 h 15684"/>
                <a:gd name="connsiteX4" fmla="*/ 23082 w 23374"/>
                <a:gd name="connsiteY4" fmla="*/ 4134 h 15684"/>
                <a:gd name="connsiteX5" fmla="*/ 19236 w 23374"/>
                <a:gd name="connsiteY5" fmla="*/ 11683 h 15684"/>
                <a:gd name="connsiteX6" fmla="*/ 7841 w 23374"/>
                <a:gd name="connsiteY6" fmla="*/ 15385 h 15684"/>
                <a:gd name="connsiteX7" fmla="*/ 5996 w 23374"/>
                <a:gd name="connsiteY7" fmla="*/ 15684 h 1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74" h="15684">
                  <a:moveTo>
                    <a:pt x="5996" y="15684"/>
                  </a:moveTo>
                  <a:cubicBezTo>
                    <a:pt x="3468" y="15684"/>
                    <a:pt x="1119" y="14079"/>
                    <a:pt x="293" y="11539"/>
                  </a:cubicBezTo>
                  <a:cubicBezTo>
                    <a:pt x="-726" y="8400"/>
                    <a:pt x="1000" y="5021"/>
                    <a:pt x="4139" y="3990"/>
                  </a:cubicBezTo>
                  <a:lnTo>
                    <a:pt x="15533" y="288"/>
                  </a:lnTo>
                  <a:cubicBezTo>
                    <a:pt x="18672" y="-718"/>
                    <a:pt x="22075" y="995"/>
                    <a:pt x="23082" y="4134"/>
                  </a:cubicBezTo>
                  <a:cubicBezTo>
                    <a:pt x="24100" y="7273"/>
                    <a:pt x="22375" y="10652"/>
                    <a:pt x="19236" y="11683"/>
                  </a:cubicBezTo>
                  <a:lnTo>
                    <a:pt x="7841" y="15385"/>
                  </a:lnTo>
                  <a:cubicBezTo>
                    <a:pt x="7230" y="15589"/>
                    <a:pt x="6607" y="15684"/>
                    <a:pt x="5996" y="15684"/>
                  </a:cubicBezTo>
                  <a:close/>
                </a:path>
              </a:pathLst>
            </a:custGeom>
            <a:solidFill>
              <a:schemeClr val="accent4"/>
            </a:solidFill>
            <a:ln w="11906" cap="flat">
              <a:noFill/>
              <a:prstDash val="solid"/>
              <a:miter/>
            </a:ln>
          </p:spPr>
          <p:txBody>
            <a:bodyPr rtlCol="0" anchor="ctr"/>
            <a:lstStyle/>
            <a:p>
              <a:endParaRPr lang="pt-BR"/>
            </a:p>
          </p:txBody>
        </p:sp>
        <p:sp>
          <p:nvSpPr>
            <p:cNvPr id="5" name="Forma Livre: Forma 95">
              <a:extLst>
                <a:ext uri="{FF2B5EF4-FFF2-40B4-BE49-F238E27FC236}">
                  <a16:creationId xmlns:a16="http://schemas.microsoft.com/office/drawing/2014/main" id="{1EECE2E2-258B-603B-0F49-36AE0BBB5978}"/>
                </a:ext>
              </a:extLst>
            </p:cNvPr>
            <p:cNvSpPr/>
            <p:nvPr/>
          </p:nvSpPr>
          <p:spPr>
            <a:xfrm>
              <a:off x="2566567" y="2244321"/>
              <a:ext cx="23376" cy="15677"/>
            </a:xfrm>
            <a:custGeom>
              <a:avLst/>
              <a:gdLst>
                <a:gd name="connsiteX0" fmla="*/ 17379 w 23376"/>
                <a:gd name="connsiteY0" fmla="*/ 15677 h 15677"/>
                <a:gd name="connsiteX1" fmla="*/ 15534 w 23376"/>
                <a:gd name="connsiteY1" fmla="*/ 15389 h 15677"/>
                <a:gd name="connsiteX2" fmla="*/ 4140 w 23376"/>
                <a:gd name="connsiteY2" fmla="*/ 11687 h 15677"/>
                <a:gd name="connsiteX3" fmla="*/ 294 w 23376"/>
                <a:gd name="connsiteY3" fmla="*/ 4139 h 15677"/>
                <a:gd name="connsiteX4" fmla="*/ 7842 w 23376"/>
                <a:gd name="connsiteY4" fmla="*/ 293 h 15677"/>
                <a:gd name="connsiteX5" fmla="*/ 19237 w 23376"/>
                <a:gd name="connsiteY5" fmla="*/ 3995 h 15677"/>
                <a:gd name="connsiteX6" fmla="*/ 23083 w 23376"/>
                <a:gd name="connsiteY6" fmla="*/ 11543 h 15677"/>
                <a:gd name="connsiteX7" fmla="*/ 17379 w 23376"/>
                <a:gd name="connsiteY7" fmla="*/ 15677 h 1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76" h="15677">
                  <a:moveTo>
                    <a:pt x="17379" y="15677"/>
                  </a:moveTo>
                  <a:cubicBezTo>
                    <a:pt x="16768" y="15677"/>
                    <a:pt x="16133" y="15581"/>
                    <a:pt x="15534" y="15389"/>
                  </a:cubicBezTo>
                  <a:lnTo>
                    <a:pt x="4140" y="11687"/>
                  </a:lnTo>
                  <a:cubicBezTo>
                    <a:pt x="989" y="10669"/>
                    <a:pt x="-725" y="7278"/>
                    <a:pt x="294" y="4139"/>
                  </a:cubicBezTo>
                  <a:cubicBezTo>
                    <a:pt x="1312" y="1000"/>
                    <a:pt x="4715" y="-726"/>
                    <a:pt x="7842" y="293"/>
                  </a:cubicBezTo>
                  <a:lnTo>
                    <a:pt x="19237" y="3995"/>
                  </a:lnTo>
                  <a:cubicBezTo>
                    <a:pt x="22388" y="5013"/>
                    <a:pt x="24101" y="8404"/>
                    <a:pt x="23083" y="11543"/>
                  </a:cubicBezTo>
                  <a:cubicBezTo>
                    <a:pt x="22256" y="14071"/>
                    <a:pt x="19908" y="15677"/>
                    <a:pt x="17379" y="15677"/>
                  </a:cubicBezTo>
                  <a:close/>
                </a:path>
              </a:pathLst>
            </a:custGeom>
            <a:solidFill>
              <a:schemeClr val="accent4"/>
            </a:solidFill>
            <a:ln w="11906" cap="flat">
              <a:noFill/>
              <a:prstDash val="solid"/>
              <a:miter/>
            </a:ln>
          </p:spPr>
          <p:txBody>
            <a:bodyPr rtlCol="0" anchor="ctr"/>
            <a:lstStyle/>
            <a:p>
              <a:endParaRPr lang="pt-BR"/>
            </a:p>
          </p:txBody>
        </p:sp>
        <p:sp>
          <p:nvSpPr>
            <p:cNvPr id="6" name="Forma Livre: Forma 96">
              <a:extLst>
                <a:ext uri="{FF2B5EF4-FFF2-40B4-BE49-F238E27FC236}">
                  <a16:creationId xmlns:a16="http://schemas.microsoft.com/office/drawing/2014/main" id="{2ADBB9F8-371F-158E-183D-0B3E4AB2DBCF}"/>
                </a:ext>
              </a:extLst>
            </p:cNvPr>
            <p:cNvSpPr/>
            <p:nvPr/>
          </p:nvSpPr>
          <p:spPr>
            <a:xfrm>
              <a:off x="2448908" y="2154252"/>
              <a:ext cx="19014" cy="21672"/>
            </a:xfrm>
            <a:custGeom>
              <a:avLst/>
              <a:gdLst>
                <a:gd name="connsiteX0" fmla="*/ 13030 w 19014"/>
                <a:gd name="connsiteY0" fmla="*/ 21672 h 21672"/>
                <a:gd name="connsiteX1" fmla="*/ 8189 w 19014"/>
                <a:gd name="connsiteY1" fmla="*/ 19204 h 21672"/>
                <a:gd name="connsiteX2" fmla="*/ 1144 w 19014"/>
                <a:gd name="connsiteY2" fmla="*/ 9511 h 21672"/>
                <a:gd name="connsiteX3" fmla="*/ 2462 w 19014"/>
                <a:gd name="connsiteY3" fmla="*/ 1148 h 21672"/>
                <a:gd name="connsiteX4" fmla="*/ 10825 w 19014"/>
                <a:gd name="connsiteY4" fmla="*/ 2466 h 21672"/>
                <a:gd name="connsiteX5" fmla="*/ 17870 w 19014"/>
                <a:gd name="connsiteY5" fmla="*/ 12159 h 21672"/>
                <a:gd name="connsiteX6" fmla="*/ 16552 w 19014"/>
                <a:gd name="connsiteY6" fmla="*/ 20522 h 21672"/>
                <a:gd name="connsiteX7" fmla="*/ 13030 w 19014"/>
                <a:gd name="connsiteY7" fmla="*/ 21672 h 2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14" h="21672">
                  <a:moveTo>
                    <a:pt x="13030" y="21672"/>
                  </a:moveTo>
                  <a:cubicBezTo>
                    <a:pt x="11185" y="21672"/>
                    <a:pt x="9352" y="20821"/>
                    <a:pt x="8189" y="19204"/>
                  </a:cubicBezTo>
                  <a:lnTo>
                    <a:pt x="1144" y="9511"/>
                  </a:lnTo>
                  <a:cubicBezTo>
                    <a:pt x="-797" y="6827"/>
                    <a:pt x="-210" y="3089"/>
                    <a:pt x="2462" y="1148"/>
                  </a:cubicBezTo>
                  <a:cubicBezTo>
                    <a:pt x="5122" y="-793"/>
                    <a:pt x="8872" y="-218"/>
                    <a:pt x="10825" y="2466"/>
                  </a:cubicBezTo>
                  <a:lnTo>
                    <a:pt x="17870" y="12159"/>
                  </a:lnTo>
                  <a:cubicBezTo>
                    <a:pt x="19811" y="14843"/>
                    <a:pt x="19224" y="18581"/>
                    <a:pt x="16552" y="20522"/>
                  </a:cubicBezTo>
                  <a:cubicBezTo>
                    <a:pt x="15486" y="21301"/>
                    <a:pt x="14252" y="21672"/>
                    <a:pt x="13030" y="21672"/>
                  </a:cubicBezTo>
                  <a:close/>
                </a:path>
              </a:pathLst>
            </a:custGeom>
            <a:solidFill>
              <a:schemeClr val="accent4"/>
            </a:solidFill>
            <a:ln w="11906" cap="flat">
              <a:noFill/>
              <a:prstDash val="solid"/>
              <a:miter/>
            </a:ln>
          </p:spPr>
          <p:txBody>
            <a:bodyPr rtlCol="0" anchor="ctr"/>
            <a:lstStyle/>
            <a:p>
              <a:endParaRPr lang="pt-BR"/>
            </a:p>
          </p:txBody>
        </p:sp>
        <p:sp>
          <p:nvSpPr>
            <p:cNvPr id="8" name="Forma Livre: Forma 97">
              <a:extLst>
                <a:ext uri="{FF2B5EF4-FFF2-40B4-BE49-F238E27FC236}">
                  <a16:creationId xmlns:a16="http://schemas.microsoft.com/office/drawing/2014/main" id="{01DA20CE-A77E-B77C-64CB-8D0653914421}"/>
                </a:ext>
              </a:extLst>
            </p:cNvPr>
            <p:cNvSpPr/>
            <p:nvPr/>
          </p:nvSpPr>
          <p:spPr>
            <a:xfrm>
              <a:off x="2498194" y="2293990"/>
              <a:ext cx="11981" cy="23963"/>
            </a:xfrm>
            <a:custGeom>
              <a:avLst/>
              <a:gdLst>
                <a:gd name="connsiteX0" fmla="*/ 5991 w 11981"/>
                <a:gd name="connsiteY0" fmla="*/ 23963 h 23963"/>
                <a:gd name="connsiteX1" fmla="*/ 0 w 11981"/>
                <a:gd name="connsiteY1" fmla="*/ 17972 h 23963"/>
                <a:gd name="connsiteX2" fmla="*/ 0 w 11981"/>
                <a:gd name="connsiteY2" fmla="*/ 5991 h 23963"/>
                <a:gd name="connsiteX3" fmla="*/ 5991 w 11981"/>
                <a:gd name="connsiteY3" fmla="*/ 0 h 23963"/>
                <a:gd name="connsiteX4" fmla="*/ 11982 w 11981"/>
                <a:gd name="connsiteY4" fmla="*/ 5991 h 23963"/>
                <a:gd name="connsiteX5" fmla="*/ 11982 w 11981"/>
                <a:gd name="connsiteY5" fmla="*/ 17972 h 23963"/>
                <a:gd name="connsiteX6" fmla="*/ 5991 w 11981"/>
                <a:gd name="connsiteY6" fmla="*/ 23963 h 2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1" h="23963">
                  <a:moveTo>
                    <a:pt x="5991" y="23963"/>
                  </a:moveTo>
                  <a:cubicBezTo>
                    <a:pt x="2684" y="23963"/>
                    <a:pt x="0" y="21279"/>
                    <a:pt x="0" y="17972"/>
                  </a:cubicBezTo>
                  <a:lnTo>
                    <a:pt x="0" y="5991"/>
                  </a:lnTo>
                  <a:cubicBezTo>
                    <a:pt x="0" y="2684"/>
                    <a:pt x="2684" y="0"/>
                    <a:pt x="5991" y="0"/>
                  </a:cubicBezTo>
                  <a:cubicBezTo>
                    <a:pt x="9298" y="0"/>
                    <a:pt x="11982" y="2684"/>
                    <a:pt x="11982" y="5991"/>
                  </a:cubicBezTo>
                  <a:lnTo>
                    <a:pt x="11982" y="17972"/>
                  </a:lnTo>
                  <a:cubicBezTo>
                    <a:pt x="11982" y="21279"/>
                    <a:pt x="9298" y="23963"/>
                    <a:pt x="5991" y="23963"/>
                  </a:cubicBezTo>
                  <a:close/>
                </a:path>
              </a:pathLst>
            </a:custGeom>
            <a:solidFill>
              <a:schemeClr val="accent4"/>
            </a:solidFill>
            <a:ln w="11906" cap="flat">
              <a:noFill/>
              <a:prstDash val="solid"/>
              <a:miter/>
            </a:ln>
          </p:spPr>
          <p:txBody>
            <a:bodyPr rtlCol="0" anchor="ctr"/>
            <a:lstStyle/>
            <a:p>
              <a:endParaRPr lang="pt-BR"/>
            </a:p>
          </p:txBody>
        </p:sp>
        <p:sp>
          <p:nvSpPr>
            <p:cNvPr id="9" name="Forma Livre: Forma 98">
              <a:extLst>
                <a:ext uri="{FF2B5EF4-FFF2-40B4-BE49-F238E27FC236}">
                  <a16:creationId xmlns:a16="http://schemas.microsoft.com/office/drawing/2014/main" id="{F68C6D7A-2F5E-04F3-0236-2940152C1D94}"/>
                </a:ext>
              </a:extLst>
            </p:cNvPr>
            <p:cNvSpPr/>
            <p:nvPr/>
          </p:nvSpPr>
          <p:spPr>
            <a:xfrm>
              <a:off x="2240590" y="2437769"/>
              <a:ext cx="23963" cy="23963"/>
            </a:xfrm>
            <a:custGeom>
              <a:avLst/>
              <a:gdLst>
                <a:gd name="connsiteX0" fmla="*/ 23963 w 23963"/>
                <a:gd name="connsiteY0" fmla="*/ 11982 h 23963"/>
                <a:gd name="connsiteX1" fmla="*/ 11982 w 23963"/>
                <a:gd name="connsiteY1" fmla="*/ 23963 h 23963"/>
                <a:gd name="connsiteX2" fmla="*/ 0 w 23963"/>
                <a:gd name="connsiteY2" fmla="*/ 11982 h 23963"/>
                <a:gd name="connsiteX3" fmla="*/ 11982 w 23963"/>
                <a:gd name="connsiteY3" fmla="*/ 0 h 23963"/>
                <a:gd name="connsiteX4" fmla="*/ 23963 w 23963"/>
                <a:gd name="connsiteY4" fmla="*/ 11982 h 23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3" h="23963">
                  <a:moveTo>
                    <a:pt x="23963" y="11982"/>
                  </a:moveTo>
                  <a:cubicBezTo>
                    <a:pt x="23963" y="18599"/>
                    <a:pt x="18599" y="23963"/>
                    <a:pt x="11982" y="23963"/>
                  </a:cubicBezTo>
                  <a:cubicBezTo>
                    <a:pt x="5364" y="23963"/>
                    <a:pt x="0" y="18599"/>
                    <a:pt x="0" y="11982"/>
                  </a:cubicBezTo>
                  <a:cubicBezTo>
                    <a:pt x="0" y="5364"/>
                    <a:pt x="5364" y="0"/>
                    <a:pt x="11982" y="0"/>
                  </a:cubicBezTo>
                  <a:cubicBezTo>
                    <a:pt x="18599" y="0"/>
                    <a:pt x="23963" y="5364"/>
                    <a:pt x="23963" y="11982"/>
                  </a:cubicBezTo>
                  <a:close/>
                </a:path>
              </a:pathLst>
            </a:custGeom>
            <a:solidFill>
              <a:schemeClr val="tx1"/>
            </a:solidFill>
            <a:ln w="11906" cap="flat">
              <a:noFill/>
              <a:prstDash val="solid"/>
              <a:miter/>
            </a:ln>
          </p:spPr>
          <p:txBody>
            <a:bodyPr rtlCol="0" anchor="ctr"/>
            <a:lstStyle/>
            <a:p>
              <a:endParaRPr lang="pt-BR"/>
            </a:p>
          </p:txBody>
        </p:sp>
        <p:sp>
          <p:nvSpPr>
            <p:cNvPr id="10" name="Oval 11">
              <a:extLst>
                <a:ext uri="{FF2B5EF4-FFF2-40B4-BE49-F238E27FC236}">
                  <a16:creationId xmlns:a16="http://schemas.microsoft.com/office/drawing/2014/main" id="{0D648957-65B1-A001-97EE-C9A87C1DDE8C}"/>
                </a:ext>
              </a:extLst>
            </p:cNvPr>
            <p:cNvSpPr/>
            <p:nvPr/>
          </p:nvSpPr>
          <p:spPr>
            <a:xfrm>
              <a:off x="2016795" y="1941690"/>
              <a:ext cx="808992" cy="808992"/>
            </a:xfrm>
            <a:prstGeom prst="ellipse">
              <a:avLst/>
            </a:prstGeom>
            <a:solidFill>
              <a:schemeClr val="bg1"/>
            </a:solidFill>
            <a:ln>
              <a:noFill/>
            </a:ln>
            <a:effectLst>
              <a:outerShdw blurRad="368300" dist="266700" dir="3060000" sx="79000" sy="79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12" name="Forma Livre: Forma 92">
              <a:extLst>
                <a:ext uri="{FF2B5EF4-FFF2-40B4-BE49-F238E27FC236}">
                  <a16:creationId xmlns:a16="http://schemas.microsoft.com/office/drawing/2014/main" id="{DE351C01-09DE-5005-BB61-770A74BA05E4}"/>
                </a:ext>
              </a:extLst>
            </p:cNvPr>
            <p:cNvSpPr/>
            <p:nvPr/>
          </p:nvSpPr>
          <p:spPr>
            <a:xfrm>
              <a:off x="2422607" y="2138499"/>
              <a:ext cx="163155" cy="155491"/>
            </a:xfrm>
            <a:custGeom>
              <a:avLst/>
              <a:gdLst>
                <a:gd name="connsiteX0" fmla="*/ 128294 w 163155"/>
                <a:gd name="connsiteY0" fmla="*/ 155491 h 155491"/>
                <a:gd name="connsiteX1" fmla="*/ 125514 w 163155"/>
                <a:gd name="connsiteY1" fmla="*/ 154796 h 155491"/>
                <a:gd name="connsiteX2" fmla="*/ 81578 w 163155"/>
                <a:gd name="connsiteY2" fmla="*/ 131708 h 155491"/>
                <a:gd name="connsiteX3" fmla="*/ 37641 w 163155"/>
                <a:gd name="connsiteY3" fmla="*/ 154796 h 155491"/>
                <a:gd name="connsiteX4" fmla="*/ 31339 w 163155"/>
                <a:gd name="connsiteY4" fmla="*/ 154341 h 155491"/>
                <a:gd name="connsiteX5" fmla="*/ 28955 w 163155"/>
                <a:gd name="connsiteY5" fmla="*/ 148482 h 155491"/>
                <a:gd name="connsiteX6" fmla="*/ 37354 w 163155"/>
                <a:gd name="connsiteY6" fmla="*/ 99561 h 155491"/>
                <a:gd name="connsiteX7" fmla="*/ 1816 w 163155"/>
                <a:gd name="connsiteY7" fmla="*/ 64922 h 155491"/>
                <a:gd name="connsiteX8" fmla="*/ 295 w 163155"/>
                <a:gd name="connsiteY8" fmla="*/ 58788 h 155491"/>
                <a:gd name="connsiteX9" fmla="*/ 5123 w 163155"/>
                <a:gd name="connsiteY9" fmla="*/ 54714 h 155491"/>
                <a:gd name="connsiteX10" fmla="*/ 54248 w 163155"/>
                <a:gd name="connsiteY10" fmla="*/ 47573 h 155491"/>
                <a:gd name="connsiteX11" fmla="*/ 76210 w 163155"/>
                <a:gd name="connsiteY11" fmla="*/ 3073 h 155491"/>
                <a:gd name="connsiteX12" fmla="*/ 86946 w 163155"/>
                <a:gd name="connsiteY12" fmla="*/ 3073 h 155491"/>
                <a:gd name="connsiteX13" fmla="*/ 108908 w 163155"/>
                <a:gd name="connsiteY13" fmla="*/ 47573 h 155491"/>
                <a:gd name="connsiteX14" fmla="*/ 158032 w 163155"/>
                <a:gd name="connsiteY14" fmla="*/ 54714 h 155491"/>
                <a:gd name="connsiteX15" fmla="*/ 162861 w 163155"/>
                <a:gd name="connsiteY15" fmla="*/ 58788 h 155491"/>
                <a:gd name="connsiteX16" fmla="*/ 161339 w 163155"/>
                <a:gd name="connsiteY16" fmla="*/ 64922 h 155491"/>
                <a:gd name="connsiteX17" fmla="*/ 125802 w 163155"/>
                <a:gd name="connsiteY17" fmla="*/ 99561 h 155491"/>
                <a:gd name="connsiteX18" fmla="*/ 134201 w 163155"/>
                <a:gd name="connsiteY18" fmla="*/ 148482 h 155491"/>
                <a:gd name="connsiteX19" fmla="*/ 131817 w 163155"/>
                <a:gd name="connsiteY19" fmla="*/ 154341 h 155491"/>
                <a:gd name="connsiteX20" fmla="*/ 128294 w 163155"/>
                <a:gd name="connsiteY20" fmla="*/ 155491 h 155491"/>
                <a:gd name="connsiteX21" fmla="*/ 81578 w 163155"/>
                <a:gd name="connsiteY21" fmla="*/ 118947 h 155491"/>
                <a:gd name="connsiteX22" fmla="*/ 84358 w 163155"/>
                <a:gd name="connsiteY22" fmla="*/ 119642 h 155491"/>
                <a:gd name="connsiteX23" fmla="*/ 120338 w 163155"/>
                <a:gd name="connsiteY23" fmla="*/ 138549 h 155491"/>
                <a:gd name="connsiteX24" fmla="*/ 113461 w 163155"/>
                <a:gd name="connsiteY24" fmla="*/ 98495 h 155491"/>
                <a:gd name="connsiteX25" fmla="*/ 115198 w 163155"/>
                <a:gd name="connsiteY25" fmla="*/ 93199 h 155491"/>
                <a:gd name="connsiteX26" fmla="*/ 144302 w 163155"/>
                <a:gd name="connsiteY26" fmla="*/ 64826 h 155491"/>
                <a:gd name="connsiteX27" fmla="*/ 104079 w 163155"/>
                <a:gd name="connsiteY27" fmla="*/ 58979 h 155491"/>
                <a:gd name="connsiteX28" fmla="*/ 99574 w 163155"/>
                <a:gd name="connsiteY28" fmla="*/ 55708 h 155491"/>
                <a:gd name="connsiteX29" fmla="*/ 81578 w 163155"/>
                <a:gd name="connsiteY29" fmla="*/ 19260 h 155491"/>
                <a:gd name="connsiteX30" fmla="*/ 63593 w 163155"/>
                <a:gd name="connsiteY30" fmla="*/ 55708 h 155491"/>
                <a:gd name="connsiteX31" fmla="*/ 59088 w 163155"/>
                <a:gd name="connsiteY31" fmla="*/ 58979 h 155491"/>
                <a:gd name="connsiteX32" fmla="*/ 18866 w 163155"/>
                <a:gd name="connsiteY32" fmla="*/ 64826 h 155491"/>
                <a:gd name="connsiteX33" fmla="*/ 47958 w 163155"/>
                <a:gd name="connsiteY33" fmla="*/ 93187 h 155491"/>
                <a:gd name="connsiteX34" fmla="*/ 49695 w 163155"/>
                <a:gd name="connsiteY34" fmla="*/ 98483 h 155491"/>
                <a:gd name="connsiteX35" fmla="*/ 42817 w 163155"/>
                <a:gd name="connsiteY35" fmla="*/ 138537 h 155491"/>
                <a:gd name="connsiteX36" fmla="*/ 78798 w 163155"/>
                <a:gd name="connsiteY36" fmla="*/ 119630 h 155491"/>
                <a:gd name="connsiteX37" fmla="*/ 81578 w 163155"/>
                <a:gd name="connsiteY37" fmla="*/ 118947 h 15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3155" h="155491">
                  <a:moveTo>
                    <a:pt x="128294" y="155491"/>
                  </a:moveTo>
                  <a:cubicBezTo>
                    <a:pt x="127336" y="155491"/>
                    <a:pt x="126389" y="155263"/>
                    <a:pt x="125514" y="154796"/>
                  </a:cubicBezTo>
                  <a:lnTo>
                    <a:pt x="81578" y="131708"/>
                  </a:lnTo>
                  <a:lnTo>
                    <a:pt x="37641" y="154796"/>
                  </a:lnTo>
                  <a:cubicBezTo>
                    <a:pt x="35628" y="155851"/>
                    <a:pt x="33184" y="155695"/>
                    <a:pt x="31339" y="154341"/>
                  </a:cubicBezTo>
                  <a:cubicBezTo>
                    <a:pt x="29494" y="152999"/>
                    <a:pt x="28571" y="150734"/>
                    <a:pt x="28955" y="148482"/>
                  </a:cubicBezTo>
                  <a:lnTo>
                    <a:pt x="37354" y="99561"/>
                  </a:lnTo>
                  <a:lnTo>
                    <a:pt x="1816" y="64922"/>
                  </a:lnTo>
                  <a:cubicBezTo>
                    <a:pt x="175" y="63329"/>
                    <a:pt x="-412" y="60944"/>
                    <a:pt x="295" y="58788"/>
                  </a:cubicBezTo>
                  <a:cubicBezTo>
                    <a:pt x="1002" y="56619"/>
                    <a:pt x="2883" y="55037"/>
                    <a:pt x="5123" y="54714"/>
                  </a:cubicBezTo>
                  <a:lnTo>
                    <a:pt x="54248" y="47573"/>
                  </a:lnTo>
                  <a:lnTo>
                    <a:pt x="76210" y="3073"/>
                  </a:lnTo>
                  <a:cubicBezTo>
                    <a:pt x="78223" y="-1024"/>
                    <a:pt x="84945" y="-1024"/>
                    <a:pt x="86946" y="3073"/>
                  </a:cubicBezTo>
                  <a:lnTo>
                    <a:pt x="108908" y="47573"/>
                  </a:lnTo>
                  <a:lnTo>
                    <a:pt x="158032" y="54714"/>
                  </a:lnTo>
                  <a:cubicBezTo>
                    <a:pt x="160285" y="55037"/>
                    <a:pt x="162166" y="56619"/>
                    <a:pt x="162861" y="58788"/>
                  </a:cubicBezTo>
                  <a:cubicBezTo>
                    <a:pt x="163568" y="60956"/>
                    <a:pt x="162981" y="63329"/>
                    <a:pt x="161339" y="64922"/>
                  </a:cubicBezTo>
                  <a:lnTo>
                    <a:pt x="125802" y="99561"/>
                  </a:lnTo>
                  <a:lnTo>
                    <a:pt x="134201" y="148482"/>
                  </a:lnTo>
                  <a:cubicBezTo>
                    <a:pt x="134584" y="150734"/>
                    <a:pt x="133662" y="152999"/>
                    <a:pt x="131817" y="154341"/>
                  </a:cubicBezTo>
                  <a:cubicBezTo>
                    <a:pt x="130774" y="155108"/>
                    <a:pt x="129540" y="155491"/>
                    <a:pt x="128294" y="155491"/>
                  </a:cubicBezTo>
                  <a:close/>
                  <a:moveTo>
                    <a:pt x="81578" y="118947"/>
                  </a:moveTo>
                  <a:cubicBezTo>
                    <a:pt x="82536" y="118947"/>
                    <a:pt x="83495" y="119175"/>
                    <a:pt x="84358" y="119642"/>
                  </a:cubicBezTo>
                  <a:lnTo>
                    <a:pt x="120338" y="138549"/>
                  </a:lnTo>
                  <a:lnTo>
                    <a:pt x="113461" y="98495"/>
                  </a:lnTo>
                  <a:cubicBezTo>
                    <a:pt x="113137" y="96554"/>
                    <a:pt x="113772" y="94565"/>
                    <a:pt x="115198" y="93199"/>
                  </a:cubicBezTo>
                  <a:lnTo>
                    <a:pt x="144302" y="64826"/>
                  </a:lnTo>
                  <a:lnTo>
                    <a:pt x="104079" y="58979"/>
                  </a:lnTo>
                  <a:cubicBezTo>
                    <a:pt x="102138" y="58704"/>
                    <a:pt x="100437" y="57470"/>
                    <a:pt x="99574" y="55708"/>
                  </a:cubicBezTo>
                  <a:lnTo>
                    <a:pt x="81578" y="19260"/>
                  </a:lnTo>
                  <a:lnTo>
                    <a:pt x="63593" y="55708"/>
                  </a:lnTo>
                  <a:cubicBezTo>
                    <a:pt x="62731" y="57470"/>
                    <a:pt x="61029" y="58704"/>
                    <a:pt x="59088" y="58979"/>
                  </a:cubicBezTo>
                  <a:lnTo>
                    <a:pt x="18866" y="64826"/>
                  </a:lnTo>
                  <a:lnTo>
                    <a:pt x="47958" y="93187"/>
                  </a:lnTo>
                  <a:cubicBezTo>
                    <a:pt x="49371" y="94565"/>
                    <a:pt x="50018" y="96542"/>
                    <a:pt x="49695" y="98483"/>
                  </a:cubicBezTo>
                  <a:lnTo>
                    <a:pt x="42817" y="138537"/>
                  </a:lnTo>
                  <a:lnTo>
                    <a:pt x="78798" y="119630"/>
                  </a:lnTo>
                  <a:cubicBezTo>
                    <a:pt x="79661" y="119175"/>
                    <a:pt x="80619" y="118947"/>
                    <a:pt x="81578" y="118947"/>
                  </a:cubicBezTo>
                  <a:close/>
                </a:path>
              </a:pathLst>
            </a:custGeom>
            <a:solidFill>
              <a:schemeClr val="accent4"/>
            </a:solidFill>
            <a:ln w="11906" cap="flat">
              <a:noFill/>
              <a:prstDash val="solid"/>
              <a:miter/>
            </a:ln>
          </p:spPr>
          <p:txBody>
            <a:bodyPr rtlCol="0" anchor="ctr"/>
            <a:lstStyle/>
            <a:p>
              <a:endParaRPr lang="pt-BR"/>
            </a:p>
          </p:txBody>
        </p:sp>
        <p:sp>
          <p:nvSpPr>
            <p:cNvPr id="13" name="Forma Livre: Forma 99">
              <a:extLst>
                <a:ext uri="{FF2B5EF4-FFF2-40B4-BE49-F238E27FC236}">
                  <a16:creationId xmlns:a16="http://schemas.microsoft.com/office/drawing/2014/main" id="{89B93177-A45D-0F0B-B236-8424BA2E285F}"/>
                </a:ext>
              </a:extLst>
            </p:cNvPr>
            <p:cNvSpPr/>
            <p:nvPr/>
          </p:nvSpPr>
          <p:spPr>
            <a:xfrm>
              <a:off x="2264554" y="2317953"/>
              <a:ext cx="347467" cy="167742"/>
            </a:xfrm>
            <a:custGeom>
              <a:avLst/>
              <a:gdLst>
                <a:gd name="connsiteX0" fmla="*/ 77879 w 347467"/>
                <a:gd name="connsiteY0" fmla="*/ 167742 h 167742"/>
                <a:gd name="connsiteX1" fmla="*/ 73638 w 347467"/>
                <a:gd name="connsiteY1" fmla="*/ 165993 h 167742"/>
                <a:gd name="connsiteX2" fmla="*/ 73638 w 347467"/>
                <a:gd name="connsiteY2" fmla="*/ 157522 h 167742"/>
                <a:gd name="connsiteX3" fmla="*/ 81030 w 347467"/>
                <a:gd name="connsiteY3" fmla="*/ 150129 h 167742"/>
                <a:gd name="connsiteX4" fmla="*/ 125266 w 347467"/>
                <a:gd name="connsiteY4" fmla="*/ 131798 h 167742"/>
                <a:gd name="connsiteX5" fmla="*/ 205028 w 347467"/>
                <a:gd name="connsiteY5" fmla="*/ 131798 h 167742"/>
                <a:gd name="connsiteX6" fmla="*/ 251037 w 347467"/>
                <a:gd name="connsiteY6" fmla="*/ 114304 h 167742"/>
                <a:gd name="connsiteX7" fmla="*/ 332332 w 347467"/>
                <a:gd name="connsiteY7" fmla="*/ 42043 h 167742"/>
                <a:gd name="connsiteX8" fmla="*/ 291942 w 347467"/>
                <a:gd name="connsiteY8" fmla="*/ 41013 h 167742"/>
                <a:gd name="connsiteX9" fmla="*/ 241045 w 347467"/>
                <a:gd name="connsiteY9" fmla="*/ 72824 h 167742"/>
                <a:gd name="connsiteX10" fmla="*/ 202524 w 347467"/>
                <a:gd name="connsiteY10" fmla="*/ 83871 h 167742"/>
                <a:gd name="connsiteX11" fmla="*/ 138782 w 347467"/>
                <a:gd name="connsiteY11" fmla="*/ 83871 h 167742"/>
                <a:gd name="connsiteX12" fmla="*/ 119815 w 347467"/>
                <a:gd name="connsiteY12" fmla="*/ 64904 h 167742"/>
                <a:gd name="connsiteX13" fmla="*/ 135655 w 347467"/>
                <a:gd name="connsiteY13" fmla="*/ 46189 h 167742"/>
                <a:gd name="connsiteX14" fmla="*/ 161259 w 347467"/>
                <a:gd name="connsiteY14" fmla="*/ 41924 h 167742"/>
                <a:gd name="connsiteX15" fmla="*/ 191213 w 347467"/>
                <a:gd name="connsiteY15" fmla="*/ 11970 h 167742"/>
                <a:gd name="connsiteX16" fmla="*/ 147852 w 347467"/>
                <a:gd name="connsiteY16" fmla="*/ 11970 h 167742"/>
                <a:gd name="connsiteX17" fmla="*/ 58313 w 347467"/>
                <a:gd name="connsiteY17" fmla="*/ 55007 h 167742"/>
                <a:gd name="connsiteX18" fmla="*/ 29665 w 347467"/>
                <a:gd name="connsiteY18" fmla="*/ 81259 h 167742"/>
                <a:gd name="connsiteX19" fmla="*/ 9309 w 347467"/>
                <a:gd name="connsiteY19" fmla="*/ 94834 h 167742"/>
                <a:gd name="connsiteX20" fmla="*/ 1005 w 347467"/>
                <a:gd name="connsiteY20" fmla="*/ 93169 h 167742"/>
                <a:gd name="connsiteX21" fmla="*/ 2671 w 347467"/>
                <a:gd name="connsiteY21" fmla="*/ 84866 h 167742"/>
                <a:gd name="connsiteX22" fmla="*/ 23028 w 347467"/>
                <a:gd name="connsiteY22" fmla="*/ 71290 h 167742"/>
                <a:gd name="connsiteX23" fmla="*/ 48956 w 347467"/>
                <a:gd name="connsiteY23" fmla="*/ 47519 h 167742"/>
                <a:gd name="connsiteX24" fmla="*/ 147852 w 347467"/>
                <a:gd name="connsiteY24" fmla="*/ 0 h 167742"/>
                <a:gd name="connsiteX25" fmla="*/ 197695 w 347467"/>
                <a:gd name="connsiteY25" fmla="*/ 0 h 167742"/>
                <a:gd name="connsiteX26" fmla="*/ 203686 w 347467"/>
                <a:gd name="connsiteY26" fmla="*/ 5991 h 167742"/>
                <a:gd name="connsiteX27" fmla="*/ 163224 w 347467"/>
                <a:gd name="connsiteY27" fmla="*/ 53749 h 167742"/>
                <a:gd name="connsiteX28" fmla="*/ 137620 w 347467"/>
                <a:gd name="connsiteY28" fmla="*/ 58015 h 167742"/>
                <a:gd name="connsiteX29" fmla="*/ 131796 w 347467"/>
                <a:gd name="connsiteY29" fmla="*/ 64904 h 167742"/>
                <a:gd name="connsiteX30" fmla="*/ 138782 w 347467"/>
                <a:gd name="connsiteY30" fmla="*/ 71890 h 167742"/>
                <a:gd name="connsiteX31" fmla="*/ 202524 w 347467"/>
                <a:gd name="connsiteY31" fmla="*/ 71890 h 167742"/>
                <a:gd name="connsiteX32" fmla="*/ 234706 w 347467"/>
                <a:gd name="connsiteY32" fmla="*/ 62664 h 167742"/>
                <a:gd name="connsiteX33" fmla="*/ 285604 w 347467"/>
                <a:gd name="connsiteY33" fmla="*/ 30853 h 167742"/>
                <a:gd name="connsiteX34" fmla="*/ 345716 w 347467"/>
                <a:gd name="connsiteY34" fmla="*/ 37694 h 167742"/>
                <a:gd name="connsiteX35" fmla="*/ 347465 w 347467"/>
                <a:gd name="connsiteY35" fmla="*/ 42103 h 167742"/>
                <a:gd name="connsiteX36" fmla="*/ 345452 w 347467"/>
                <a:gd name="connsiteY36" fmla="*/ 46405 h 167742"/>
                <a:gd name="connsiteX37" fmla="*/ 258993 w 347467"/>
                <a:gd name="connsiteY37" fmla="*/ 123255 h 167742"/>
                <a:gd name="connsiteX38" fmla="*/ 205028 w 347467"/>
                <a:gd name="connsiteY38" fmla="*/ 143779 h 167742"/>
                <a:gd name="connsiteX39" fmla="*/ 125266 w 347467"/>
                <a:gd name="connsiteY39" fmla="*/ 143779 h 167742"/>
                <a:gd name="connsiteX40" fmla="*/ 89513 w 347467"/>
                <a:gd name="connsiteY40" fmla="*/ 158588 h 167742"/>
                <a:gd name="connsiteX41" fmla="*/ 82121 w 347467"/>
                <a:gd name="connsiteY41" fmla="*/ 165981 h 167742"/>
                <a:gd name="connsiteX42" fmla="*/ 77879 w 347467"/>
                <a:gd name="connsiteY42" fmla="*/ 167742 h 16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47467" h="167742">
                  <a:moveTo>
                    <a:pt x="77879" y="167742"/>
                  </a:moveTo>
                  <a:cubicBezTo>
                    <a:pt x="76346" y="167742"/>
                    <a:pt x="74812" y="167155"/>
                    <a:pt x="73638" y="165993"/>
                  </a:cubicBezTo>
                  <a:cubicBezTo>
                    <a:pt x="71301" y="163657"/>
                    <a:pt x="71301" y="159858"/>
                    <a:pt x="73638" y="157522"/>
                  </a:cubicBezTo>
                  <a:lnTo>
                    <a:pt x="81030" y="150129"/>
                  </a:lnTo>
                  <a:cubicBezTo>
                    <a:pt x="92856" y="138304"/>
                    <a:pt x="108576" y="131798"/>
                    <a:pt x="125266" y="131798"/>
                  </a:cubicBezTo>
                  <a:lnTo>
                    <a:pt x="205028" y="131798"/>
                  </a:lnTo>
                  <a:cubicBezTo>
                    <a:pt x="222006" y="131798"/>
                    <a:pt x="238337" y="125579"/>
                    <a:pt x="251037" y="114304"/>
                  </a:cubicBezTo>
                  <a:lnTo>
                    <a:pt x="332332" y="42043"/>
                  </a:lnTo>
                  <a:cubicBezTo>
                    <a:pt x="320459" y="33680"/>
                    <a:pt x="304631" y="33069"/>
                    <a:pt x="291942" y="41013"/>
                  </a:cubicBezTo>
                  <a:lnTo>
                    <a:pt x="241045" y="72824"/>
                  </a:lnTo>
                  <a:cubicBezTo>
                    <a:pt x="229482" y="80049"/>
                    <a:pt x="216171" y="83871"/>
                    <a:pt x="202524" y="83871"/>
                  </a:cubicBezTo>
                  <a:lnTo>
                    <a:pt x="138782" y="83871"/>
                  </a:lnTo>
                  <a:cubicBezTo>
                    <a:pt x="128322" y="83871"/>
                    <a:pt x="119815" y="75364"/>
                    <a:pt x="119815" y="64904"/>
                  </a:cubicBezTo>
                  <a:cubicBezTo>
                    <a:pt x="119815" y="55595"/>
                    <a:pt x="126477" y="47723"/>
                    <a:pt x="135655" y="46189"/>
                  </a:cubicBezTo>
                  <a:lnTo>
                    <a:pt x="161259" y="41924"/>
                  </a:lnTo>
                  <a:cubicBezTo>
                    <a:pt x="176895" y="39312"/>
                    <a:pt x="188721" y="27150"/>
                    <a:pt x="191213" y="11970"/>
                  </a:cubicBezTo>
                  <a:lnTo>
                    <a:pt x="147852" y="11970"/>
                  </a:lnTo>
                  <a:cubicBezTo>
                    <a:pt x="112830" y="11970"/>
                    <a:pt x="80204" y="27654"/>
                    <a:pt x="58313" y="55007"/>
                  </a:cubicBezTo>
                  <a:cubicBezTo>
                    <a:pt x="50154" y="65204"/>
                    <a:pt x="40521" y="74034"/>
                    <a:pt x="29665" y="81259"/>
                  </a:cubicBezTo>
                  <a:lnTo>
                    <a:pt x="9309" y="94834"/>
                  </a:lnTo>
                  <a:cubicBezTo>
                    <a:pt x="6565" y="96644"/>
                    <a:pt x="2851" y="95937"/>
                    <a:pt x="1005" y="93169"/>
                  </a:cubicBezTo>
                  <a:cubicBezTo>
                    <a:pt x="-828" y="90413"/>
                    <a:pt x="-85" y="86699"/>
                    <a:pt x="2671" y="84866"/>
                  </a:cubicBezTo>
                  <a:lnTo>
                    <a:pt x="23028" y="71290"/>
                  </a:lnTo>
                  <a:cubicBezTo>
                    <a:pt x="32840" y="64749"/>
                    <a:pt x="41575" y="56745"/>
                    <a:pt x="48956" y="47519"/>
                  </a:cubicBezTo>
                  <a:cubicBezTo>
                    <a:pt x="73135" y="17325"/>
                    <a:pt x="109163" y="0"/>
                    <a:pt x="147852" y="0"/>
                  </a:cubicBezTo>
                  <a:lnTo>
                    <a:pt x="197695" y="0"/>
                  </a:lnTo>
                  <a:cubicBezTo>
                    <a:pt x="201002" y="0"/>
                    <a:pt x="203686" y="2684"/>
                    <a:pt x="203686" y="5991"/>
                  </a:cubicBezTo>
                  <a:cubicBezTo>
                    <a:pt x="203686" y="29750"/>
                    <a:pt x="186672" y="49843"/>
                    <a:pt x="163224" y="53749"/>
                  </a:cubicBezTo>
                  <a:lnTo>
                    <a:pt x="137620" y="58015"/>
                  </a:lnTo>
                  <a:cubicBezTo>
                    <a:pt x="134253" y="58578"/>
                    <a:pt x="131796" y="61478"/>
                    <a:pt x="131796" y="64904"/>
                  </a:cubicBezTo>
                  <a:cubicBezTo>
                    <a:pt x="131796" y="68762"/>
                    <a:pt x="134936" y="71890"/>
                    <a:pt x="138782" y="71890"/>
                  </a:cubicBezTo>
                  <a:lnTo>
                    <a:pt x="202524" y="71890"/>
                  </a:lnTo>
                  <a:cubicBezTo>
                    <a:pt x="213918" y="71890"/>
                    <a:pt x="225037" y="68702"/>
                    <a:pt x="234706" y="62664"/>
                  </a:cubicBezTo>
                  <a:lnTo>
                    <a:pt x="285604" y="30853"/>
                  </a:lnTo>
                  <a:cubicBezTo>
                    <a:pt x="304895" y="18799"/>
                    <a:pt x="329625" y="21603"/>
                    <a:pt x="345716" y="37694"/>
                  </a:cubicBezTo>
                  <a:cubicBezTo>
                    <a:pt x="346890" y="38856"/>
                    <a:pt x="347513" y="40450"/>
                    <a:pt x="347465" y="42103"/>
                  </a:cubicBezTo>
                  <a:cubicBezTo>
                    <a:pt x="347417" y="43757"/>
                    <a:pt x="346698" y="45314"/>
                    <a:pt x="345452" y="46405"/>
                  </a:cubicBezTo>
                  <a:lnTo>
                    <a:pt x="258993" y="123255"/>
                  </a:lnTo>
                  <a:cubicBezTo>
                    <a:pt x="244112" y="136494"/>
                    <a:pt x="224941" y="143779"/>
                    <a:pt x="205028" y="143779"/>
                  </a:cubicBezTo>
                  <a:lnTo>
                    <a:pt x="125266" y="143779"/>
                  </a:lnTo>
                  <a:cubicBezTo>
                    <a:pt x="111763" y="143779"/>
                    <a:pt x="99063" y="149039"/>
                    <a:pt x="89513" y="158588"/>
                  </a:cubicBezTo>
                  <a:lnTo>
                    <a:pt x="82121" y="165981"/>
                  </a:lnTo>
                  <a:cubicBezTo>
                    <a:pt x="80947" y="167155"/>
                    <a:pt x="79413" y="167742"/>
                    <a:pt x="77879" y="167742"/>
                  </a:cubicBezTo>
                  <a:close/>
                </a:path>
              </a:pathLst>
            </a:custGeom>
            <a:solidFill>
              <a:schemeClr val="tx1"/>
            </a:solidFill>
            <a:ln w="11906" cap="flat">
              <a:noFill/>
              <a:prstDash val="solid"/>
              <a:miter/>
            </a:ln>
          </p:spPr>
          <p:txBody>
            <a:bodyPr rtlCol="0" anchor="ctr"/>
            <a:lstStyle/>
            <a:p>
              <a:endParaRPr lang="pt-BR"/>
            </a:p>
          </p:txBody>
        </p:sp>
        <p:sp>
          <p:nvSpPr>
            <p:cNvPr id="14" name="Forma Livre: Forma 100">
              <a:extLst>
                <a:ext uri="{FF2B5EF4-FFF2-40B4-BE49-F238E27FC236}">
                  <a16:creationId xmlns:a16="http://schemas.microsoft.com/office/drawing/2014/main" id="{E4504E49-D100-1EDB-E571-E87310501A4C}"/>
                </a:ext>
              </a:extLst>
            </p:cNvPr>
            <p:cNvSpPr/>
            <p:nvPr/>
          </p:nvSpPr>
          <p:spPr>
            <a:xfrm>
              <a:off x="2228606" y="2394818"/>
              <a:ext cx="126825" cy="126822"/>
            </a:xfrm>
            <a:custGeom>
              <a:avLst/>
              <a:gdLst>
                <a:gd name="connsiteX0" fmla="*/ 101847 w 126825"/>
                <a:gd name="connsiteY0" fmla="*/ 126822 h 126822"/>
                <a:gd name="connsiteX1" fmla="*/ 97605 w 126825"/>
                <a:gd name="connsiteY1" fmla="*/ 125073 h 126822"/>
                <a:gd name="connsiteX2" fmla="*/ 97605 w 126825"/>
                <a:gd name="connsiteY2" fmla="*/ 116602 h 126822"/>
                <a:gd name="connsiteX3" fmla="*/ 113097 w 126825"/>
                <a:gd name="connsiteY3" fmla="*/ 101110 h 126822"/>
                <a:gd name="connsiteX4" fmla="*/ 113097 w 126825"/>
                <a:gd name="connsiteY4" fmla="*/ 92639 h 126822"/>
                <a:gd name="connsiteX5" fmla="*/ 34186 w 126825"/>
                <a:gd name="connsiteY5" fmla="*/ 13728 h 126822"/>
                <a:gd name="connsiteX6" fmla="*/ 25715 w 126825"/>
                <a:gd name="connsiteY6" fmla="*/ 13728 h 126822"/>
                <a:gd name="connsiteX7" fmla="*/ 10223 w 126825"/>
                <a:gd name="connsiteY7" fmla="*/ 29220 h 126822"/>
                <a:gd name="connsiteX8" fmla="*/ 1752 w 126825"/>
                <a:gd name="connsiteY8" fmla="*/ 29220 h 126822"/>
                <a:gd name="connsiteX9" fmla="*/ 1752 w 126825"/>
                <a:gd name="connsiteY9" fmla="*/ 20749 h 126822"/>
                <a:gd name="connsiteX10" fmla="*/ 17245 w 126825"/>
                <a:gd name="connsiteY10" fmla="*/ 5257 h 126822"/>
                <a:gd name="connsiteX11" fmla="*/ 42657 w 126825"/>
                <a:gd name="connsiteY11" fmla="*/ 5257 h 126822"/>
                <a:gd name="connsiteX12" fmla="*/ 121568 w 126825"/>
                <a:gd name="connsiteY12" fmla="*/ 84168 h 126822"/>
                <a:gd name="connsiteX13" fmla="*/ 121568 w 126825"/>
                <a:gd name="connsiteY13" fmla="*/ 109581 h 126822"/>
                <a:gd name="connsiteX14" fmla="*/ 106076 w 126825"/>
                <a:gd name="connsiteY14" fmla="*/ 125073 h 126822"/>
                <a:gd name="connsiteX15" fmla="*/ 101847 w 126825"/>
                <a:gd name="connsiteY15" fmla="*/ 126822 h 12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825" h="126822">
                  <a:moveTo>
                    <a:pt x="101847" y="126822"/>
                  </a:moveTo>
                  <a:cubicBezTo>
                    <a:pt x="100313" y="126822"/>
                    <a:pt x="98779" y="126235"/>
                    <a:pt x="97605" y="125073"/>
                  </a:cubicBezTo>
                  <a:cubicBezTo>
                    <a:pt x="95269" y="122736"/>
                    <a:pt x="95269" y="118938"/>
                    <a:pt x="97605" y="116602"/>
                  </a:cubicBezTo>
                  <a:lnTo>
                    <a:pt x="113097" y="101110"/>
                  </a:lnTo>
                  <a:cubicBezTo>
                    <a:pt x="115434" y="98773"/>
                    <a:pt x="115434" y="94975"/>
                    <a:pt x="113097" y="92639"/>
                  </a:cubicBezTo>
                  <a:lnTo>
                    <a:pt x="34186" y="13728"/>
                  </a:lnTo>
                  <a:cubicBezTo>
                    <a:pt x="31850" y="11391"/>
                    <a:pt x="28052" y="11391"/>
                    <a:pt x="25715" y="13728"/>
                  </a:cubicBezTo>
                  <a:lnTo>
                    <a:pt x="10223" y="29220"/>
                  </a:lnTo>
                  <a:cubicBezTo>
                    <a:pt x="7887" y="31557"/>
                    <a:pt x="4089" y="31557"/>
                    <a:pt x="1752" y="29220"/>
                  </a:cubicBezTo>
                  <a:cubicBezTo>
                    <a:pt x="-584" y="26884"/>
                    <a:pt x="-584" y="23086"/>
                    <a:pt x="1752" y="20749"/>
                  </a:cubicBezTo>
                  <a:lnTo>
                    <a:pt x="17245" y="5257"/>
                  </a:lnTo>
                  <a:cubicBezTo>
                    <a:pt x="24242" y="-1752"/>
                    <a:pt x="35660" y="-1752"/>
                    <a:pt x="42657" y="5257"/>
                  </a:cubicBezTo>
                  <a:lnTo>
                    <a:pt x="121568" y="84168"/>
                  </a:lnTo>
                  <a:cubicBezTo>
                    <a:pt x="128577" y="91177"/>
                    <a:pt x="128577" y="102571"/>
                    <a:pt x="121568" y="109581"/>
                  </a:cubicBezTo>
                  <a:lnTo>
                    <a:pt x="106076" y="125073"/>
                  </a:lnTo>
                  <a:cubicBezTo>
                    <a:pt x="104914" y="126235"/>
                    <a:pt x="103380" y="126822"/>
                    <a:pt x="101847" y="126822"/>
                  </a:cubicBezTo>
                  <a:close/>
                </a:path>
              </a:pathLst>
            </a:custGeom>
            <a:solidFill>
              <a:schemeClr val="tx1"/>
            </a:solidFill>
            <a:ln w="11906" cap="flat">
              <a:noFill/>
              <a:prstDash val="solid"/>
              <a:miter/>
            </a:ln>
          </p:spPr>
          <p:txBody>
            <a:bodyPr rtlCol="0" anchor="ctr"/>
            <a:lstStyle/>
            <a:p>
              <a:endParaRPr lang="pt-BR"/>
            </a:p>
          </p:txBody>
        </p:sp>
      </p:grpSp>
      <p:grpSp>
        <p:nvGrpSpPr>
          <p:cNvPr id="29" name="Agrupar 28">
            <a:extLst>
              <a:ext uri="{FF2B5EF4-FFF2-40B4-BE49-F238E27FC236}">
                <a16:creationId xmlns:a16="http://schemas.microsoft.com/office/drawing/2014/main" id="{F99DFD9E-D45B-3854-74C1-41C58D65E049}"/>
              </a:ext>
            </a:extLst>
          </p:cNvPr>
          <p:cNvGrpSpPr/>
          <p:nvPr/>
        </p:nvGrpSpPr>
        <p:grpSpPr>
          <a:xfrm>
            <a:off x="6209785" y="1166013"/>
            <a:ext cx="2456030" cy="1542140"/>
            <a:chOff x="1792494" y="4931397"/>
            <a:chExt cx="2750122" cy="1726800"/>
          </a:xfrm>
        </p:grpSpPr>
        <p:pic>
          <p:nvPicPr>
            <p:cNvPr id="1028" name="Picture 4">
              <a:extLst>
                <a:ext uri="{FF2B5EF4-FFF2-40B4-BE49-F238E27FC236}">
                  <a16:creationId xmlns:a16="http://schemas.microsoft.com/office/drawing/2014/main" id="{6F813BAA-2B42-DD04-3CF4-71BD5462003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900" b="8329"/>
            <a:stretch/>
          </p:blipFill>
          <p:spPr bwMode="auto">
            <a:xfrm>
              <a:off x="1794205" y="4931397"/>
              <a:ext cx="2748411" cy="1726800"/>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Conector reto 18">
              <a:extLst>
                <a:ext uri="{FF2B5EF4-FFF2-40B4-BE49-F238E27FC236}">
                  <a16:creationId xmlns:a16="http://schemas.microsoft.com/office/drawing/2014/main" id="{2F3C8607-6BC2-51BE-6310-85E734D5FAB0}"/>
                </a:ext>
              </a:extLst>
            </p:cNvPr>
            <p:cNvCxnSpPr>
              <a:cxnSpLocks/>
            </p:cNvCxnSpPr>
            <p:nvPr/>
          </p:nvCxnSpPr>
          <p:spPr>
            <a:xfrm>
              <a:off x="1792494" y="4931397"/>
              <a:ext cx="0" cy="172680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 name="Agrupar 29">
            <a:extLst>
              <a:ext uri="{FF2B5EF4-FFF2-40B4-BE49-F238E27FC236}">
                <a16:creationId xmlns:a16="http://schemas.microsoft.com/office/drawing/2014/main" id="{C2E4CD5E-FE85-77B4-F198-907F359B6810}"/>
              </a:ext>
            </a:extLst>
          </p:cNvPr>
          <p:cNvGrpSpPr/>
          <p:nvPr/>
        </p:nvGrpSpPr>
        <p:grpSpPr>
          <a:xfrm>
            <a:off x="6196943" y="3004878"/>
            <a:ext cx="2653503" cy="1542494"/>
            <a:chOff x="4725702" y="4931397"/>
            <a:chExt cx="2971241" cy="1727196"/>
          </a:xfrm>
        </p:grpSpPr>
        <p:pic>
          <p:nvPicPr>
            <p:cNvPr id="18" name="Picture 17">
              <a:extLst>
                <a:ext uri="{FF2B5EF4-FFF2-40B4-BE49-F238E27FC236}">
                  <a16:creationId xmlns:a16="http://schemas.microsoft.com/office/drawing/2014/main" id="{F64355AE-6EB8-D77C-B509-FF67F93A630F}"/>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1894"/>
            <a:stretch/>
          </p:blipFill>
          <p:spPr>
            <a:xfrm>
              <a:off x="4725702" y="4931793"/>
              <a:ext cx="2971241" cy="1726800"/>
            </a:xfrm>
            <a:prstGeom prst="rect">
              <a:avLst/>
            </a:prstGeom>
          </p:spPr>
        </p:pic>
        <p:cxnSp>
          <p:nvCxnSpPr>
            <p:cNvPr id="21" name="Conector reto 20">
              <a:extLst>
                <a:ext uri="{FF2B5EF4-FFF2-40B4-BE49-F238E27FC236}">
                  <a16:creationId xmlns:a16="http://schemas.microsoft.com/office/drawing/2014/main" id="{1AFA8AC5-38B7-CF2E-71A2-6CCF575D97BE}"/>
                </a:ext>
              </a:extLst>
            </p:cNvPr>
            <p:cNvCxnSpPr>
              <a:cxnSpLocks/>
            </p:cNvCxnSpPr>
            <p:nvPr/>
          </p:nvCxnSpPr>
          <p:spPr>
            <a:xfrm>
              <a:off x="4747762" y="4931397"/>
              <a:ext cx="0" cy="172680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 name="Agrupar 30">
            <a:extLst>
              <a:ext uri="{FF2B5EF4-FFF2-40B4-BE49-F238E27FC236}">
                <a16:creationId xmlns:a16="http://schemas.microsoft.com/office/drawing/2014/main" id="{BA62CE7C-7F14-C463-B0A1-B0F1677112AE}"/>
              </a:ext>
            </a:extLst>
          </p:cNvPr>
          <p:cNvGrpSpPr/>
          <p:nvPr/>
        </p:nvGrpSpPr>
        <p:grpSpPr>
          <a:xfrm>
            <a:off x="6196943" y="4843743"/>
            <a:ext cx="2746532" cy="1550423"/>
            <a:chOff x="7880200" y="4931397"/>
            <a:chExt cx="3075409" cy="1736074"/>
          </a:xfrm>
        </p:grpSpPr>
        <p:pic>
          <p:nvPicPr>
            <p:cNvPr id="1026" name="Picture 2">
              <a:extLst>
                <a:ext uri="{FF2B5EF4-FFF2-40B4-BE49-F238E27FC236}">
                  <a16:creationId xmlns:a16="http://schemas.microsoft.com/office/drawing/2014/main" id="{FB989140-1B9B-19B7-90CA-561EB1EDB820}"/>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7880200" y="4937328"/>
              <a:ext cx="3075409" cy="1730143"/>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Conector reto 21">
              <a:extLst>
                <a:ext uri="{FF2B5EF4-FFF2-40B4-BE49-F238E27FC236}">
                  <a16:creationId xmlns:a16="http://schemas.microsoft.com/office/drawing/2014/main" id="{1E682366-53CF-FF4F-A852-E8F3428DA048}"/>
                </a:ext>
              </a:extLst>
            </p:cNvPr>
            <p:cNvCxnSpPr>
              <a:cxnSpLocks/>
            </p:cNvCxnSpPr>
            <p:nvPr/>
          </p:nvCxnSpPr>
          <p:spPr>
            <a:xfrm>
              <a:off x="7890592" y="4931397"/>
              <a:ext cx="0" cy="172680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 name="Agrupar 26">
            <a:extLst>
              <a:ext uri="{FF2B5EF4-FFF2-40B4-BE49-F238E27FC236}">
                <a16:creationId xmlns:a16="http://schemas.microsoft.com/office/drawing/2014/main" id="{1E1E4461-A113-AE04-1C2B-F47454EB8D6F}"/>
              </a:ext>
            </a:extLst>
          </p:cNvPr>
          <p:cNvGrpSpPr/>
          <p:nvPr/>
        </p:nvGrpSpPr>
        <p:grpSpPr>
          <a:xfrm>
            <a:off x="1884073" y="2812610"/>
            <a:ext cx="3824641" cy="464871"/>
            <a:chOff x="1884073" y="2812610"/>
            <a:chExt cx="3824641" cy="464871"/>
          </a:xfrm>
        </p:grpSpPr>
        <p:sp>
          <p:nvSpPr>
            <p:cNvPr id="7" name="CaixaDeTexto 25">
              <a:extLst>
                <a:ext uri="{FF2B5EF4-FFF2-40B4-BE49-F238E27FC236}">
                  <a16:creationId xmlns:a16="http://schemas.microsoft.com/office/drawing/2014/main" id="{35B7BDD6-28A3-EB47-5DA5-206CBC2911B1}"/>
                </a:ext>
              </a:extLst>
            </p:cNvPr>
            <p:cNvSpPr txBox="1"/>
            <p:nvPr/>
          </p:nvSpPr>
          <p:spPr>
            <a:xfrm>
              <a:off x="1996775" y="2812610"/>
              <a:ext cx="3711939" cy="464871"/>
            </a:xfrm>
            <a:prstGeom prst="rect">
              <a:avLst/>
            </a:prstGeom>
            <a:noFill/>
          </p:spPr>
          <p:txBody>
            <a:bodyPr wrap="square">
              <a:spAutoFit/>
            </a:bodyPr>
            <a:lstStyle>
              <a:defPPr>
                <a:defRPr lang="pt-BR"/>
              </a:defPPr>
              <a:lvl1pPr>
                <a:lnSpc>
                  <a:spcPct val="150000"/>
                </a:lnSpc>
                <a:defRPr sz="1600" b="1"/>
              </a:lvl1pPr>
            </a:lstStyle>
            <a:p>
              <a:r>
                <a:rPr lang="en-US" sz="1800" dirty="0"/>
                <a:t>Carbon footprint analysis;</a:t>
              </a:r>
              <a:endParaRPr lang="pt-BR" sz="1800" dirty="0"/>
            </a:p>
          </p:txBody>
        </p:sp>
        <p:sp>
          <p:nvSpPr>
            <p:cNvPr id="23" name="Elipse 54">
              <a:extLst>
                <a:ext uri="{FF2B5EF4-FFF2-40B4-BE49-F238E27FC236}">
                  <a16:creationId xmlns:a16="http://schemas.microsoft.com/office/drawing/2014/main" id="{14702434-1CBD-D84B-92FD-7400D3C87A12}"/>
                </a:ext>
              </a:extLst>
            </p:cNvPr>
            <p:cNvSpPr/>
            <p:nvPr/>
          </p:nvSpPr>
          <p:spPr>
            <a:xfrm>
              <a:off x="1884073" y="3004878"/>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grpSp>
        <p:nvGrpSpPr>
          <p:cNvPr id="28" name="Agrupar 27">
            <a:extLst>
              <a:ext uri="{FF2B5EF4-FFF2-40B4-BE49-F238E27FC236}">
                <a16:creationId xmlns:a16="http://schemas.microsoft.com/office/drawing/2014/main" id="{A6642479-D6B3-6908-4E60-9CF3AC9F1C54}"/>
              </a:ext>
            </a:extLst>
          </p:cNvPr>
          <p:cNvGrpSpPr/>
          <p:nvPr/>
        </p:nvGrpSpPr>
        <p:grpSpPr>
          <a:xfrm>
            <a:off x="1884073" y="3189670"/>
            <a:ext cx="3294155" cy="464871"/>
            <a:chOff x="1884073" y="3286947"/>
            <a:chExt cx="3294155" cy="464871"/>
          </a:xfrm>
        </p:grpSpPr>
        <p:sp>
          <p:nvSpPr>
            <p:cNvPr id="26" name="CaixaDeTexto 25">
              <a:extLst>
                <a:ext uri="{FF2B5EF4-FFF2-40B4-BE49-F238E27FC236}">
                  <a16:creationId xmlns:a16="http://schemas.microsoft.com/office/drawing/2014/main" id="{AE0E2798-9EBC-7DDE-D3D2-DA143E8F038E}"/>
                </a:ext>
              </a:extLst>
            </p:cNvPr>
            <p:cNvSpPr txBox="1"/>
            <p:nvPr/>
          </p:nvSpPr>
          <p:spPr>
            <a:xfrm>
              <a:off x="1996776" y="3286947"/>
              <a:ext cx="3181452" cy="464871"/>
            </a:xfrm>
            <a:prstGeom prst="rect">
              <a:avLst/>
            </a:prstGeom>
            <a:noFill/>
          </p:spPr>
          <p:txBody>
            <a:bodyPr wrap="square">
              <a:spAutoFit/>
            </a:bodyPr>
            <a:lstStyle>
              <a:defPPr>
                <a:defRPr lang="pt-BR"/>
              </a:defPPr>
              <a:lvl1pPr>
                <a:lnSpc>
                  <a:spcPct val="150000"/>
                </a:lnSpc>
                <a:defRPr sz="1600" b="1"/>
              </a:lvl1pPr>
            </a:lstStyle>
            <a:p>
              <a:r>
                <a:rPr lang="en-US" sz="1800" dirty="0"/>
                <a:t>Agri-voltaic projects.</a:t>
              </a:r>
              <a:endParaRPr lang="pt-BR" sz="1800" dirty="0"/>
            </a:p>
          </p:txBody>
        </p:sp>
        <p:sp>
          <p:nvSpPr>
            <p:cNvPr id="25" name="Elipse 54">
              <a:extLst>
                <a:ext uri="{FF2B5EF4-FFF2-40B4-BE49-F238E27FC236}">
                  <a16:creationId xmlns:a16="http://schemas.microsoft.com/office/drawing/2014/main" id="{BD4471C7-6D05-6C3F-4F95-B2A6AF5C5E2B}"/>
                </a:ext>
              </a:extLst>
            </p:cNvPr>
            <p:cNvSpPr/>
            <p:nvPr/>
          </p:nvSpPr>
          <p:spPr>
            <a:xfrm>
              <a:off x="1884073" y="3490460"/>
              <a:ext cx="95653" cy="956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000"/>
            </a:p>
          </p:txBody>
        </p:sp>
      </p:grpSp>
    </p:spTree>
    <p:extLst>
      <p:ext uri="{BB962C8B-B14F-4D97-AF65-F5344CB8AC3E}">
        <p14:creationId xmlns:p14="http://schemas.microsoft.com/office/powerpoint/2010/main" val="4248829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0A793C-7F8B-597D-9532-AD9A1578079E}"/>
              </a:ext>
            </a:extLst>
          </p:cNvPr>
          <p:cNvSpPr>
            <a:spLocks noGrp="1"/>
          </p:cNvSpPr>
          <p:nvPr>
            <p:ph type="body" sz="quarter" idx="11"/>
          </p:nvPr>
        </p:nvSpPr>
        <p:spPr/>
        <p:txBody>
          <a:bodyPr/>
          <a:lstStyle/>
          <a:p>
            <a:r>
              <a:rPr lang="pt-BR" dirty="0"/>
              <a:t>5</a:t>
            </a:r>
          </a:p>
        </p:txBody>
      </p:sp>
      <p:sp>
        <p:nvSpPr>
          <p:cNvPr id="3" name="Text Placeholder 2">
            <a:extLst>
              <a:ext uri="{FF2B5EF4-FFF2-40B4-BE49-F238E27FC236}">
                <a16:creationId xmlns:a16="http://schemas.microsoft.com/office/drawing/2014/main" id="{870C18CB-EBC3-D078-4CC6-B8F95882B2D4}"/>
              </a:ext>
            </a:extLst>
          </p:cNvPr>
          <p:cNvSpPr>
            <a:spLocks noGrp="1"/>
          </p:cNvSpPr>
          <p:nvPr>
            <p:ph type="body" sz="quarter" idx="12"/>
          </p:nvPr>
        </p:nvSpPr>
        <p:spPr>
          <a:xfrm>
            <a:off x="6191250" y="2582560"/>
            <a:ext cx="5665788" cy="754356"/>
          </a:xfrm>
        </p:spPr>
        <p:txBody>
          <a:bodyPr/>
          <a:lstStyle/>
          <a:p>
            <a:r>
              <a:rPr lang="pt-BR" dirty="0"/>
              <a:t>Our Partners
</a:t>
            </a:r>
          </a:p>
        </p:txBody>
      </p:sp>
    </p:spTree>
    <p:extLst>
      <p:ext uri="{BB962C8B-B14F-4D97-AF65-F5344CB8AC3E}">
        <p14:creationId xmlns:p14="http://schemas.microsoft.com/office/powerpoint/2010/main" val="997146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erson holding a globe&#10;&#10;Description automatically generated with medium confidence">
            <a:extLst>
              <a:ext uri="{FF2B5EF4-FFF2-40B4-BE49-F238E27FC236}">
                <a16:creationId xmlns:a16="http://schemas.microsoft.com/office/drawing/2014/main" id="{599E865D-7F97-4DE7-A838-234266D6FCD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3958" r="23958"/>
          <a:stretch>
            <a:fillRect/>
          </a:stretch>
        </p:blipFill>
        <p:spPr/>
      </p:pic>
      <p:sp>
        <p:nvSpPr>
          <p:cNvPr id="4" name="Title 3">
            <a:extLst>
              <a:ext uri="{FF2B5EF4-FFF2-40B4-BE49-F238E27FC236}">
                <a16:creationId xmlns:a16="http://schemas.microsoft.com/office/drawing/2014/main" id="{13A4AE05-6F97-405A-B506-812AD448AB37}"/>
              </a:ext>
            </a:extLst>
          </p:cNvPr>
          <p:cNvSpPr>
            <a:spLocks noGrp="1"/>
          </p:cNvSpPr>
          <p:nvPr>
            <p:ph type="title"/>
          </p:nvPr>
        </p:nvSpPr>
        <p:spPr/>
        <p:txBody>
          <a:bodyPr/>
          <a:lstStyle/>
          <a:p>
            <a:r>
              <a:rPr lang="pt-BR" dirty="0"/>
              <a:t>Standard Services</a:t>
            </a:r>
          </a:p>
        </p:txBody>
      </p:sp>
      <p:sp>
        <p:nvSpPr>
          <p:cNvPr id="6" name="Text Placeholder 5">
            <a:extLst>
              <a:ext uri="{FF2B5EF4-FFF2-40B4-BE49-F238E27FC236}">
                <a16:creationId xmlns:a16="http://schemas.microsoft.com/office/drawing/2014/main" id="{C176797E-005A-4EB8-BF46-106F530BEF54}"/>
              </a:ext>
            </a:extLst>
          </p:cNvPr>
          <p:cNvSpPr>
            <a:spLocks noGrp="1"/>
          </p:cNvSpPr>
          <p:nvPr>
            <p:ph type="body" sz="quarter" idx="11"/>
          </p:nvPr>
        </p:nvSpPr>
        <p:spPr>
          <a:xfrm>
            <a:off x="838200" y="3629751"/>
            <a:ext cx="5543550" cy="2318383"/>
          </a:xfrm>
        </p:spPr>
        <p:txBody>
          <a:bodyPr/>
          <a:lstStyle/>
          <a:p>
            <a:r>
              <a:rPr lang="pt-BR" sz="2000" dirty="0" err="1"/>
              <a:t>CoE</a:t>
            </a:r>
            <a:r>
              <a:rPr lang="pt-BR" sz="2000" dirty="0"/>
              <a:t> Circular Economy</a:t>
            </a:r>
            <a:endParaRPr lang="pt-BR" dirty="0"/>
          </a:p>
        </p:txBody>
      </p:sp>
      <p:sp>
        <p:nvSpPr>
          <p:cNvPr id="7" name="Rectangle 6">
            <a:extLst>
              <a:ext uri="{FF2B5EF4-FFF2-40B4-BE49-F238E27FC236}">
                <a16:creationId xmlns:a16="http://schemas.microsoft.com/office/drawing/2014/main" id="{787C474D-1860-41E2-A313-0BEF047B15B2}"/>
              </a:ext>
            </a:extLst>
          </p:cNvPr>
          <p:cNvSpPr/>
          <p:nvPr/>
        </p:nvSpPr>
        <p:spPr>
          <a:xfrm>
            <a:off x="6835806" y="0"/>
            <a:ext cx="5356194" cy="6858000"/>
          </a:xfrm>
          <a:prstGeom prst="rect">
            <a:avLst/>
          </a:prstGeom>
          <a:solidFill>
            <a:srgbClr val="000532">
              <a:alpha val="6902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Picture 8">
            <a:extLst>
              <a:ext uri="{FF2B5EF4-FFF2-40B4-BE49-F238E27FC236}">
                <a16:creationId xmlns:a16="http://schemas.microsoft.com/office/drawing/2014/main" id="{54D70610-1908-474C-BAA1-1566C6665E36}"/>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914401" y="1796141"/>
            <a:ext cx="914400" cy="914400"/>
          </a:xfrm>
          <a:prstGeom prst="rect">
            <a:avLst/>
          </a:prstGeom>
        </p:spPr>
      </p:pic>
    </p:spTree>
    <p:extLst>
      <p:ext uri="{BB962C8B-B14F-4D97-AF65-F5344CB8AC3E}">
        <p14:creationId xmlns:p14="http://schemas.microsoft.com/office/powerpoint/2010/main" val="13883165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Agrupar 1">
            <a:extLst>
              <a:ext uri="{FF2B5EF4-FFF2-40B4-BE49-F238E27FC236}">
                <a16:creationId xmlns:a16="http://schemas.microsoft.com/office/drawing/2014/main" id="{535C9E4F-967F-3157-EE0F-0CBC74E1BFC3}"/>
              </a:ext>
            </a:extLst>
          </p:cNvPr>
          <p:cNvGrpSpPr/>
          <p:nvPr/>
        </p:nvGrpSpPr>
        <p:grpSpPr>
          <a:xfrm>
            <a:off x="3301502" y="1979419"/>
            <a:ext cx="1049470" cy="1049470"/>
            <a:chOff x="3567303" y="2518428"/>
            <a:chExt cx="1090569" cy="1090569"/>
          </a:xfrm>
          <a:effectLst>
            <a:outerShdw blurRad="63500" sx="102000" sy="102000" algn="ctr" rotWithShape="0">
              <a:schemeClr val="tx1">
                <a:alpha val="15000"/>
              </a:schemeClr>
            </a:outerShdw>
          </a:effectLst>
        </p:grpSpPr>
        <p:sp>
          <p:nvSpPr>
            <p:cNvPr id="77" name="Oval 76">
              <a:extLst>
                <a:ext uri="{FF2B5EF4-FFF2-40B4-BE49-F238E27FC236}">
                  <a16:creationId xmlns:a16="http://schemas.microsoft.com/office/drawing/2014/main" id="{C6B4BBE9-CCB2-4090-A9DC-507D6B7E72EC}"/>
                </a:ext>
              </a:extLst>
            </p:cNvPr>
            <p:cNvSpPr/>
            <p:nvPr/>
          </p:nvSpPr>
          <p:spPr>
            <a:xfrm>
              <a:off x="3567303" y="2518428"/>
              <a:ext cx="1090569"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89" name="Picture 2" descr="FUCAPI Funcionários, localidade, ex-alunos | LinkedIn">
              <a:extLst>
                <a:ext uri="{FF2B5EF4-FFF2-40B4-BE49-F238E27FC236}">
                  <a16:creationId xmlns:a16="http://schemas.microsoft.com/office/drawing/2014/main" id="{B6C2E487-5A68-46D4-83FE-0542393430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2791" y="2732553"/>
              <a:ext cx="658840" cy="6588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Agrupar 14">
            <a:extLst>
              <a:ext uri="{FF2B5EF4-FFF2-40B4-BE49-F238E27FC236}">
                <a16:creationId xmlns:a16="http://schemas.microsoft.com/office/drawing/2014/main" id="{AA16F870-F53F-3BA6-F5B1-D1707D9000D4}"/>
              </a:ext>
            </a:extLst>
          </p:cNvPr>
          <p:cNvGrpSpPr/>
          <p:nvPr/>
        </p:nvGrpSpPr>
        <p:grpSpPr>
          <a:xfrm>
            <a:off x="5584422" y="618349"/>
            <a:ext cx="1003403" cy="1049470"/>
            <a:chOff x="5484554" y="1300469"/>
            <a:chExt cx="1042698" cy="1090569"/>
          </a:xfrm>
          <a:effectLst>
            <a:outerShdw blurRad="63500" sx="102000" sy="102000" algn="ctr" rotWithShape="0">
              <a:schemeClr val="tx1">
                <a:alpha val="15000"/>
              </a:schemeClr>
            </a:outerShdw>
          </a:effectLst>
        </p:grpSpPr>
        <p:sp>
          <p:nvSpPr>
            <p:cNvPr id="96" name="Oval 95">
              <a:extLst>
                <a:ext uri="{FF2B5EF4-FFF2-40B4-BE49-F238E27FC236}">
                  <a16:creationId xmlns:a16="http://schemas.microsoft.com/office/drawing/2014/main" id="{7D64351D-18AA-4DB6-9306-F90A32FA67B8}"/>
                </a:ext>
              </a:extLst>
            </p:cNvPr>
            <p:cNvSpPr/>
            <p:nvPr/>
          </p:nvSpPr>
          <p:spPr>
            <a:xfrm>
              <a:off x="5484554" y="1300469"/>
              <a:ext cx="1042698"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0" name="Picture 4" descr="CBA - Home | Facebook">
              <a:extLst>
                <a:ext uri="{FF2B5EF4-FFF2-40B4-BE49-F238E27FC236}">
                  <a16:creationId xmlns:a16="http://schemas.microsoft.com/office/drawing/2014/main" id="{10AC171C-010F-46FF-BA91-7225997FB6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6000" y="1465739"/>
              <a:ext cx="718856" cy="7485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Agrupar 3">
            <a:extLst>
              <a:ext uri="{FF2B5EF4-FFF2-40B4-BE49-F238E27FC236}">
                <a16:creationId xmlns:a16="http://schemas.microsoft.com/office/drawing/2014/main" id="{18E619A7-B880-7DA6-7359-38C38B632179}"/>
              </a:ext>
            </a:extLst>
          </p:cNvPr>
          <p:cNvGrpSpPr/>
          <p:nvPr/>
        </p:nvGrpSpPr>
        <p:grpSpPr>
          <a:xfrm>
            <a:off x="3245587" y="4384912"/>
            <a:ext cx="1049470" cy="1049470"/>
            <a:chOff x="4317514" y="4759450"/>
            <a:chExt cx="1090569" cy="1090569"/>
          </a:xfrm>
          <a:effectLst>
            <a:outerShdw blurRad="63500" sx="102000" sy="102000" algn="ctr" rotWithShape="0">
              <a:schemeClr val="tx1">
                <a:alpha val="15000"/>
              </a:schemeClr>
            </a:outerShdw>
          </a:effectLst>
        </p:grpSpPr>
        <p:sp>
          <p:nvSpPr>
            <p:cNvPr id="97" name="Oval 96">
              <a:extLst>
                <a:ext uri="{FF2B5EF4-FFF2-40B4-BE49-F238E27FC236}">
                  <a16:creationId xmlns:a16="http://schemas.microsoft.com/office/drawing/2014/main" id="{51F62614-E6B5-4760-8939-EE0CFFF0C000}"/>
                </a:ext>
              </a:extLst>
            </p:cNvPr>
            <p:cNvSpPr/>
            <p:nvPr/>
          </p:nvSpPr>
          <p:spPr>
            <a:xfrm>
              <a:off x="4317514" y="4759450"/>
              <a:ext cx="1090569"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5" name="Picture 18" descr="UEA">
              <a:extLst>
                <a:ext uri="{FF2B5EF4-FFF2-40B4-BE49-F238E27FC236}">
                  <a16:creationId xmlns:a16="http://schemas.microsoft.com/office/drawing/2014/main" id="{AC977C18-062B-480B-9855-BEAA00FC64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8171" y="4909107"/>
              <a:ext cx="791256" cy="7912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C1991DC4-FD34-4F10-A192-BA2149644168}"/>
              </a:ext>
            </a:extLst>
          </p:cNvPr>
          <p:cNvGrpSpPr/>
          <p:nvPr/>
        </p:nvGrpSpPr>
        <p:grpSpPr>
          <a:xfrm>
            <a:off x="5561388" y="5117975"/>
            <a:ext cx="1049470" cy="1049470"/>
            <a:chOff x="5787258" y="4971180"/>
            <a:chExt cx="1090569" cy="1090569"/>
          </a:xfrm>
          <a:effectLst>
            <a:outerShdw blurRad="63500" sx="102000" sy="102000" algn="ctr" rotWithShape="0">
              <a:schemeClr val="tx1">
                <a:alpha val="15000"/>
              </a:schemeClr>
            </a:outerShdw>
          </a:effectLst>
        </p:grpSpPr>
        <p:sp>
          <p:nvSpPr>
            <p:cNvPr id="98" name="Oval 97">
              <a:extLst>
                <a:ext uri="{FF2B5EF4-FFF2-40B4-BE49-F238E27FC236}">
                  <a16:creationId xmlns:a16="http://schemas.microsoft.com/office/drawing/2014/main" id="{B8FED0D7-1DA1-4C88-A233-8DB6D7C216AE}"/>
                </a:ext>
              </a:extLst>
            </p:cNvPr>
            <p:cNvSpPr/>
            <p:nvPr/>
          </p:nvSpPr>
          <p:spPr>
            <a:xfrm>
              <a:off x="5787258" y="4971180"/>
              <a:ext cx="1090569"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4" name="Picture 12" descr="Salcomp Plc | LinkedIn">
              <a:extLst>
                <a:ext uri="{FF2B5EF4-FFF2-40B4-BE49-F238E27FC236}">
                  <a16:creationId xmlns:a16="http://schemas.microsoft.com/office/drawing/2014/main" id="{54FCF739-0210-4518-A22C-8DD735CABF6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1266" b="26367"/>
            <a:stretch/>
          </p:blipFill>
          <p:spPr bwMode="auto">
            <a:xfrm>
              <a:off x="5878490" y="5297199"/>
              <a:ext cx="907252" cy="475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5F4FAD7A-63A6-43AA-BFA2-0CE314785B12}"/>
              </a:ext>
            </a:extLst>
          </p:cNvPr>
          <p:cNvGrpSpPr/>
          <p:nvPr/>
        </p:nvGrpSpPr>
        <p:grpSpPr>
          <a:xfrm>
            <a:off x="6807940" y="4933195"/>
            <a:ext cx="1049470" cy="1049470"/>
            <a:chOff x="6427682" y="3580360"/>
            <a:chExt cx="1090569" cy="1090569"/>
          </a:xfrm>
          <a:effectLst>
            <a:outerShdw blurRad="63500" sx="102000" sy="102000" algn="ctr" rotWithShape="0">
              <a:schemeClr val="tx1">
                <a:alpha val="15000"/>
              </a:schemeClr>
            </a:outerShdw>
          </a:effectLst>
        </p:grpSpPr>
        <p:sp>
          <p:nvSpPr>
            <p:cNvPr id="101" name="Oval 100">
              <a:extLst>
                <a:ext uri="{FF2B5EF4-FFF2-40B4-BE49-F238E27FC236}">
                  <a16:creationId xmlns:a16="http://schemas.microsoft.com/office/drawing/2014/main" id="{90FAA3A4-22C4-4D9F-A71C-BFE5AD9ACC0C}"/>
                </a:ext>
              </a:extLst>
            </p:cNvPr>
            <p:cNvSpPr/>
            <p:nvPr/>
          </p:nvSpPr>
          <p:spPr>
            <a:xfrm>
              <a:off x="6427682" y="3580360"/>
              <a:ext cx="1090569"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3" name="Picture 12" descr="Logo, company name&#10;&#10;Description automatically generated">
              <a:extLst>
                <a:ext uri="{FF2B5EF4-FFF2-40B4-BE49-F238E27FC236}">
                  <a16:creationId xmlns:a16="http://schemas.microsoft.com/office/drawing/2014/main" id="{E5B9DAED-8E86-4916-B25A-70A59AC69B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26387" y="3849587"/>
              <a:ext cx="893158" cy="582794"/>
            </a:xfrm>
            <a:prstGeom prst="rect">
              <a:avLst/>
            </a:prstGeom>
          </p:spPr>
        </p:pic>
      </p:grpSp>
      <p:grpSp>
        <p:nvGrpSpPr>
          <p:cNvPr id="5" name="Group 4">
            <a:extLst>
              <a:ext uri="{FF2B5EF4-FFF2-40B4-BE49-F238E27FC236}">
                <a16:creationId xmlns:a16="http://schemas.microsoft.com/office/drawing/2014/main" id="{AA2B58DA-D96A-4968-A6CD-52D36B56EE57}"/>
              </a:ext>
            </a:extLst>
          </p:cNvPr>
          <p:cNvGrpSpPr/>
          <p:nvPr/>
        </p:nvGrpSpPr>
        <p:grpSpPr>
          <a:xfrm>
            <a:off x="4245350" y="804878"/>
            <a:ext cx="1049470" cy="1049470"/>
            <a:chOff x="6322480" y="1440081"/>
            <a:chExt cx="1090569" cy="1090569"/>
          </a:xfrm>
          <a:effectLst>
            <a:outerShdw blurRad="63500" sx="102000" sy="102000" algn="ctr" rotWithShape="0">
              <a:schemeClr val="tx1">
                <a:alpha val="15000"/>
              </a:schemeClr>
            </a:outerShdw>
          </a:effectLst>
        </p:grpSpPr>
        <p:sp>
          <p:nvSpPr>
            <p:cNvPr id="100" name="Oval 99">
              <a:extLst>
                <a:ext uri="{FF2B5EF4-FFF2-40B4-BE49-F238E27FC236}">
                  <a16:creationId xmlns:a16="http://schemas.microsoft.com/office/drawing/2014/main" id="{8AD13F5F-203E-47AE-BBFC-2E6D9F2469DD}"/>
                </a:ext>
              </a:extLst>
            </p:cNvPr>
            <p:cNvSpPr/>
            <p:nvPr/>
          </p:nvSpPr>
          <p:spPr>
            <a:xfrm>
              <a:off x="6322480" y="1440081"/>
              <a:ext cx="1090569"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7169" name="Picture 7168" descr="A picture containing text, clipart, businesscard, vector graphics&#10;&#10;Description automatically generated">
              <a:extLst>
                <a:ext uri="{FF2B5EF4-FFF2-40B4-BE49-F238E27FC236}">
                  <a16:creationId xmlns:a16="http://schemas.microsoft.com/office/drawing/2014/main" id="{1D75F9D7-8087-45E3-8E54-90D55A6609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0347" y="1791532"/>
              <a:ext cx="810117" cy="405059"/>
            </a:xfrm>
            <a:prstGeom prst="rect">
              <a:avLst/>
            </a:prstGeom>
          </p:spPr>
        </p:pic>
      </p:grpSp>
      <p:grpSp>
        <p:nvGrpSpPr>
          <p:cNvPr id="12" name="Agrupar 11">
            <a:extLst>
              <a:ext uri="{FF2B5EF4-FFF2-40B4-BE49-F238E27FC236}">
                <a16:creationId xmlns:a16="http://schemas.microsoft.com/office/drawing/2014/main" id="{606AC68D-EAE0-85B2-B7F6-233024EC0B32}"/>
              </a:ext>
            </a:extLst>
          </p:cNvPr>
          <p:cNvGrpSpPr/>
          <p:nvPr/>
        </p:nvGrpSpPr>
        <p:grpSpPr>
          <a:xfrm>
            <a:off x="6877427" y="967169"/>
            <a:ext cx="1003403" cy="1049470"/>
            <a:chOff x="6651109" y="1603710"/>
            <a:chExt cx="1042698" cy="1090569"/>
          </a:xfrm>
          <a:effectLst>
            <a:outerShdw blurRad="63500" sx="102000" sy="102000" algn="ctr" rotWithShape="0">
              <a:schemeClr val="tx1">
                <a:alpha val="15000"/>
              </a:schemeClr>
            </a:outerShdw>
          </a:effectLst>
        </p:grpSpPr>
        <p:sp>
          <p:nvSpPr>
            <p:cNvPr id="27" name="Oval 26">
              <a:extLst>
                <a:ext uri="{FF2B5EF4-FFF2-40B4-BE49-F238E27FC236}">
                  <a16:creationId xmlns:a16="http://schemas.microsoft.com/office/drawing/2014/main" id="{F1360C4D-D0CD-48DD-933F-8BA99BE76A88}"/>
                </a:ext>
              </a:extLst>
            </p:cNvPr>
            <p:cNvSpPr/>
            <p:nvPr/>
          </p:nvSpPr>
          <p:spPr>
            <a:xfrm>
              <a:off x="6651109" y="1603710"/>
              <a:ext cx="1042698"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7" name="Picture 16">
              <a:extLst>
                <a:ext uri="{FF2B5EF4-FFF2-40B4-BE49-F238E27FC236}">
                  <a16:creationId xmlns:a16="http://schemas.microsoft.com/office/drawing/2014/main" id="{3D520702-D116-48CC-AD93-FBE3DD8D5D94}"/>
                </a:ext>
              </a:extLst>
            </p:cNvPr>
            <p:cNvPicPr>
              <a:picLocks noChangeAspect="1"/>
            </p:cNvPicPr>
            <p:nvPr/>
          </p:nvPicPr>
          <p:blipFill>
            <a:blip r:embed="rId8"/>
            <a:stretch>
              <a:fillRect/>
            </a:stretch>
          </p:blipFill>
          <p:spPr>
            <a:xfrm>
              <a:off x="6783010" y="1830567"/>
              <a:ext cx="830444" cy="634789"/>
            </a:xfrm>
            <a:prstGeom prst="rect">
              <a:avLst/>
            </a:prstGeom>
          </p:spPr>
        </p:pic>
      </p:grpSp>
      <p:grpSp>
        <p:nvGrpSpPr>
          <p:cNvPr id="7" name="Agrupar 6">
            <a:extLst>
              <a:ext uri="{FF2B5EF4-FFF2-40B4-BE49-F238E27FC236}">
                <a16:creationId xmlns:a16="http://schemas.microsoft.com/office/drawing/2014/main" id="{3FCA62B0-82F0-8362-0234-7168D957168B}"/>
              </a:ext>
            </a:extLst>
          </p:cNvPr>
          <p:cNvGrpSpPr/>
          <p:nvPr/>
        </p:nvGrpSpPr>
        <p:grpSpPr>
          <a:xfrm>
            <a:off x="7857410" y="4408460"/>
            <a:ext cx="1003403" cy="1049470"/>
            <a:chOff x="8331335" y="3283622"/>
            <a:chExt cx="1042698" cy="1090569"/>
          </a:xfrm>
          <a:effectLst>
            <a:outerShdw blurRad="63500" sx="102000" sy="102000" algn="ctr" rotWithShape="0">
              <a:schemeClr val="tx1">
                <a:alpha val="15000"/>
              </a:schemeClr>
            </a:outerShdw>
          </a:effectLst>
        </p:grpSpPr>
        <p:sp>
          <p:nvSpPr>
            <p:cNvPr id="31" name="Oval 30">
              <a:extLst>
                <a:ext uri="{FF2B5EF4-FFF2-40B4-BE49-F238E27FC236}">
                  <a16:creationId xmlns:a16="http://schemas.microsoft.com/office/drawing/2014/main" id="{A9431C54-E2BD-4518-BBDB-CBC54648217D}"/>
                </a:ext>
              </a:extLst>
            </p:cNvPr>
            <p:cNvSpPr/>
            <p:nvPr/>
          </p:nvSpPr>
          <p:spPr>
            <a:xfrm>
              <a:off x="8331335" y="3283622"/>
              <a:ext cx="1042698"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9" name="Picture 18">
              <a:extLst>
                <a:ext uri="{FF2B5EF4-FFF2-40B4-BE49-F238E27FC236}">
                  <a16:creationId xmlns:a16="http://schemas.microsoft.com/office/drawing/2014/main" id="{7651B56C-3248-4DF5-9290-0B0A36AAA65A}"/>
                </a:ext>
              </a:extLst>
            </p:cNvPr>
            <p:cNvPicPr>
              <a:picLocks noChangeAspect="1"/>
            </p:cNvPicPr>
            <p:nvPr/>
          </p:nvPicPr>
          <p:blipFill>
            <a:blip r:embed="rId9"/>
            <a:stretch>
              <a:fillRect/>
            </a:stretch>
          </p:blipFill>
          <p:spPr>
            <a:xfrm>
              <a:off x="8376279" y="3672815"/>
              <a:ext cx="940448" cy="312182"/>
            </a:xfrm>
            <a:prstGeom prst="rect">
              <a:avLst/>
            </a:prstGeom>
          </p:spPr>
        </p:pic>
      </p:grpSp>
      <p:grpSp>
        <p:nvGrpSpPr>
          <p:cNvPr id="16" name="Group 15">
            <a:extLst>
              <a:ext uri="{FF2B5EF4-FFF2-40B4-BE49-F238E27FC236}">
                <a16:creationId xmlns:a16="http://schemas.microsoft.com/office/drawing/2014/main" id="{DF6FD427-ACA7-CAEF-7462-74A1C7E526C8}"/>
              </a:ext>
            </a:extLst>
          </p:cNvPr>
          <p:cNvGrpSpPr/>
          <p:nvPr/>
        </p:nvGrpSpPr>
        <p:grpSpPr>
          <a:xfrm>
            <a:off x="4280732" y="5003652"/>
            <a:ext cx="1003403" cy="1049470"/>
            <a:chOff x="1289604" y="4364764"/>
            <a:chExt cx="1042698" cy="1090569"/>
          </a:xfrm>
          <a:effectLst>
            <a:outerShdw blurRad="63500" sx="102000" sy="102000" algn="ctr" rotWithShape="0">
              <a:schemeClr val="tx1">
                <a:alpha val="15000"/>
              </a:schemeClr>
            </a:outerShdw>
          </a:effectLst>
        </p:grpSpPr>
        <p:sp>
          <p:nvSpPr>
            <p:cNvPr id="14" name="Oval 13">
              <a:extLst>
                <a:ext uri="{FF2B5EF4-FFF2-40B4-BE49-F238E27FC236}">
                  <a16:creationId xmlns:a16="http://schemas.microsoft.com/office/drawing/2014/main" id="{444AD769-DB1E-8759-DE08-D690441A6F87}"/>
                </a:ext>
              </a:extLst>
            </p:cNvPr>
            <p:cNvSpPr/>
            <p:nvPr/>
          </p:nvSpPr>
          <p:spPr>
            <a:xfrm>
              <a:off x="1289604" y="4364764"/>
              <a:ext cx="1042698"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28" name="Picture 4">
              <a:extLst>
                <a:ext uri="{FF2B5EF4-FFF2-40B4-BE49-F238E27FC236}">
                  <a16:creationId xmlns:a16="http://schemas.microsoft.com/office/drawing/2014/main" id="{FF5110B6-65E4-E443-B0A1-D3984DEDAF0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5221" b="22302"/>
            <a:stretch/>
          </p:blipFill>
          <p:spPr bwMode="auto">
            <a:xfrm>
              <a:off x="1354218" y="4664605"/>
              <a:ext cx="913469" cy="4793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01A5AEE0-95FE-5397-3FC4-760C58A0B58F}"/>
              </a:ext>
            </a:extLst>
          </p:cNvPr>
          <p:cNvGrpSpPr/>
          <p:nvPr/>
        </p:nvGrpSpPr>
        <p:grpSpPr>
          <a:xfrm>
            <a:off x="8181161" y="3133593"/>
            <a:ext cx="1003403" cy="1049470"/>
            <a:chOff x="335767" y="5509931"/>
            <a:chExt cx="1042698" cy="1090569"/>
          </a:xfrm>
          <a:effectLst>
            <a:outerShdw blurRad="63500" sx="102000" sy="102000" algn="ctr" rotWithShape="0">
              <a:schemeClr val="tx1">
                <a:alpha val="15000"/>
              </a:schemeClr>
            </a:outerShdw>
          </a:effectLst>
        </p:grpSpPr>
        <p:sp>
          <p:nvSpPr>
            <p:cNvPr id="18" name="Oval 17">
              <a:extLst>
                <a:ext uri="{FF2B5EF4-FFF2-40B4-BE49-F238E27FC236}">
                  <a16:creationId xmlns:a16="http://schemas.microsoft.com/office/drawing/2014/main" id="{509A56CC-4747-7E9F-F380-05DFC7F77697}"/>
                </a:ext>
              </a:extLst>
            </p:cNvPr>
            <p:cNvSpPr/>
            <p:nvPr/>
          </p:nvSpPr>
          <p:spPr>
            <a:xfrm>
              <a:off x="335767" y="5509931"/>
              <a:ext cx="1042698" cy="1090569"/>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030" name="Picture 6">
              <a:extLst>
                <a:ext uri="{FF2B5EF4-FFF2-40B4-BE49-F238E27FC236}">
                  <a16:creationId xmlns:a16="http://schemas.microsoft.com/office/drawing/2014/main" id="{2098BCD6-D6D6-BD22-1BFE-F28712BB902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4809" y="5795786"/>
              <a:ext cx="800233" cy="50975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Agrupar 20">
            <a:extLst>
              <a:ext uri="{FF2B5EF4-FFF2-40B4-BE49-F238E27FC236}">
                <a16:creationId xmlns:a16="http://schemas.microsoft.com/office/drawing/2014/main" id="{64C848B3-CC62-04D8-DC03-F263B4E5B65D}"/>
              </a:ext>
            </a:extLst>
          </p:cNvPr>
          <p:cNvGrpSpPr/>
          <p:nvPr/>
        </p:nvGrpSpPr>
        <p:grpSpPr>
          <a:xfrm>
            <a:off x="4587742" y="2016639"/>
            <a:ext cx="3010993" cy="3066764"/>
            <a:chOff x="4675329" y="2478158"/>
            <a:chExt cx="2575420" cy="2575420"/>
          </a:xfrm>
          <a:effectLst>
            <a:outerShdw blurRad="63500" sx="102000" sy="102000" algn="ctr" rotWithShape="0">
              <a:prstClr val="black">
                <a:alpha val="15000"/>
              </a:prstClr>
            </a:outerShdw>
          </a:effectLst>
        </p:grpSpPr>
        <p:sp>
          <p:nvSpPr>
            <p:cNvPr id="6" name="Oval 5">
              <a:extLst>
                <a:ext uri="{FF2B5EF4-FFF2-40B4-BE49-F238E27FC236}">
                  <a16:creationId xmlns:a16="http://schemas.microsoft.com/office/drawing/2014/main" id="{113E04FA-E93F-422C-8658-DFD77758AD4D}"/>
                </a:ext>
              </a:extLst>
            </p:cNvPr>
            <p:cNvSpPr/>
            <p:nvPr/>
          </p:nvSpPr>
          <p:spPr>
            <a:xfrm>
              <a:off x="4675329" y="2478158"/>
              <a:ext cx="2575420" cy="257542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t-BR"/>
            </a:p>
          </p:txBody>
        </p:sp>
        <p:pic>
          <p:nvPicPr>
            <p:cNvPr id="75" name="Picture 16" descr="Sinctronics">
              <a:extLst>
                <a:ext uri="{FF2B5EF4-FFF2-40B4-BE49-F238E27FC236}">
                  <a16:creationId xmlns:a16="http://schemas.microsoft.com/office/drawing/2014/main" id="{6F4B7D1E-2A32-40A8-B574-6E7EED2596AA}"/>
                </a:ext>
              </a:extLst>
            </p:cNvPr>
            <p:cNvPicPr>
              <a:picLocks noChangeAspect="1" noChangeArrowheads="1"/>
            </p:cNvPicPr>
            <p:nvPr/>
          </p:nvPicPr>
          <p:blipFill>
            <a:blip r:embed="rId12">
              <a:lum bright="70000" contrast="-70000"/>
              <a:extLst>
                <a:ext uri="{28A0092B-C50C-407E-A947-70E740481C1C}">
                  <a14:useLocalDpi xmlns:a14="http://schemas.microsoft.com/office/drawing/2010/main" val="0"/>
                </a:ext>
              </a:extLst>
            </a:blip>
            <a:srcRect/>
            <a:stretch>
              <a:fillRect/>
            </a:stretch>
          </p:blipFill>
          <p:spPr bwMode="auto">
            <a:xfrm>
              <a:off x="5056047" y="4056967"/>
              <a:ext cx="1878640" cy="54553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Logo, company name&#10;&#10;Description automatically generated">
              <a:extLst>
                <a:ext uri="{FF2B5EF4-FFF2-40B4-BE49-F238E27FC236}">
                  <a16:creationId xmlns:a16="http://schemas.microsoft.com/office/drawing/2014/main" id="{94346725-735A-4E4C-9048-A217A6A6647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43868" y="2897519"/>
              <a:ext cx="1108411" cy="1106194"/>
            </a:xfrm>
            <a:prstGeom prst="rect">
              <a:avLst/>
            </a:prstGeom>
          </p:spPr>
        </p:pic>
        <p:pic>
          <p:nvPicPr>
            <p:cNvPr id="26" name="Picture 8">
              <a:extLst>
                <a:ext uri="{FF2B5EF4-FFF2-40B4-BE49-F238E27FC236}">
                  <a16:creationId xmlns:a16="http://schemas.microsoft.com/office/drawing/2014/main" id="{7FBF8F0F-7E9A-28C6-3F50-3D42207FB1B1}"/>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9028" b="97917" l="3134" r="89744">
                          <a14:foregroundMark x1="7977" y1="26389" x2="8262" y2="38194"/>
                          <a14:foregroundMark x1="3134" y1="34722" x2="3134" y2="34722"/>
                          <a14:foregroundMark x1="9117" y1="97222" x2="9117" y2="97222"/>
                          <a14:foregroundMark x1="25071" y1="56944" x2="25071" y2="56944"/>
                          <a14:foregroundMark x1="68661" y1="39583" x2="68661" y2="39583"/>
                          <a14:foregroundMark x1="77493" y1="59028" x2="77493" y2="59028"/>
                          <a14:foregroundMark x1="84046" y1="77083" x2="84046" y2="77083"/>
                          <a14:foregroundMark x1="8547" y1="36806" x2="8547" y2="36806"/>
                          <a14:foregroundMark x1="49003" y1="97917" x2="49003" y2="97917"/>
                        </a14:backgroundRemoval>
                      </a14:imgEffect>
                    </a14:imgLayer>
                  </a14:imgProps>
                </a:ext>
                <a:ext uri="{28A0092B-C50C-407E-A947-70E740481C1C}">
                  <a14:useLocalDpi xmlns:a14="http://schemas.microsoft.com/office/drawing/2010/main" val="0"/>
                </a:ext>
              </a:extLst>
            </a:blip>
            <a:srcRect/>
            <a:stretch>
              <a:fillRect/>
            </a:stretch>
          </p:blipFill>
          <p:spPr bwMode="auto">
            <a:xfrm>
              <a:off x="5615877" y="4511989"/>
              <a:ext cx="758979" cy="3113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Agrupar 2">
            <a:extLst>
              <a:ext uri="{FF2B5EF4-FFF2-40B4-BE49-F238E27FC236}">
                <a16:creationId xmlns:a16="http://schemas.microsoft.com/office/drawing/2014/main" id="{7723CD51-BC39-1EF5-1062-56AAC9D31993}"/>
              </a:ext>
            </a:extLst>
          </p:cNvPr>
          <p:cNvGrpSpPr/>
          <p:nvPr/>
        </p:nvGrpSpPr>
        <p:grpSpPr>
          <a:xfrm>
            <a:off x="3175215" y="3172906"/>
            <a:ext cx="1095177" cy="1095177"/>
            <a:chOff x="2411733" y="3188411"/>
            <a:chExt cx="1138066" cy="1138066"/>
          </a:xfrm>
          <a:effectLst>
            <a:outerShdw blurRad="63500" sx="102000" sy="102000" algn="ctr" rotWithShape="0">
              <a:schemeClr val="tx1">
                <a:alpha val="15000"/>
              </a:schemeClr>
            </a:outerShdw>
          </a:effectLst>
        </p:grpSpPr>
        <p:sp>
          <p:nvSpPr>
            <p:cNvPr id="30" name="Elipse 29">
              <a:extLst>
                <a:ext uri="{FF2B5EF4-FFF2-40B4-BE49-F238E27FC236}">
                  <a16:creationId xmlns:a16="http://schemas.microsoft.com/office/drawing/2014/main" id="{F5D8FC1F-1A30-B764-AB2F-4ABC1F5547AE}"/>
                </a:ext>
              </a:extLst>
            </p:cNvPr>
            <p:cNvSpPr/>
            <p:nvPr/>
          </p:nvSpPr>
          <p:spPr>
            <a:xfrm>
              <a:off x="2411733" y="3188411"/>
              <a:ext cx="1138066" cy="1138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3" name="Imagem 22">
              <a:extLst>
                <a:ext uri="{FF2B5EF4-FFF2-40B4-BE49-F238E27FC236}">
                  <a16:creationId xmlns:a16="http://schemas.microsoft.com/office/drawing/2014/main" id="{E0A6DE6C-69BE-7FEE-C65C-1E36F8D6CC5F}"/>
                </a:ext>
              </a:extLst>
            </p:cNvPr>
            <p:cNvPicPr>
              <a:picLocks noChangeAspect="1"/>
            </p:cNvPicPr>
            <p:nvPr/>
          </p:nvPicPr>
          <p:blipFill>
            <a:blip r:embed="rId16"/>
            <a:stretch>
              <a:fillRect/>
            </a:stretch>
          </p:blipFill>
          <p:spPr>
            <a:xfrm>
              <a:off x="2582148" y="3356437"/>
              <a:ext cx="797236" cy="750222"/>
            </a:xfrm>
            <a:prstGeom prst="rect">
              <a:avLst/>
            </a:prstGeom>
          </p:spPr>
        </p:pic>
      </p:grpSp>
      <p:grpSp>
        <p:nvGrpSpPr>
          <p:cNvPr id="8" name="Agrupar 7">
            <a:extLst>
              <a:ext uri="{FF2B5EF4-FFF2-40B4-BE49-F238E27FC236}">
                <a16:creationId xmlns:a16="http://schemas.microsoft.com/office/drawing/2014/main" id="{37890265-F57F-5367-78C4-1811E75E132B}"/>
              </a:ext>
            </a:extLst>
          </p:cNvPr>
          <p:cNvGrpSpPr/>
          <p:nvPr/>
        </p:nvGrpSpPr>
        <p:grpSpPr>
          <a:xfrm>
            <a:off x="7731257" y="1871415"/>
            <a:ext cx="1130567" cy="1130567"/>
            <a:chOff x="7265019" y="2559710"/>
            <a:chExt cx="1174842" cy="1174842"/>
          </a:xfrm>
          <a:effectLst>
            <a:outerShdw blurRad="63500" sx="102000" sy="102000" algn="ctr" rotWithShape="0">
              <a:schemeClr val="tx1">
                <a:alpha val="15000"/>
              </a:schemeClr>
            </a:outerShdw>
          </a:effectLst>
        </p:grpSpPr>
        <p:sp>
          <p:nvSpPr>
            <p:cNvPr id="28" name="Elipse 27">
              <a:extLst>
                <a:ext uri="{FF2B5EF4-FFF2-40B4-BE49-F238E27FC236}">
                  <a16:creationId xmlns:a16="http://schemas.microsoft.com/office/drawing/2014/main" id="{5BBCAF6F-60B6-033F-3158-8DD49DCC118E}"/>
                </a:ext>
              </a:extLst>
            </p:cNvPr>
            <p:cNvSpPr/>
            <p:nvPr/>
          </p:nvSpPr>
          <p:spPr>
            <a:xfrm>
              <a:off x="7265019" y="2559710"/>
              <a:ext cx="1174842" cy="11748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050" name="Picture 2" descr="Empresa De Resíduos | Rio Limpo | Amazonas">
              <a:extLst>
                <a:ext uri="{FF2B5EF4-FFF2-40B4-BE49-F238E27FC236}">
                  <a16:creationId xmlns:a16="http://schemas.microsoft.com/office/drawing/2014/main" id="{6FC8EA62-0954-DFCF-A5A3-957D105D46D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570838" y="2762441"/>
              <a:ext cx="600219" cy="8556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36564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ppt_x"/>
                                          </p:val>
                                        </p:tav>
                                        <p:tav tm="100000">
                                          <p:val>
                                            <p:strVal val="#ppt_x"/>
                                          </p:val>
                                        </p:tav>
                                      </p:tavLst>
                                    </p:anim>
                                    <p:anim calcmode="lin" valueType="num">
                                      <p:cBhvr additive="base">
                                        <p:cTn id="8" dur="1000" fill="hold"/>
                                        <p:tgtEl>
                                          <p:spTgt spid="15"/>
                                        </p:tgtEl>
                                        <p:attrNameLst>
                                          <p:attrName>ppt_y</p:attrName>
                                        </p:attrNameLst>
                                      </p:cBhvr>
                                      <p:tavLst>
                                        <p:tav tm="0">
                                          <p:val>
                                            <p:strVal val="0-#ppt_h/2"/>
                                          </p:val>
                                        </p:tav>
                                        <p:tav tm="100000">
                                          <p:val>
                                            <p:strVal val="#ppt_y"/>
                                          </p:val>
                                        </p:tav>
                                      </p:tavLst>
                                    </p:anim>
                                  </p:childTnLst>
                                </p:cTn>
                              </p:par>
                              <p:par>
                                <p:cTn id="9" presetID="2" presetClass="entr" presetSubtype="8" decel="100000"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0-#ppt_w/2"/>
                                          </p:val>
                                        </p:tav>
                                        <p:tav tm="100000">
                                          <p:val>
                                            <p:strVal val="#ppt_x"/>
                                          </p:val>
                                        </p:tav>
                                      </p:tavLst>
                                    </p:anim>
                                    <p:anim calcmode="lin" valueType="num">
                                      <p:cBhvr additive="base">
                                        <p:cTn id="12" dur="10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1+#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1000" fill="hold"/>
                                        <p:tgtEl>
                                          <p:spTgt spid="2"/>
                                        </p:tgtEl>
                                        <p:attrNameLst>
                                          <p:attrName>ppt_x</p:attrName>
                                        </p:attrNameLst>
                                      </p:cBhvr>
                                      <p:tavLst>
                                        <p:tav tm="0">
                                          <p:val>
                                            <p:strVal val="0-#ppt_w/2"/>
                                          </p:val>
                                        </p:tav>
                                        <p:tav tm="100000">
                                          <p:val>
                                            <p:strVal val="#ppt_x"/>
                                          </p:val>
                                        </p:tav>
                                      </p:tavLst>
                                    </p:anim>
                                    <p:anim calcmode="lin" valueType="num">
                                      <p:cBhvr additive="base">
                                        <p:cTn id="20" dur="1000" fill="hold"/>
                                        <p:tgtEl>
                                          <p:spTgt spid="2"/>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75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1000" fill="hold"/>
                                        <p:tgtEl>
                                          <p:spTgt spid="8"/>
                                        </p:tgtEl>
                                        <p:attrNameLst>
                                          <p:attrName>ppt_x</p:attrName>
                                        </p:attrNameLst>
                                      </p:cBhvr>
                                      <p:tavLst>
                                        <p:tav tm="0">
                                          <p:val>
                                            <p:strVal val="1+#ppt_w/2"/>
                                          </p:val>
                                        </p:tav>
                                        <p:tav tm="100000">
                                          <p:val>
                                            <p:strVal val="#ppt_x"/>
                                          </p:val>
                                        </p:tav>
                                      </p:tavLst>
                                    </p:anim>
                                    <p:anim calcmode="lin" valueType="num">
                                      <p:cBhvr additive="base">
                                        <p:cTn id="24" dur="1000" fill="hold"/>
                                        <p:tgtEl>
                                          <p:spTgt spid="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000"/>
                                  </p:stCondLst>
                                  <p:childTnLst>
                                    <p:set>
                                      <p:cBhvr>
                                        <p:cTn id="26" dur="1" fill="hold">
                                          <p:stCondLst>
                                            <p:cond delay="0"/>
                                          </p:stCondLst>
                                        </p:cTn>
                                        <p:tgtEl>
                                          <p:spTgt spid="3"/>
                                        </p:tgtEl>
                                        <p:attrNameLst>
                                          <p:attrName>style.visibility</p:attrName>
                                        </p:attrNameLst>
                                      </p:cBhvr>
                                      <p:to>
                                        <p:strVal val="visible"/>
                                      </p:to>
                                    </p:set>
                                    <p:anim calcmode="lin" valueType="num">
                                      <p:cBhvr additive="base">
                                        <p:cTn id="27" dur="1000" fill="hold"/>
                                        <p:tgtEl>
                                          <p:spTgt spid="3"/>
                                        </p:tgtEl>
                                        <p:attrNameLst>
                                          <p:attrName>ppt_x</p:attrName>
                                        </p:attrNameLst>
                                      </p:cBhvr>
                                      <p:tavLst>
                                        <p:tav tm="0">
                                          <p:val>
                                            <p:strVal val="0-#ppt_w/2"/>
                                          </p:val>
                                        </p:tav>
                                        <p:tav tm="100000">
                                          <p:val>
                                            <p:strVal val="#ppt_x"/>
                                          </p:val>
                                        </p:tav>
                                      </p:tavLst>
                                    </p:anim>
                                    <p:anim calcmode="lin" valueType="num">
                                      <p:cBhvr additive="base">
                                        <p:cTn id="28" dur="1000" fill="hold"/>
                                        <p:tgtEl>
                                          <p:spTgt spid="3"/>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100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1000" fill="hold"/>
                                        <p:tgtEl>
                                          <p:spTgt spid="20"/>
                                        </p:tgtEl>
                                        <p:attrNameLst>
                                          <p:attrName>ppt_x</p:attrName>
                                        </p:attrNameLst>
                                      </p:cBhvr>
                                      <p:tavLst>
                                        <p:tav tm="0">
                                          <p:val>
                                            <p:strVal val="1+#ppt_w/2"/>
                                          </p:val>
                                        </p:tav>
                                        <p:tav tm="100000">
                                          <p:val>
                                            <p:strVal val="#ppt_x"/>
                                          </p:val>
                                        </p:tav>
                                      </p:tavLst>
                                    </p:anim>
                                    <p:anim calcmode="lin" valueType="num">
                                      <p:cBhvr additive="base">
                                        <p:cTn id="32" dur="1000" fill="hold"/>
                                        <p:tgtEl>
                                          <p:spTgt spid="20"/>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125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1000" fill="hold"/>
                                        <p:tgtEl>
                                          <p:spTgt spid="16"/>
                                        </p:tgtEl>
                                        <p:attrNameLst>
                                          <p:attrName>ppt_x</p:attrName>
                                        </p:attrNameLst>
                                      </p:cBhvr>
                                      <p:tavLst>
                                        <p:tav tm="0">
                                          <p:val>
                                            <p:strVal val="0-#ppt_w/2"/>
                                          </p:val>
                                        </p:tav>
                                        <p:tav tm="100000">
                                          <p:val>
                                            <p:strVal val="#ppt_x"/>
                                          </p:val>
                                        </p:tav>
                                      </p:tavLst>
                                    </p:anim>
                                    <p:anim calcmode="lin" valueType="num">
                                      <p:cBhvr additive="base">
                                        <p:cTn id="36" dur="1000" fill="hold"/>
                                        <p:tgtEl>
                                          <p:spTgt spid="16"/>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125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1+#ppt_w/2"/>
                                          </p:val>
                                        </p:tav>
                                        <p:tav tm="100000">
                                          <p:val>
                                            <p:strVal val="#ppt_x"/>
                                          </p:val>
                                        </p:tav>
                                      </p:tavLst>
                                    </p:anim>
                                    <p:anim calcmode="lin" valueType="num">
                                      <p:cBhvr additive="base">
                                        <p:cTn id="40" dur="1000" fill="hold"/>
                                        <p:tgtEl>
                                          <p:spTgt spid="10"/>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150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1000" fill="hold"/>
                                        <p:tgtEl>
                                          <p:spTgt spid="4"/>
                                        </p:tgtEl>
                                        <p:attrNameLst>
                                          <p:attrName>ppt_x</p:attrName>
                                        </p:attrNameLst>
                                      </p:cBhvr>
                                      <p:tavLst>
                                        <p:tav tm="0">
                                          <p:val>
                                            <p:strVal val="0-#ppt_w/2"/>
                                          </p:val>
                                        </p:tav>
                                        <p:tav tm="100000">
                                          <p:val>
                                            <p:strVal val="#ppt_x"/>
                                          </p:val>
                                        </p:tav>
                                      </p:tavLst>
                                    </p:anim>
                                    <p:anim calcmode="lin" valueType="num">
                                      <p:cBhvr additive="base">
                                        <p:cTn id="44" dur="1000" fill="hold"/>
                                        <p:tgtEl>
                                          <p:spTgt spid="4"/>
                                        </p:tgtEl>
                                        <p:attrNameLst>
                                          <p:attrName>ppt_y</p:attrName>
                                        </p:attrNameLst>
                                      </p:cBhvr>
                                      <p:tavLst>
                                        <p:tav tm="0">
                                          <p:val>
                                            <p:strVal val="#ppt_y"/>
                                          </p:val>
                                        </p:tav>
                                        <p:tav tm="100000">
                                          <p:val>
                                            <p:strVal val="#ppt_y"/>
                                          </p:val>
                                        </p:tav>
                                      </p:tavLst>
                                    </p:anim>
                                  </p:childTnLst>
                                </p:cTn>
                              </p:par>
                              <p:par>
                                <p:cTn id="45" presetID="2" presetClass="entr" presetSubtype="2" decel="100000" fill="hold" nodeType="withEffect">
                                  <p:stCondLst>
                                    <p:cond delay="1500"/>
                                  </p:stCondLst>
                                  <p:childTnLst>
                                    <p:set>
                                      <p:cBhvr>
                                        <p:cTn id="46" dur="1" fill="hold">
                                          <p:stCondLst>
                                            <p:cond delay="0"/>
                                          </p:stCondLst>
                                        </p:cTn>
                                        <p:tgtEl>
                                          <p:spTgt spid="7"/>
                                        </p:tgtEl>
                                        <p:attrNameLst>
                                          <p:attrName>style.visibility</p:attrName>
                                        </p:attrNameLst>
                                      </p:cBhvr>
                                      <p:to>
                                        <p:strVal val="visible"/>
                                      </p:to>
                                    </p:set>
                                    <p:anim calcmode="lin" valueType="num">
                                      <p:cBhvr additive="base">
                                        <p:cTn id="47" dur="1000" fill="hold"/>
                                        <p:tgtEl>
                                          <p:spTgt spid="7"/>
                                        </p:tgtEl>
                                        <p:attrNameLst>
                                          <p:attrName>ppt_x</p:attrName>
                                        </p:attrNameLst>
                                      </p:cBhvr>
                                      <p:tavLst>
                                        <p:tav tm="0">
                                          <p:val>
                                            <p:strVal val="1+#ppt_w/2"/>
                                          </p:val>
                                        </p:tav>
                                        <p:tav tm="100000">
                                          <p:val>
                                            <p:strVal val="#ppt_x"/>
                                          </p:val>
                                        </p:tav>
                                      </p:tavLst>
                                    </p:anim>
                                    <p:anim calcmode="lin" valueType="num">
                                      <p:cBhvr additive="base">
                                        <p:cTn id="48" dur="1000" fill="hold"/>
                                        <p:tgtEl>
                                          <p:spTgt spid="7"/>
                                        </p:tgtEl>
                                        <p:attrNameLst>
                                          <p:attrName>ppt_y</p:attrName>
                                        </p:attrNameLst>
                                      </p:cBhvr>
                                      <p:tavLst>
                                        <p:tav tm="0">
                                          <p:val>
                                            <p:strVal val="#ppt_y"/>
                                          </p:val>
                                        </p:tav>
                                        <p:tav tm="100000">
                                          <p:val>
                                            <p:strVal val="#ppt_y"/>
                                          </p:val>
                                        </p:tav>
                                      </p:tavLst>
                                    </p:anim>
                                  </p:childTnLst>
                                </p:cTn>
                              </p:par>
                              <p:par>
                                <p:cTn id="49" presetID="2" presetClass="entr" presetSubtype="4" decel="100000" fill="hold" nodeType="withEffect">
                                  <p:stCondLst>
                                    <p:cond delay="1750"/>
                                  </p:stCondLst>
                                  <p:childTnLst>
                                    <p:set>
                                      <p:cBhvr>
                                        <p:cTn id="50" dur="1" fill="hold">
                                          <p:stCondLst>
                                            <p:cond delay="0"/>
                                          </p:stCondLst>
                                        </p:cTn>
                                        <p:tgtEl>
                                          <p:spTgt spid="9"/>
                                        </p:tgtEl>
                                        <p:attrNameLst>
                                          <p:attrName>style.visibility</p:attrName>
                                        </p:attrNameLst>
                                      </p:cBhvr>
                                      <p:to>
                                        <p:strVal val="visible"/>
                                      </p:to>
                                    </p:set>
                                    <p:anim calcmode="lin" valueType="num">
                                      <p:cBhvr additive="base">
                                        <p:cTn id="51" dur="1000" fill="hold"/>
                                        <p:tgtEl>
                                          <p:spTgt spid="9"/>
                                        </p:tgtEl>
                                        <p:attrNameLst>
                                          <p:attrName>ppt_x</p:attrName>
                                        </p:attrNameLst>
                                      </p:cBhvr>
                                      <p:tavLst>
                                        <p:tav tm="0">
                                          <p:val>
                                            <p:strVal val="#ppt_x"/>
                                          </p:val>
                                        </p:tav>
                                        <p:tav tm="100000">
                                          <p:val>
                                            <p:strVal val="#ppt_x"/>
                                          </p:val>
                                        </p:tav>
                                      </p:tavLst>
                                    </p:anim>
                                    <p:anim calcmode="lin" valueType="num">
                                      <p:cBhvr additive="base">
                                        <p:cTn id="52" dur="10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person&#10;&#10;Description automatically generated">
            <a:extLst>
              <a:ext uri="{FF2B5EF4-FFF2-40B4-BE49-F238E27FC236}">
                <a16:creationId xmlns:a16="http://schemas.microsoft.com/office/drawing/2014/main" id="{01C74DD2-F2D6-4494-9CBF-AE102693BA5E}"/>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4451" r="23956"/>
          <a:stretch/>
        </p:blipFill>
        <p:spPr>
          <a:xfrm>
            <a:off x="5856514" y="0"/>
            <a:ext cx="6335486" cy="6858000"/>
          </a:xfrm>
        </p:spPr>
      </p:pic>
      <p:sp>
        <p:nvSpPr>
          <p:cNvPr id="4" name="Title 3">
            <a:extLst>
              <a:ext uri="{FF2B5EF4-FFF2-40B4-BE49-F238E27FC236}">
                <a16:creationId xmlns:a16="http://schemas.microsoft.com/office/drawing/2014/main" id="{AEA38577-1D86-4F88-B889-2112DE81FB02}"/>
              </a:ext>
            </a:extLst>
          </p:cNvPr>
          <p:cNvSpPr>
            <a:spLocks noGrp="1"/>
          </p:cNvSpPr>
          <p:nvPr>
            <p:ph type="title"/>
          </p:nvPr>
        </p:nvSpPr>
        <p:spPr/>
        <p:txBody>
          <a:bodyPr/>
          <a:lstStyle/>
          <a:p>
            <a:r>
              <a:rPr lang="pt-BR" dirty="0"/>
              <a:t>Thank you!</a:t>
            </a:r>
          </a:p>
        </p:txBody>
      </p:sp>
      <p:sp>
        <p:nvSpPr>
          <p:cNvPr id="6" name="Text Placeholder 5">
            <a:extLst>
              <a:ext uri="{FF2B5EF4-FFF2-40B4-BE49-F238E27FC236}">
                <a16:creationId xmlns:a16="http://schemas.microsoft.com/office/drawing/2014/main" id="{B3AB431D-2FE6-45E4-AD8D-D4E096B7753C}"/>
              </a:ext>
            </a:extLst>
          </p:cNvPr>
          <p:cNvSpPr>
            <a:spLocks noGrp="1"/>
          </p:cNvSpPr>
          <p:nvPr>
            <p:ph type="body" sz="quarter" idx="11"/>
          </p:nvPr>
        </p:nvSpPr>
        <p:spPr/>
        <p:txBody>
          <a:bodyPr/>
          <a:lstStyle/>
          <a:p>
            <a:r>
              <a:rPr lang="pt-BR">
                <a:hlinkClick r:id="rId4"/>
              </a:rPr>
              <a:t>josue.graton</a:t>
            </a:r>
            <a:r>
              <a:rPr lang="pt-BR" err="1">
                <a:hlinkClick r:id="rId4"/>
              </a:rPr>
              <a:t>@</a:t>
            </a:r>
            <a:r>
              <a:rPr lang="pt-BR">
                <a:hlinkClick r:id="rId4"/>
              </a:rPr>
              <a:t>fit-tecnologia.org.br</a:t>
            </a:r>
            <a:endParaRPr lang="pt-BR" dirty="0"/>
          </a:p>
          <a:p>
            <a:endParaRPr lang="pt-BR" dirty="0"/>
          </a:p>
        </p:txBody>
      </p:sp>
      <p:pic>
        <p:nvPicPr>
          <p:cNvPr id="7" name="Picture 6">
            <a:extLst>
              <a:ext uri="{FF2B5EF4-FFF2-40B4-BE49-F238E27FC236}">
                <a16:creationId xmlns:a16="http://schemas.microsoft.com/office/drawing/2014/main" id="{4119E9EF-E563-43F8-85A4-F59F78A0FB84}"/>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914401" y="1796141"/>
            <a:ext cx="914400" cy="914400"/>
          </a:xfrm>
          <a:prstGeom prst="rect">
            <a:avLst/>
          </a:prstGeom>
        </p:spPr>
      </p:pic>
    </p:spTree>
    <p:extLst>
      <p:ext uri="{BB962C8B-B14F-4D97-AF65-F5344CB8AC3E}">
        <p14:creationId xmlns:p14="http://schemas.microsoft.com/office/powerpoint/2010/main" val="12261841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E92D66-FFAB-DA70-30D4-8E39ACB010A9}"/>
              </a:ext>
            </a:extLst>
          </p:cNvPr>
          <p:cNvSpPr>
            <a:spLocks noGrp="1"/>
          </p:cNvSpPr>
          <p:nvPr>
            <p:ph type="body" sz="quarter" idx="11"/>
          </p:nvPr>
        </p:nvSpPr>
        <p:spPr/>
        <p:txBody>
          <a:bodyPr/>
          <a:lstStyle/>
          <a:p>
            <a:r>
              <a:rPr lang="pt-BR" dirty="0"/>
              <a:t>1</a:t>
            </a:r>
          </a:p>
        </p:txBody>
      </p:sp>
      <p:sp>
        <p:nvSpPr>
          <p:cNvPr id="5" name="Text Placeholder 4">
            <a:extLst>
              <a:ext uri="{FF2B5EF4-FFF2-40B4-BE49-F238E27FC236}">
                <a16:creationId xmlns:a16="http://schemas.microsoft.com/office/drawing/2014/main" id="{14EE278B-E622-92E6-3332-1449A9EC8EC6}"/>
              </a:ext>
            </a:extLst>
          </p:cNvPr>
          <p:cNvSpPr>
            <a:spLocks noGrp="1"/>
          </p:cNvSpPr>
          <p:nvPr>
            <p:ph type="body" sz="quarter" idx="12"/>
          </p:nvPr>
        </p:nvSpPr>
        <p:spPr/>
        <p:txBody>
          <a:bodyPr/>
          <a:lstStyle/>
          <a:p>
            <a:r>
              <a:rPr lang="pt-BR" dirty="0" err="1"/>
              <a:t>Our</a:t>
            </a:r>
            <a:r>
              <a:rPr lang="pt-BR" dirty="0"/>
              <a:t> </a:t>
            </a:r>
            <a:r>
              <a:rPr lang="pt-BR" dirty="0" err="1"/>
              <a:t>goals</a:t>
            </a:r>
            <a:endParaRPr lang="pt-BR" dirty="0"/>
          </a:p>
        </p:txBody>
      </p:sp>
    </p:spTree>
    <p:extLst>
      <p:ext uri="{BB962C8B-B14F-4D97-AF65-F5344CB8AC3E}">
        <p14:creationId xmlns:p14="http://schemas.microsoft.com/office/powerpoint/2010/main" val="2337155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68B0BCC-C871-4087-A3FD-5B41779EEA13}"/>
              </a:ext>
            </a:extLst>
          </p:cNvPr>
          <p:cNvSpPr>
            <a:spLocks noGrp="1"/>
          </p:cNvSpPr>
          <p:nvPr>
            <p:ph type="body" sz="quarter" idx="17"/>
          </p:nvPr>
        </p:nvSpPr>
        <p:spPr/>
        <p:txBody>
          <a:bodyPr/>
          <a:lstStyle/>
          <a:p>
            <a:r>
              <a:rPr lang="en-US" dirty="0"/>
              <a:t>Support our clients to set and achieve ESG goals.
</a:t>
            </a:r>
            <a:endParaRPr lang="pt-BR" dirty="0"/>
          </a:p>
        </p:txBody>
      </p:sp>
      <p:sp>
        <p:nvSpPr>
          <p:cNvPr id="6" name="Text Placeholder 5">
            <a:extLst>
              <a:ext uri="{FF2B5EF4-FFF2-40B4-BE49-F238E27FC236}">
                <a16:creationId xmlns:a16="http://schemas.microsoft.com/office/drawing/2014/main" id="{88351738-0CF4-40B6-B4BC-1DAAA65C6410}"/>
              </a:ext>
            </a:extLst>
          </p:cNvPr>
          <p:cNvSpPr>
            <a:spLocks noGrp="1"/>
          </p:cNvSpPr>
          <p:nvPr>
            <p:ph type="body" sz="quarter" idx="24"/>
          </p:nvPr>
        </p:nvSpPr>
        <p:spPr/>
        <p:txBody>
          <a:bodyPr/>
          <a:lstStyle/>
          <a:p>
            <a:r>
              <a:rPr lang="en-US" dirty="0"/>
              <a:t>Develop innovative solutions for the implementation of circular and sustainable models.
</a:t>
            </a:r>
            <a:endParaRPr lang="pt-BR" dirty="0"/>
          </a:p>
        </p:txBody>
      </p:sp>
      <p:sp>
        <p:nvSpPr>
          <p:cNvPr id="8" name="Text Placeholder 7">
            <a:extLst>
              <a:ext uri="{FF2B5EF4-FFF2-40B4-BE49-F238E27FC236}">
                <a16:creationId xmlns:a16="http://schemas.microsoft.com/office/drawing/2014/main" id="{272E32FD-9045-4516-B49A-D7BE82EACC07}"/>
              </a:ext>
            </a:extLst>
          </p:cNvPr>
          <p:cNvSpPr>
            <a:spLocks noGrp="1"/>
          </p:cNvSpPr>
          <p:nvPr>
            <p:ph type="body" sz="quarter" idx="26"/>
          </p:nvPr>
        </p:nvSpPr>
        <p:spPr/>
        <p:txBody>
          <a:bodyPr/>
          <a:lstStyle/>
          <a:p>
            <a:r>
              <a:rPr lang="en-US" dirty="0"/>
              <a:t>Influence the society and market to adopt and encourage regenerative practices and models.
</a:t>
            </a:r>
            <a:endParaRPr lang="pt-BR" dirty="0"/>
          </a:p>
        </p:txBody>
      </p:sp>
    </p:spTree>
    <p:extLst>
      <p:ext uri="{BB962C8B-B14F-4D97-AF65-F5344CB8AC3E}">
        <p14:creationId xmlns:p14="http://schemas.microsoft.com/office/powerpoint/2010/main" val="33738151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E92D66-FFAB-DA70-30D4-8E39ACB010A9}"/>
              </a:ext>
            </a:extLst>
          </p:cNvPr>
          <p:cNvSpPr>
            <a:spLocks noGrp="1"/>
          </p:cNvSpPr>
          <p:nvPr>
            <p:ph type="body" sz="quarter" idx="11"/>
          </p:nvPr>
        </p:nvSpPr>
        <p:spPr/>
        <p:txBody>
          <a:bodyPr/>
          <a:lstStyle/>
          <a:p>
            <a:r>
              <a:rPr lang="pt-BR" dirty="0"/>
              <a:t>2</a:t>
            </a:r>
          </a:p>
        </p:txBody>
      </p:sp>
      <p:sp>
        <p:nvSpPr>
          <p:cNvPr id="5" name="Text Placeholder 4">
            <a:extLst>
              <a:ext uri="{FF2B5EF4-FFF2-40B4-BE49-F238E27FC236}">
                <a16:creationId xmlns:a16="http://schemas.microsoft.com/office/drawing/2014/main" id="{14EE278B-E622-92E6-3332-1449A9EC8EC6}"/>
              </a:ext>
            </a:extLst>
          </p:cNvPr>
          <p:cNvSpPr>
            <a:spLocks noGrp="1"/>
          </p:cNvSpPr>
          <p:nvPr>
            <p:ph type="body" sz="quarter" idx="12"/>
          </p:nvPr>
        </p:nvSpPr>
        <p:spPr/>
        <p:txBody>
          <a:bodyPr/>
          <a:lstStyle/>
          <a:p>
            <a:r>
              <a:rPr lang="pt-BR" dirty="0" err="1"/>
              <a:t>Area</a:t>
            </a:r>
            <a:r>
              <a:rPr lang="pt-BR" dirty="0"/>
              <a:t> </a:t>
            </a:r>
            <a:r>
              <a:rPr lang="pt-BR" dirty="0" err="1"/>
              <a:t>of</a:t>
            </a:r>
            <a:r>
              <a:rPr lang="pt-BR" dirty="0"/>
              <a:t> ​​</a:t>
            </a:r>
            <a:r>
              <a:rPr lang="pt-BR" dirty="0" err="1"/>
              <a:t>activity</a:t>
            </a:r>
            <a:endParaRPr lang="pt-BR" dirty="0"/>
          </a:p>
        </p:txBody>
      </p:sp>
    </p:spTree>
    <p:extLst>
      <p:ext uri="{BB962C8B-B14F-4D97-AF65-F5344CB8AC3E}">
        <p14:creationId xmlns:p14="http://schemas.microsoft.com/office/powerpoint/2010/main" val="13275294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Gráfico 48">
            <a:extLst>
              <a:ext uri="{FF2B5EF4-FFF2-40B4-BE49-F238E27FC236}">
                <a16:creationId xmlns:a16="http://schemas.microsoft.com/office/drawing/2014/main" id="{45BF7E8D-B7DB-DD9F-6BF1-A7AB3135AD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34068" y="926328"/>
            <a:ext cx="804592" cy="802325"/>
          </a:xfrm>
          <a:prstGeom prst="rect">
            <a:avLst/>
          </a:prstGeom>
        </p:spPr>
      </p:pic>
      <p:sp>
        <p:nvSpPr>
          <p:cNvPr id="9" name="Retângulo 8">
            <a:extLst>
              <a:ext uri="{FF2B5EF4-FFF2-40B4-BE49-F238E27FC236}">
                <a16:creationId xmlns:a16="http://schemas.microsoft.com/office/drawing/2014/main" id="{8025F1F3-04CC-793A-ED1B-6FA386B8E1E4}"/>
              </a:ext>
            </a:extLst>
          </p:cNvPr>
          <p:cNvSpPr/>
          <p:nvPr/>
        </p:nvSpPr>
        <p:spPr>
          <a:xfrm>
            <a:off x="1272989" y="2082188"/>
            <a:ext cx="4845958" cy="13833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 name="Retângulo 7">
            <a:extLst>
              <a:ext uri="{FF2B5EF4-FFF2-40B4-BE49-F238E27FC236}">
                <a16:creationId xmlns:a16="http://schemas.microsoft.com/office/drawing/2014/main" id="{9D48806D-0DBD-CC19-1BA9-7039BAD438AD}"/>
              </a:ext>
            </a:extLst>
          </p:cNvPr>
          <p:cNvSpPr/>
          <p:nvPr/>
        </p:nvSpPr>
        <p:spPr>
          <a:xfrm>
            <a:off x="1989691" y="1358475"/>
            <a:ext cx="4129255" cy="72371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8" name="Retângulo 57">
            <a:extLst>
              <a:ext uri="{FF2B5EF4-FFF2-40B4-BE49-F238E27FC236}">
                <a16:creationId xmlns:a16="http://schemas.microsoft.com/office/drawing/2014/main" id="{EE2D4E9B-A745-489B-B60B-151FF08592C5}"/>
              </a:ext>
            </a:extLst>
          </p:cNvPr>
          <p:cNvSpPr/>
          <p:nvPr/>
        </p:nvSpPr>
        <p:spPr>
          <a:xfrm>
            <a:off x="1272989" y="1358939"/>
            <a:ext cx="723712" cy="72371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53" name="Gráfico 52">
            <a:extLst>
              <a:ext uri="{FF2B5EF4-FFF2-40B4-BE49-F238E27FC236}">
                <a16:creationId xmlns:a16="http://schemas.microsoft.com/office/drawing/2014/main" id="{ED07E1BD-27B8-5F58-DFC1-4E9DB8D259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14080" y="1485021"/>
            <a:ext cx="463201" cy="463201"/>
          </a:xfrm>
          <a:prstGeom prst="rect">
            <a:avLst/>
          </a:prstGeom>
        </p:spPr>
      </p:pic>
      <p:sp>
        <p:nvSpPr>
          <p:cNvPr id="28" name="Text Placeholder 4">
            <a:extLst>
              <a:ext uri="{FF2B5EF4-FFF2-40B4-BE49-F238E27FC236}">
                <a16:creationId xmlns:a16="http://schemas.microsoft.com/office/drawing/2014/main" id="{52867B77-0F78-9FB6-1F6E-3BAC9FA20701}"/>
              </a:ext>
            </a:extLst>
          </p:cNvPr>
          <p:cNvSpPr txBox="1">
            <a:spLocks/>
          </p:cNvSpPr>
          <p:nvPr/>
        </p:nvSpPr>
        <p:spPr>
          <a:xfrm>
            <a:off x="2018373" y="1358475"/>
            <a:ext cx="4074480" cy="72371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a:solidFill>
                  <a:schemeClr val="bg1"/>
                </a:solidFill>
              </a:rPr>
              <a:t>PIC – </a:t>
            </a:r>
            <a:r>
              <a:rPr lang="pt-BR" sz="1600" b="1" dirty="0" err="1">
                <a:solidFill>
                  <a:schemeClr val="bg1"/>
                </a:solidFill>
              </a:rPr>
              <a:t>Product</a:t>
            </a:r>
            <a:r>
              <a:rPr lang="pt-BR" sz="1600" b="1" dirty="0">
                <a:solidFill>
                  <a:schemeClr val="bg1"/>
                </a:solidFill>
              </a:rPr>
              <a:t> </a:t>
            </a:r>
            <a:r>
              <a:rPr lang="pt-BR" sz="1600" b="1" dirty="0" err="1">
                <a:solidFill>
                  <a:schemeClr val="bg1"/>
                </a:solidFill>
              </a:rPr>
              <a:t>Innovation</a:t>
            </a:r>
            <a:r>
              <a:rPr lang="pt-BR" sz="1600" b="1" dirty="0">
                <a:solidFill>
                  <a:schemeClr val="bg1"/>
                </a:solidFill>
              </a:rPr>
              <a:t> Center</a:t>
            </a:r>
          </a:p>
        </p:txBody>
      </p:sp>
      <p:pic>
        <p:nvPicPr>
          <p:cNvPr id="50" name="Gráfico 49">
            <a:extLst>
              <a:ext uri="{FF2B5EF4-FFF2-40B4-BE49-F238E27FC236}">
                <a16:creationId xmlns:a16="http://schemas.microsoft.com/office/drawing/2014/main" id="{AE360DF3-9C50-92E9-CA93-681611E15F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98331" y="950111"/>
            <a:ext cx="866617" cy="866617"/>
          </a:xfrm>
          <a:prstGeom prst="rect">
            <a:avLst/>
          </a:prstGeom>
        </p:spPr>
      </p:pic>
      <p:pic>
        <p:nvPicPr>
          <p:cNvPr id="51" name="Gráfico 50">
            <a:extLst>
              <a:ext uri="{FF2B5EF4-FFF2-40B4-BE49-F238E27FC236}">
                <a16:creationId xmlns:a16="http://schemas.microsoft.com/office/drawing/2014/main" id="{D746A5A6-D4E5-094D-1DD5-987C56E961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20223" y="5801633"/>
            <a:ext cx="844725" cy="844725"/>
          </a:xfrm>
          <a:prstGeom prst="rect">
            <a:avLst/>
          </a:prstGeom>
        </p:spPr>
      </p:pic>
      <p:pic>
        <p:nvPicPr>
          <p:cNvPr id="59" name="Gráfico 58">
            <a:extLst>
              <a:ext uri="{FF2B5EF4-FFF2-40B4-BE49-F238E27FC236}">
                <a16:creationId xmlns:a16="http://schemas.microsoft.com/office/drawing/2014/main" id="{046D1637-1CDB-13E4-8311-BA6B6DF85C0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500" y="6015620"/>
            <a:ext cx="803872" cy="801607"/>
          </a:xfrm>
          <a:prstGeom prst="rect">
            <a:avLst/>
          </a:prstGeom>
        </p:spPr>
      </p:pic>
      <p:sp>
        <p:nvSpPr>
          <p:cNvPr id="2" name="Text Placeholder 3">
            <a:extLst>
              <a:ext uri="{FF2B5EF4-FFF2-40B4-BE49-F238E27FC236}">
                <a16:creationId xmlns:a16="http://schemas.microsoft.com/office/drawing/2014/main" id="{B17BF4BB-BC25-66FA-116E-493715D758AA}"/>
              </a:ext>
            </a:extLst>
          </p:cNvPr>
          <p:cNvSpPr txBox="1">
            <a:spLocks/>
          </p:cNvSpPr>
          <p:nvPr/>
        </p:nvSpPr>
        <p:spPr>
          <a:xfrm>
            <a:off x="1272989" y="2197601"/>
            <a:ext cx="4834482" cy="123139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A NEW WAY TO ACCELERATE THE  MATURITY OF GREAT IDEAS.</a:t>
            </a:r>
          </a:p>
          <a:p>
            <a:pPr marL="0" indent="0">
              <a:lnSpc>
                <a:spcPct val="100000"/>
              </a:lnSpc>
              <a:buNone/>
            </a:pPr>
            <a:r>
              <a:rPr lang="en-US" sz="1050" dirty="0"/>
              <a:t>Working on global projects and products, FIT professionals have unique experience in what it takes to transform an idea into a successful product. From best design practices, such as design for environment and design for manufacturing, to assistance with the certifications required for products to go to market.</a:t>
            </a:r>
            <a:endParaRPr lang="pt-BR" sz="2000" dirty="0"/>
          </a:p>
        </p:txBody>
      </p:sp>
      <p:sp>
        <p:nvSpPr>
          <p:cNvPr id="10" name="Retângulo 9">
            <a:extLst>
              <a:ext uri="{FF2B5EF4-FFF2-40B4-BE49-F238E27FC236}">
                <a16:creationId xmlns:a16="http://schemas.microsoft.com/office/drawing/2014/main" id="{D8750C8D-72D1-707E-05F4-EBA650214EB7}"/>
              </a:ext>
            </a:extLst>
          </p:cNvPr>
          <p:cNvSpPr/>
          <p:nvPr/>
        </p:nvSpPr>
        <p:spPr>
          <a:xfrm>
            <a:off x="6504998" y="2090340"/>
            <a:ext cx="5267846" cy="13752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Retângulo 10">
            <a:extLst>
              <a:ext uri="{FF2B5EF4-FFF2-40B4-BE49-F238E27FC236}">
                <a16:creationId xmlns:a16="http://schemas.microsoft.com/office/drawing/2014/main" id="{EAFEA206-1DC9-998D-6AE9-CF135CF6A9DE}"/>
              </a:ext>
            </a:extLst>
          </p:cNvPr>
          <p:cNvSpPr/>
          <p:nvPr/>
        </p:nvSpPr>
        <p:spPr>
          <a:xfrm>
            <a:off x="7228710" y="1358475"/>
            <a:ext cx="4544134" cy="72371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2" name="Retângulo 11">
            <a:extLst>
              <a:ext uri="{FF2B5EF4-FFF2-40B4-BE49-F238E27FC236}">
                <a16:creationId xmlns:a16="http://schemas.microsoft.com/office/drawing/2014/main" id="{F1C4F779-CF39-DDA3-4D43-5B320FD33562}"/>
              </a:ext>
            </a:extLst>
          </p:cNvPr>
          <p:cNvSpPr/>
          <p:nvPr/>
        </p:nvSpPr>
        <p:spPr>
          <a:xfrm>
            <a:off x="6512009" y="1358939"/>
            <a:ext cx="723712" cy="72371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4" name="Text Placeholder 4">
            <a:extLst>
              <a:ext uri="{FF2B5EF4-FFF2-40B4-BE49-F238E27FC236}">
                <a16:creationId xmlns:a16="http://schemas.microsoft.com/office/drawing/2014/main" id="{72763CA3-07DB-384A-F34F-8756D9C395EA}"/>
              </a:ext>
            </a:extLst>
          </p:cNvPr>
          <p:cNvSpPr txBox="1">
            <a:spLocks/>
          </p:cNvSpPr>
          <p:nvPr/>
        </p:nvSpPr>
        <p:spPr>
          <a:xfrm>
            <a:off x="7234679" y="1358475"/>
            <a:ext cx="1839820" cy="709127"/>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err="1">
                <a:solidFill>
                  <a:schemeClr val="bg1"/>
                </a:solidFill>
              </a:rPr>
              <a:t>Consultacy</a:t>
            </a:r>
            <a:endParaRPr lang="pt-BR" sz="1600" b="1" dirty="0">
              <a:solidFill>
                <a:schemeClr val="bg1"/>
              </a:solidFill>
            </a:endParaRPr>
          </a:p>
        </p:txBody>
      </p:sp>
      <p:sp>
        <p:nvSpPr>
          <p:cNvPr id="16" name="Text Placeholder 3">
            <a:extLst>
              <a:ext uri="{FF2B5EF4-FFF2-40B4-BE49-F238E27FC236}">
                <a16:creationId xmlns:a16="http://schemas.microsoft.com/office/drawing/2014/main" id="{9A4C67A0-0396-E367-48D8-CB1577C290A1}"/>
              </a:ext>
            </a:extLst>
          </p:cNvPr>
          <p:cNvSpPr txBox="1">
            <a:spLocks/>
          </p:cNvSpPr>
          <p:nvPr/>
        </p:nvSpPr>
        <p:spPr>
          <a:xfrm>
            <a:off x="6535448" y="2169741"/>
            <a:ext cx="5237396" cy="124471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50" b="1" dirty="0"/>
              <a:t>SOLUTIONS THAT ADAPT TO MARKET NEEDS.</a:t>
            </a:r>
          </a:p>
          <a:p>
            <a:pPr marL="0" indent="0">
              <a:lnSpc>
                <a:spcPct val="100000"/>
              </a:lnSpc>
              <a:buNone/>
            </a:pPr>
            <a:r>
              <a:rPr lang="en-US" sz="1050" dirty="0"/>
              <a:t>FIT's consulting services are aimed at large companies that believe that technology can generate competitiveness with sustainability. Disruptive technologies without forgetting the basics, this is how FIT helps its clients.</a:t>
            </a:r>
          </a:p>
          <a:p>
            <a:pPr marL="0" indent="0">
              <a:lnSpc>
                <a:spcPct val="100000"/>
              </a:lnSpc>
              <a:buNone/>
            </a:pPr>
            <a:r>
              <a:rPr lang="en-US" sz="1050" b="1" dirty="0"/>
              <a:t>(IN INDUSTRY 4.0 ; THE CIRCULAR ECONOMY ; ENVIRONMENT ; SOCIETY).</a:t>
            </a:r>
            <a:endParaRPr lang="pt-BR" sz="1050" b="1" dirty="0"/>
          </a:p>
        </p:txBody>
      </p:sp>
      <p:pic>
        <p:nvPicPr>
          <p:cNvPr id="18" name="Gráfico 17">
            <a:extLst>
              <a:ext uri="{FF2B5EF4-FFF2-40B4-BE49-F238E27FC236}">
                <a16:creationId xmlns:a16="http://schemas.microsoft.com/office/drawing/2014/main" id="{797EF578-4AFB-4C5A-4549-BF7E0F40DB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8708" y="1498081"/>
            <a:ext cx="457343" cy="457343"/>
          </a:xfrm>
          <a:prstGeom prst="rect">
            <a:avLst/>
          </a:prstGeom>
        </p:spPr>
      </p:pic>
      <p:sp>
        <p:nvSpPr>
          <p:cNvPr id="23" name="Text Placeholder 4">
            <a:extLst>
              <a:ext uri="{FF2B5EF4-FFF2-40B4-BE49-F238E27FC236}">
                <a16:creationId xmlns:a16="http://schemas.microsoft.com/office/drawing/2014/main" id="{C2CD9173-B359-3F06-B68B-B3A718500840}"/>
              </a:ext>
            </a:extLst>
          </p:cNvPr>
          <p:cNvSpPr txBox="1">
            <a:spLocks/>
          </p:cNvSpPr>
          <p:nvPr/>
        </p:nvSpPr>
        <p:spPr>
          <a:xfrm>
            <a:off x="2286642" y="4934221"/>
            <a:ext cx="1457740" cy="754356"/>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err="1"/>
              <a:t>Consultacy</a:t>
            </a:r>
            <a:endParaRPr lang="pt-BR" sz="1600" b="1" dirty="0"/>
          </a:p>
        </p:txBody>
      </p:sp>
      <p:sp>
        <p:nvSpPr>
          <p:cNvPr id="24" name="Text Placeholder 4">
            <a:extLst>
              <a:ext uri="{FF2B5EF4-FFF2-40B4-BE49-F238E27FC236}">
                <a16:creationId xmlns:a16="http://schemas.microsoft.com/office/drawing/2014/main" id="{BDC30AB3-8378-BE2F-3CD2-D021D1F9DF2A}"/>
              </a:ext>
            </a:extLst>
          </p:cNvPr>
          <p:cNvSpPr txBox="1">
            <a:spLocks/>
          </p:cNvSpPr>
          <p:nvPr/>
        </p:nvSpPr>
        <p:spPr>
          <a:xfrm>
            <a:off x="4293562" y="5152032"/>
            <a:ext cx="1231683" cy="53654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a:t>R&amp;D </a:t>
            </a:r>
          </a:p>
        </p:txBody>
      </p:sp>
      <p:sp>
        <p:nvSpPr>
          <p:cNvPr id="25" name="Retângulo 24">
            <a:extLst>
              <a:ext uri="{FF2B5EF4-FFF2-40B4-BE49-F238E27FC236}">
                <a16:creationId xmlns:a16="http://schemas.microsoft.com/office/drawing/2014/main" id="{FD412615-2378-98F5-391C-CA206B24CC83}"/>
              </a:ext>
            </a:extLst>
          </p:cNvPr>
          <p:cNvSpPr/>
          <p:nvPr/>
        </p:nvSpPr>
        <p:spPr>
          <a:xfrm>
            <a:off x="1272989" y="4367396"/>
            <a:ext cx="4845958" cy="20490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6" name="Retângulo 25">
            <a:extLst>
              <a:ext uri="{FF2B5EF4-FFF2-40B4-BE49-F238E27FC236}">
                <a16:creationId xmlns:a16="http://schemas.microsoft.com/office/drawing/2014/main" id="{ACF941D9-23E6-18EA-8F68-A45AF2B0AA80}"/>
              </a:ext>
            </a:extLst>
          </p:cNvPr>
          <p:cNvSpPr/>
          <p:nvPr/>
        </p:nvSpPr>
        <p:spPr>
          <a:xfrm>
            <a:off x="1996701" y="3644148"/>
            <a:ext cx="4099299" cy="72371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7" name="Retângulo 26">
            <a:extLst>
              <a:ext uri="{FF2B5EF4-FFF2-40B4-BE49-F238E27FC236}">
                <a16:creationId xmlns:a16="http://schemas.microsoft.com/office/drawing/2014/main" id="{B7EC706C-9BA9-0464-EA88-7160905D35A2}"/>
              </a:ext>
            </a:extLst>
          </p:cNvPr>
          <p:cNvSpPr/>
          <p:nvPr/>
        </p:nvSpPr>
        <p:spPr>
          <a:xfrm>
            <a:off x="1283826" y="3644148"/>
            <a:ext cx="723712" cy="72371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3" name="Text Placeholder 4">
            <a:extLst>
              <a:ext uri="{FF2B5EF4-FFF2-40B4-BE49-F238E27FC236}">
                <a16:creationId xmlns:a16="http://schemas.microsoft.com/office/drawing/2014/main" id="{2878B00A-E302-0C7E-A074-D5D5222A4B07}"/>
              </a:ext>
            </a:extLst>
          </p:cNvPr>
          <p:cNvSpPr txBox="1">
            <a:spLocks/>
          </p:cNvSpPr>
          <p:nvPr/>
        </p:nvSpPr>
        <p:spPr>
          <a:xfrm>
            <a:off x="2006496" y="3643684"/>
            <a:ext cx="1839820" cy="72371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a:solidFill>
                  <a:schemeClr val="bg1"/>
                </a:solidFill>
              </a:rPr>
              <a:t>R&amp;D </a:t>
            </a:r>
          </a:p>
        </p:txBody>
      </p:sp>
      <p:sp>
        <p:nvSpPr>
          <p:cNvPr id="46" name="Text Placeholder 3">
            <a:extLst>
              <a:ext uri="{FF2B5EF4-FFF2-40B4-BE49-F238E27FC236}">
                <a16:creationId xmlns:a16="http://schemas.microsoft.com/office/drawing/2014/main" id="{C14B3695-0B5A-2E3E-2C4B-28FC0EBF9BB1}"/>
              </a:ext>
            </a:extLst>
          </p:cNvPr>
          <p:cNvSpPr txBox="1">
            <a:spLocks/>
          </p:cNvSpPr>
          <p:nvPr/>
        </p:nvSpPr>
        <p:spPr>
          <a:xfrm>
            <a:off x="1283827" y="4434485"/>
            <a:ext cx="4764782" cy="1938709"/>
          </a:xfrm>
          <a:prstGeom prst="rect">
            <a:avLst/>
          </a:prstGeo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050" b="1" dirty="0"/>
              <a:t>WE HAVE A STRUCTURE DESIGNED TO MEET THE R&amp;D DEMAND OF COMPANIES THAT WORK IN DIFFERENT SEGMENTS, ANYWHERE IN THE WORLD!</a:t>
            </a:r>
          </a:p>
          <a:p>
            <a:pPr algn="l">
              <a:lnSpc>
                <a:spcPct val="100000"/>
              </a:lnSpc>
              <a:spcBef>
                <a:spcPts val="600"/>
              </a:spcBef>
            </a:pPr>
            <a:r>
              <a:rPr lang="en-US" sz="1050" dirty="0"/>
              <a:t>01. Lei da </a:t>
            </a:r>
            <a:r>
              <a:rPr lang="en-US" sz="1050" dirty="0" err="1"/>
              <a:t>Informática</a:t>
            </a:r>
            <a:r>
              <a:rPr lang="en-US" sz="1050" dirty="0"/>
              <a:t>;</a:t>
            </a:r>
          </a:p>
          <a:p>
            <a:pPr algn="l">
              <a:lnSpc>
                <a:spcPct val="100000"/>
              </a:lnSpc>
              <a:spcBef>
                <a:spcPts val="600"/>
              </a:spcBef>
            </a:pPr>
            <a:r>
              <a:rPr lang="en-US" sz="1050" dirty="0"/>
              <a:t>02. Lei do </a:t>
            </a:r>
            <a:r>
              <a:rPr lang="en-US" sz="1050" dirty="0" err="1"/>
              <a:t>Bem</a:t>
            </a:r>
            <a:r>
              <a:rPr lang="en-US" sz="1050" dirty="0"/>
              <a:t>;</a:t>
            </a:r>
          </a:p>
          <a:p>
            <a:pPr algn="l">
              <a:lnSpc>
                <a:spcPct val="100000"/>
              </a:lnSpc>
              <a:spcBef>
                <a:spcPts val="600"/>
              </a:spcBef>
            </a:pPr>
            <a:r>
              <a:rPr lang="en-US" sz="1050" dirty="0"/>
              <a:t>03. </a:t>
            </a:r>
            <a:r>
              <a:rPr lang="pt-BR" sz="1050" dirty="0"/>
              <a:t>Programa de Pesquisa e Desenvolvimento e Inovação (PROPDI);</a:t>
            </a:r>
            <a:endParaRPr lang="en-US" sz="1050" dirty="0"/>
          </a:p>
          <a:p>
            <a:pPr algn="l">
              <a:lnSpc>
                <a:spcPct val="100000"/>
              </a:lnSpc>
              <a:spcBef>
                <a:spcPts val="600"/>
              </a:spcBef>
            </a:pPr>
            <a:r>
              <a:rPr lang="en-US" sz="1050" dirty="0"/>
              <a:t>4. Mover.</a:t>
            </a:r>
          </a:p>
          <a:p>
            <a:pPr algn="l">
              <a:lnSpc>
                <a:spcPct val="100000"/>
              </a:lnSpc>
            </a:pPr>
            <a:endParaRPr lang="pt-BR" sz="1050" dirty="0"/>
          </a:p>
        </p:txBody>
      </p:sp>
      <p:sp>
        <p:nvSpPr>
          <p:cNvPr id="47" name="Text Placeholder 4">
            <a:extLst>
              <a:ext uri="{FF2B5EF4-FFF2-40B4-BE49-F238E27FC236}">
                <a16:creationId xmlns:a16="http://schemas.microsoft.com/office/drawing/2014/main" id="{57F1A3BD-0BC7-4FDE-927F-BA0BD73BBD9D}"/>
              </a:ext>
            </a:extLst>
          </p:cNvPr>
          <p:cNvSpPr txBox="1">
            <a:spLocks/>
          </p:cNvSpPr>
          <p:nvPr/>
        </p:nvSpPr>
        <p:spPr>
          <a:xfrm>
            <a:off x="6525033" y="5315550"/>
            <a:ext cx="1457740" cy="754356"/>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err="1"/>
              <a:t>Consultacy</a:t>
            </a:r>
            <a:endParaRPr lang="pt-BR" sz="1600" b="1" dirty="0"/>
          </a:p>
        </p:txBody>
      </p:sp>
      <p:sp>
        <p:nvSpPr>
          <p:cNvPr id="48" name="Text Placeholder 4">
            <a:extLst>
              <a:ext uri="{FF2B5EF4-FFF2-40B4-BE49-F238E27FC236}">
                <a16:creationId xmlns:a16="http://schemas.microsoft.com/office/drawing/2014/main" id="{D3890156-9492-C544-7479-128EDE38B417}"/>
              </a:ext>
            </a:extLst>
          </p:cNvPr>
          <p:cNvSpPr txBox="1">
            <a:spLocks/>
          </p:cNvSpPr>
          <p:nvPr/>
        </p:nvSpPr>
        <p:spPr>
          <a:xfrm>
            <a:off x="8531953" y="5533361"/>
            <a:ext cx="1231683" cy="536545"/>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a:t>R&amp;D </a:t>
            </a:r>
          </a:p>
        </p:txBody>
      </p:sp>
      <p:sp>
        <p:nvSpPr>
          <p:cNvPr id="52" name="Retângulo 51">
            <a:extLst>
              <a:ext uri="{FF2B5EF4-FFF2-40B4-BE49-F238E27FC236}">
                <a16:creationId xmlns:a16="http://schemas.microsoft.com/office/drawing/2014/main" id="{AD572366-5833-F479-C287-62A3106E8401}"/>
              </a:ext>
            </a:extLst>
          </p:cNvPr>
          <p:cNvSpPr/>
          <p:nvPr/>
        </p:nvSpPr>
        <p:spPr>
          <a:xfrm>
            <a:off x="6535448" y="4367396"/>
            <a:ext cx="5237396" cy="20490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5" name="Retângulo 54">
            <a:extLst>
              <a:ext uri="{FF2B5EF4-FFF2-40B4-BE49-F238E27FC236}">
                <a16:creationId xmlns:a16="http://schemas.microsoft.com/office/drawing/2014/main" id="{5494B55B-C6FE-0B3C-EE20-0B086162D83A}"/>
              </a:ext>
            </a:extLst>
          </p:cNvPr>
          <p:cNvSpPr/>
          <p:nvPr/>
        </p:nvSpPr>
        <p:spPr>
          <a:xfrm>
            <a:off x="7221699" y="3643684"/>
            <a:ext cx="4551145" cy="72371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6" name="Retângulo 55">
            <a:extLst>
              <a:ext uri="{FF2B5EF4-FFF2-40B4-BE49-F238E27FC236}">
                <a16:creationId xmlns:a16="http://schemas.microsoft.com/office/drawing/2014/main" id="{7F2E5895-6170-AAA6-7F9F-5F91726C4537}"/>
              </a:ext>
            </a:extLst>
          </p:cNvPr>
          <p:cNvSpPr/>
          <p:nvPr/>
        </p:nvSpPr>
        <p:spPr>
          <a:xfrm>
            <a:off x="6504998" y="3644148"/>
            <a:ext cx="723712" cy="723712"/>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0" name="Text Placeholder 4">
            <a:extLst>
              <a:ext uri="{FF2B5EF4-FFF2-40B4-BE49-F238E27FC236}">
                <a16:creationId xmlns:a16="http://schemas.microsoft.com/office/drawing/2014/main" id="{665F57BC-279B-D945-92F8-41BE381DB037}"/>
              </a:ext>
            </a:extLst>
          </p:cNvPr>
          <p:cNvSpPr txBox="1">
            <a:spLocks/>
          </p:cNvSpPr>
          <p:nvPr/>
        </p:nvSpPr>
        <p:spPr>
          <a:xfrm>
            <a:off x="7227668" y="3643684"/>
            <a:ext cx="1839820" cy="718457"/>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pt-BR" sz="1600" b="1" dirty="0">
                <a:solidFill>
                  <a:schemeClr val="bg1"/>
                </a:solidFill>
              </a:rPr>
              <a:t>Training </a:t>
            </a:r>
          </a:p>
        </p:txBody>
      </p:sp>
      <p:sp>
        <p:nvSpPr>
          <p:cNvPr id="63" name="Text Placeholder 3">
            <a:extLst>
              <a:ext uri="{FF2B5EF4-FFF2-40B4-BE49-F238E27FC236}">
                <a16:creationId xmlns:a16="http://schemas.microsoft.com/office/drawing/2014/main" id="{D7825C97-B3AC-DEF2-58E8-B308D47F871F}"/>
              </a:ext>
            </a:extLst>
          </p:cNvPr>
          <p:cNvSpPr txBox="1">
            <a:spLocks/>
          </p:cNvSpPr>
          <p:nvPr/>
        </p:nvSpPr>
        <p:spPr>
          <a:xfrm>
            <a:off x="6600662" y="4468410"/>
            <a:ext cx="5172182" cy="1904784"/>
          </a:xfrm>
          <a:prstGeom prst="rect">
            <a:avLst/>
          </a:prstGeom>
        </p:spPr>
        <p:txBody>
          <a:bodyPr anchor="t">
            <a:noAutofit/>
          </a:bodyPr>
          <a:lstStyle>
            <a:lvl1pPr marL="0" indent="0" algn="ctr"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050" b="1" dirty="0">
                <a:solidFill>
                  <a:schemeClr val="tx2"/>
                </a:solidFill>
                <a:effectLst/>
              </a:rPr>
              <a:t>BRAZILIAN DIGITAL TRANSFORMATION</a:t>
            </a:r>
          </a:p>
          <a:p>
            <a:pPr algn="l"/>
            <a:r>
              <a:rPr lang="en-US" sz="1050" b="0" dirty="0">
                <a:solidFill>
                  <a:schemeClr val="tx2"/>
                </a:solidFill>
                <a:effectLst/>
              </a:rPr>
              <a:t>Sharing knowledge is what enables joint improvement and guidance towards the best path.</a:t>
            </a:r>
          </a:p>
          <a:p>
            <a:pPr algn="l"/>
            <a:r>
              <a:rPr lang="en-US" sz="1050" b="0" dirty="0">
                <a:solidFill>
                  <a:schemeClr val="tx2"/>
                </a:solidFill>
                <a:effectLst/>
              </a:rPr>
              <a:t>The "MCTI </a:t>
            </a:r>
            <a:r>
              <a:rPr lang="en-US" sz="1050" b="0" dirty="0" err="1">
                <a:solidFill>
                  <a:schemeClr val="tx2"/>
                </a:solidFill>
                <a:effectLst/>
              </a:rPr>
              <a:t>Futuro</a:t>
            </a:r>
            <a:r>
              <a:rPr lang="en-US" sz="1050" b="0" dirty="0">
                <a:solidFill>
                  <a:schemeClr val="tx2"/>
                </a:solidFill>
                <a:effectLst/>
              </a:rPr>
              <a:t>: Future of Work, Work of the Future" Program, focused on supporting actions that aim to expand the number of professionals to work in digital ecosystems, in digital transformation and research, development and innovation (RD&amp;I) projects, and that, additionally, contribute to qualifying people in high-demand professions in the field of Information and Communication Technologies (ICTs).</a:t>
            </a:r>
          </a:p>
          <a:p>
            <a:pPr algn="l"/>
            <a:r>
              <a:rPr lang="en-US" sz="1050" b="0" dirty="0">
                <a:solidFill>
                  <a:schemeClr val="tx2"/>
                </a:solidFill>
                <a:effectLst/>
              </a:rPr>
              <a:t>FIT is one of the ICTs participating in this program together with MCTI and </a:t>
            </a:r>
            <a:r>
              <a:rPr lang="en-US" sz="1050" b="0" dirty="0" err="1">
                <a:solidFill>
                  <a:schemeClr val="tx2"/>
                </a:solidFill>
                <a:effectLst/>
              </a:rPr>
              <a:t>Softex</a:t>
            </a:r>
            <a:r>
              <a:rPr lang="en-US" sz="1050" b="0" dirty="0">
                <a:solidFill>
                  <a:schemeClr val="tx2"/>
                </a:solidFill>
                <a:effectLst/>
              </a:rPr>
              <a:t>, offering training for Educational Institutions, companies and society in general in the professions of the future.</a:t>
            </a:r>
            <a:endParaRPr lang="pt-BR" sz="1050" dirty="0">
              <a:solidFill>
                <a:schemeClr val="tx2"/>
              </a:solidFill>
            </a:endParaRPr>
          </a:p>
        </p:txBody>
      </p:sp>
      <p:pic>
        <p:nvPicPr>
          <p:cNvPr id="66" name="Gráfico 65">
            <a:extLst>
              <a:ext uri="{FF2B5EF4-FFF2-40B4-BE49-F238E27FC236}">
                <a16:creationId xmlns:a16="http://schemas.microsoft.com/office/drawing/2014/main" id="{7B1A384D-3288-0207-C825-18C057E4E98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65176" y="3780124"/>
            <a:ext cx="444408" cy="444408"/>
          </a:xfrm>
          <a:prstGeom prst="rect">
            <a:avLst/>
          </a:prstGeom>
        </p:spPr>
      </p:pic>
      <p:pic>
        <p:nvPicPr>
          <p:cNvPr id="20" name="Gráfico 19">
            <a:extLst>
              <a:ext uri="{FF2B5EF4-FFF2-40B4-BE49-F238E27FC236}">
                <a16:creationId xmlns:a16="http://schemas.microsoft.com/office/drawing/2014/main" id="{C320C2DE-4C93-A6D3-D685-86036A77AC5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42800" y="3783463"/>
            <a:ext cx="405763" cy="405763"/>
          </a:xfrm>
          <a:prstGeom prst="rect">
            <a:avLst/>
          </a:prstGeom>
        </p:spPr>
      </p:pic>
    </p:spTree>
    <p:extLst>
      <p:ext uri="{BB962C8B-B14F-4D97-AF65-F5344CB8AC3E}">
        <p14:creationId xmlns:p14="http://schemas.microsoft.com/office/powerpoint/2010/main" val="2272835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E92D66-FFAB-DA70-30D4-8E39ACB010A9}"/>
              </a:ext>
            </a:extLst>
          </p:cNvPr>
          <p:cNvSpPr>
            <a:spLocks noGrp="1"/>
          </p:cNvSpPr>
          <p:nvPr>
            <p:ph type="body" sz="quarter" idx="11"/>
          </p:nvPr>
        </p:nvSpPr>
        <p:spPr/>
        <p:txBody>
          <a:bodyPr/>
          <a:lstStyle/>
          <a:p>
            <a:r>
              <a:rPr lang="pt-BR" dirty="0"/>
              <a:t>3</a:t>
            </a:r>
          </a:p>
        </p:txBody>
      </p:sp>
      <p:sp>
        <p:nvSpPr>
          <p:cNvPr id="5" name="Text Placeholder 4">
            <a:extLst>
              <a:ext uri="{FF2B5EF4-FFF2-40B4-BE49-F238E27FC236}">
                <a16:creationId xmlns:a16="http://schemas.microsoft.com/office/drawing/2014/main" id="{14EE278B-E622-92E6-3332-1449A9EC8EC6}"/>
              </a:ext>
            </a:extLst>
          </p:cNvPr>
          <p:cNvSpPr>
            <a:spLocks noGrp="1"/>
          </p:cNvSpPr>
          <p:nvPr>
            <p:ph type="body" sz="quarter" idx="12"/>
          </p:nvPr>
        </p:nvSpPr>
        <p:spPr/>
        <p:txBody>
          <a:bodyPr/>
          <a:lstStyle/>
          <a:p>
            <a:r>
              <a:rPr lang="pt-BR" dirty="0" err="1"/>
              <a:t>Our</a:t>
            </a:r>
            <a:r>
              <a:rPr lang="pt-BR" dirty="0"/>
              <a:t> </a:t>
            </a:r>
            <a:r>
              <a:rPr lang="pt-BR" dirty="0" err="1"/>
              <a:t>team</a:t>
            </a:r>
            <a:endParaRPr lang="pt-BR" dirty="0"/>
          </a:p>
        </p:txBody>
      </p:sp>
    </p:spTree>
    <p:extLst>
      <p:ext uri="{BB962C8B-B14F-4D97-AF65-F5344CB8AC3E}">
        <p14:creationId xmlns:p14="http://schemas.microsoft.com/office/powerpoint/2010/main" val="58071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a:stretch>
          </a:blipFill>
        </p:spPr>
        <p:txBody>
          <a:bodyPr/>
          <a:lstStyle/>
          <a:p>
            <a:endParaRPr lang="pt-BR" sz="1200"/>
          </a:p>
        </p:txBody>
      </p:sp>
      <p:sp>
        <p:nvSpPr>
          <p:cNvPr id="3" name="TextBox 3"/>
          <p:cNvSpPr txBox="1"/>
          <p:nvPr/>
        </p:nvSpPr>
        <p:spPr>
          <a:xfrm rot="-5400000">
            <a:off x="-1037815" y="4940975"/>
            <a:ext cx="2654969" cy="264175"/>
          </a:xfrm>
          <a:prstGeom prst="rect">
            <a:avLst/>
          </a:prstGeom>
        </p:spPr>
        <p:txBody>
          <a:bodyPr lIns="0" tIns="0" rIns="0" bIns="0" rtlCol="0" anchor="t">
            <a:spAutoFit/>
          </a:bodyPr>
          <a:lstStyle/>
          <a:p>
            <a:pPr>
              <a:lnSpc>
                <a:spcPts val="2160"/>
              </a:lnSpc>
            </a:pPr>
            <a:r>
              <a:rPr lang="en-US">
                <a:solidFill>
                  <a:srgbClr val="A6A6A6"/>
                </a:solidFill>
                <a:latin typeface="Arimo"/>
                <a:ea typeface="Arimo"/>
                <a:cs typeface="Arimo"/>
                <a:sym typeface="Arimo"/>
              </a:rPr>
              <a:t>www.fit-tecnologia.org.br</a:t>
            </a:r>
          </a:p>
        </p:txBody>
      </p:sp>
      <p:grpSp>
        <p:nvGrpSpPr>
          <p:cNvPr id="4" name="Group 4"/>
          <p:cNvGrpSpPr/>
          <p:nvPr/>
        </p:nvGrpSpPr>
        <p:grpSpPr>
          <a:xfrm>
            <a:off x="-1400" y="0"/>
            <a:ext cx="649705" cy="6858000"/>
            <a:chOff x="0" y="0"/>
            <a:chExt cx="1299410" cy="13716000"/>
          </a:xfrm>
        </p:grpSpPr>
        <p:sp>
          <p:nvSpPr>
            <p:cNvPr id="5" name="Freeform 5"/>
            <p:cNvSpPr/>
            <p:nvPr/>
          </p:nvSpPr>
          <p:spPr>
            <a:xfrm>
              <a:off x="0" y="0"/>
              <a:ext cx="1299464" cy="13716000"/>
            </a:xfrm>
            <a:custGeom>
              <a:avLst/>
              <a:gdLst/>
              <a:ahLst/>
              <a:cxnLst/>
              <a:rect l="l" t="t" r="r" b="b"/>
              <a:pathLst>
                <a:path w="1299464" h="13716000">
                  <a:moveTo>
                    <a:pt x="0" y="0"/>
                  </a:moveTo>
                  <a:lnTo>
                    <a:pt x="1299464" y="0"/>
                  </a:lnTo>
                  <a:lnTo>
                    <a:pt x="1299464" y="13716000"/>
                  </a:lnTo>
                  <a:lnTo>
                    <a:pt x="0" y="13716000"/>
                  </a:lnTo>
                  <a:close/>
                </a:path>
              </a:pathLst>
            </a:custGeom>
            <a:solidFill>
              <a:srgbClr val="000532"/>
            </a:solidFill>
          </p:spPr>
          <p:txBody>
            <a:bodyPr/>
            <a:lstStyle/>
            <a:p>
              <a:endParaRPr lang="pt-BR" sz="1200"/>
            </a:p>
          </p:txBody>
        </p:sp>
      </p:grpSp>
      <p:sp>
        <p:nvSpPr>
          <p:cNvPr id="6" name="AutoShape 6"/>
          <p:cNvSpPr/>
          <p:nvPr/>
        </p:nvSpPr>
        <p:spPr>
          <a:xfrm>
            <a:off x="5585961" y="1141942"/>
            <a:ext cx="6615564" cy="19050"/>
          </a:xfrm>
          <a:prstGeom prst="line">
            <a:avLst/>
          </a:prstGeom>
          <a:ln w="19050" cap="rnd">
            <a:solidFill>
              <a:srgbClr val="00BC29"/>
            </a:solidFill>
            <a:prstDash val="solid"/>
            <a:headEnd type="none" w="sm" len="sm"/>
            <a:tailEnd type="none" w="sm" len="sm"/>
          </a:ln>
        </p:spPr>
        <p:txBody>
          <a:bodyPr/>
          <a:lstStyle/>
          <a:p>
            <a:endParaRPr lang="pt-BR" sz="1200"/>
          </a:p>
        </p:txBody>
      </p:sp>
      <p:grpSp>
        <p:nvGrpSpPr>
          <p:cNvPr id="7" name="Group 7"/>
          <p:cNvGrpSpPr/>
          <p:nvPr/>
        </p:nvGrpSpPr>
        <p:grpSpPr>
          <a:xfrm>
            <a:off x="5595486" y="1151467"/>
            <a:ext cx="1894966" cy="36000"/>
            <a:chOff x="0" y="0"/>
            <a:chExt cx="3789932" cy="72000"/>
          </a:xfrm>
        </p:grpSpPr>
        <p:sp>
          <p:nvSpPr>
            <p:cNvPr id="8" name="Freeform 8"/>
            <p:cNvSpPr/>
            <p:nvPr/>
          </p:nvSpPr>
          <p:spPr>
            <a:xfrm>
              <a:off x="0" y="0"/>
              <a:ext cx="3789934" cy="72009"/>
            </a:xfrm>
            <a:custGeom>
              <a:avLst/>
              <a:gdLst/>
              <a:ahLst/>
              <a:cxnLst/>
              <a:rect l="l" t="t" r="r" b="b"/>
              <a:pathLst>
                <a:path w="3789934" h="72009">
                  <a:moveTo>
                    <a:pt x="0" y="0"/>
                  </a:moveTo>
                  <a:lnTo>
                    <a:pt x="3789934" y="0"/>
                  </a:lnTo>
                  <a:lnTo>
                    <a:pt x="3789934" y="72009"/>
                  </a:lnTo>
                  <a:lnTo>
                    <a:pt x="0" y="72009"/>
                  </a:lnTo>
                  <a:close/>
                </a:path>
              </a:pathLst>
            </a:custGeom>
            <a:solidFill>
              <a:srgbClr val="00BC29"/>
            </a:solidFill>
          </p:spPr>
          <p:txBody>
            <a:bodyPr/>
            <a:lstStyle/>
            <a:p>
              <a:endParaRPr lang="pt-BR" sz="1200"/>
            </a:p>
          </p:txBody>
        </p:sp>
      </p:grpSp>
      <p:grpSp>
        <p:nvGrpSpPr>
          <p:cNvPr id="9" name="Group 9"/>
          <p:cNvGrpSpPr/>
          <p:nvPr/>
        </p:nvGrpSpPr>
        <p:grpSpPr>
          <a:xfrm>
            <a:off x="247216" y="6493566"/>
            <a:ext cx="152472" cy="154817"/>
            <a:chOff x="0" y="0"/>
            <a:chExt cx="304944" cy="309634"/>
          </a:xfrm>
        </p:grpSpPr>
        <p:sp>
          <p:nvSpPr>
            <p:cNvPr id="10" name="Freeform 10"/>
            <p:cNvSpPr/>
            <p:nvPr/>
          </p:nvSpPr>
          <p:spPr>
            <a:xfrm>
              <a:off x="0" y="0"/>
              <a:ext cx="304927" cy="309626"/>
            </a:xfrm>
            <a:custGeom>
              <a:avLst/>
              <a:gdLst/>
              <a:ahLst/>
              <a:cxnLst/>
              <a:rect l="l" t="t" r="r" b="b"/>
              <a:pathLst>
                <a:path w="304927" h="309626">
                  <a:moveTo>
                    <a:pt x="0" y="100838"/>
                  </a:moveTo>
                  <a:lnTo>
                    <a:pt x="100838" y="100838"/>
                  </a:lnTo>
                  <a:lnTo>
                    <a:pt x="100838" y="0"/>
                  </a:lnTo>
                  <a:lnTo>
                    <a:pt x="204089" y="0"/>
                  </a:lnTo>
                  <a:lnTo>
                    <a:pt x="204089" y="100838"/>
                  </a:lnTo>
                  <a:lnTo>
                    <a:pt x="304927" y="100838"/>
                  </a:lnTo>
                  <a:lnTo>
                    <a:pt x="304927" y="208788"/>
                  </a:lnTo>
                  <a:lnTo>
                    <a:pt x="204089" y="208788"/>
                  </a:lnTo>
                  <a:lnTo>
                    <a:pt x="204089" y="309626"/>
                  </a:lnTo>
                  <a:lnTo>
                    <a:pt x="100838" y="309626"/>
                  </a:lnTo>
                  <a:lnTo>
                    <a:pt x="100838" y="208788"/>
                  </a:lnTo>
                  <a:lnTo>
                    <a:pt x="0" y="208788"/>
                  </a:lnTo>
                  <a:close/>
                </a:path>
              </a:pathLst>
            </a:custGeom>
            <a:solidFill>
              <a:srgbClr val="FFFFFF"/>
            </a:solidFill>
          </p:spPr>
          <p:txBody>
            <a:bodyPr/>
            <a:lstStyle/>
            <a:p>
              <a:endParaRPr lang="pt-BR" sz="1200"/>
            </a:p>
          </p:txBody>
        </p:sp>
      </p:grpSp>
      <p:sp>
        <p:nvSpPr>
          <p:cNvPr id="11" name="TextBox 11"/>
          <p:cNvSpPr txBox="1"/>
          <p:nvPr/>
        </p:nvSpPr>
        <p:spPr>
          <a:xfrm>
            <a:off x="7581587" y="578459"/>
            <a:ext cx="2529879" cy="343427"/>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JOSUÉ GRATON</a:t>
            </a:r>
          </a:p>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Specialist – Sustainability &amp; CE</a:t>
            </a:r>
          </a:p>
        </p:txBody>
      </p:sp>
      <p:grpSp>
        <p:nvGrpSpPr>
          <p:cNvPr id="12" name="Group 12"/>
          <p:cNvGrpSpPr/>
          <p:nvPr/>
        </p:nvGrpSpPr>
        <p:grpSpPr>
          <a:xfrm>
            <a:off x="6726949" y="56727"/>
            <a:ext cx="1070383" cy="1070379"/>
            <a:chOff x="0" y="0"/>
            <a:chExt cx="6350000" cy="6349975"/>
          </a:xfrm>
        </p:grpSpPr>
        <p:sp>
          <p:nvSpPr>
            <p:cNvPr id="13" name="Freeform 13"/>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4"/>
              <a:stretch>
                <a:fillRect l="-10262" r="-12045" b="-23169"/>
              </a:stretch>
            </a:blipFill>
          </p:spPr>
          <p:txBody>
            <a:bodyPr/>
            <a:lstStyle/>
            <a:p>
              <a:endParaRPr lang="pt-BR" sz="1200"/>
            </a:p>
          </p:txBody>
        </p:sp>
      </p:grpSp>
      <p:sp>
        <p:nvSpPr>
          <p:cNvPr id="14" name="TextBox 14"/>
          <p:cNvSpPr txBox="1"/>
          <p:nvPr/>
        </p:nvSpPr>
        <p:spPr>
          <a:xfrm>
            <a:off x="850325" y="282099"/>
            <a:ext cx="4581843" cy="448841"/>
          </a:xfrm>
          <a:prstGeom prst="rect">
            <a:avLst/>
          </a:prstGeom>
        </p:spPr>
        <p:txBody>
          <a:bodyPr lIns="0" tIns="0" rIns="0" bIns="0" rtlCol="0" anchor="t">
            <a:spAutoFit/>
          </a:bodyPr>
          <a:lstStyle/>
          <a:p>
            <a:pPr algn="just">
              <a:lnSpc>
                <a:spcPts val="3456"/>
              </a:lnSpc>
            </a:pPr>
            <a:r>
              <a:rPr lang="en-US" sz="3200" b="1" spc="74">
                <a:solidFill>
                  <a:srgbClr val="000532"/>
                </a:solidFill>
                <a:latin typeface="TT Smalls Bold"/>
                <a:ea typeface="TT Smalls Bold"/>
                <a:cs typeface="TT Smalls Bold"/>
                <a:sym typeface="TT Smalls Bold"/>
              </a:rPr>
              <a:t>CoE Circular Economy</a:t>
            </a:r>
          </a:p>
        </p:txBody>
      </p:sp>
      <p:grpSp>
        <p:nvGrpSpPr>
          <p:cNvPr id="15" name="Group 15"/>
          <p:cNvGrpSpPr/>
          <p:nvPr/>
        </p:nvGrpSpPr>
        <p:grpSpPr>
          <a:xfrm>
            <a:off x="659715" y="1503945"/>
            <a:ext cx="1740660" cy="1324757"/>
            <a:chOff x="0" y="0"/>
            <a:chExt cx="3481320" cy="2649513"/>
          </a:xfrm>
        </p:grpSpPr>
        <p:grpSp>
          <p:nvGrpSpPr>
            <p:cNvPr id="16" name="Group 16"/>
            <p:cNvGrpSpPr/>
            <p:nvPr/>
          </p:nvGrpSpPr>
          <p:grpSpPr>
            <a:xfrm>
              <a:off x="792009" y="0"/>
              <a:ext cx="2140765" cy="2140757"/>
              <a:chOff x="0" y="0"/>
              <a:chExt cx="6350000" cy="6349975"/>
            </a:xfrm>
          </p:grpSpPr>
          <p:sp>
            <p:nvSpPr>
              <p:cNvPr id="17" name="Freeform 17"/>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5"/>
                <a:stretch>
                  <a:fillRect t="-864" b="-864"/>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18" name="TextBox 18"/>
            <p:cNvSpPr txBox="1"/>
            <p:nvPr/>
          </p:nvSpPr>
          <p:spPr>
            <a:xfrm>
              <a:off x="0" y="2321731"/>
              <a:ext cx="3481320"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Dra. ISABEL DINÓLA </a:t>
              </a:r>
            </a:p>
          </p:txBody>
        </p:sp>
      </p:grpSp>
      <p:grpSp>
        <p:nvGrpSpPr>
          <p:cNvPr id="19" name="Group 19"/>
          <p:cNvGrpSpPr/>
          <p:nvPr/>
        </p:nvGrpSpPr>
        <p:grpSpPr>
          <a:xfrm>
            <a:off x="468410" y="3297378"/>
            <a:ext cx="1918417" cy="1439507"/>
            <a:chOff x="0" y="0"/>
            <a:chExt cx="3836834" cy="2879014"/>
          </a:xfrm>
        </p:grpSpPr>
        <p:grpSp>
          <p:nvGrpSpPr>
            <p:cNvPr id="20" name="Group 20"/>
            <p:cNvGrpSpPr/>
            <p:nvPr/>
          </p:nvGrpSpPr>
          <p:grpSpPr>
            <a:xfrm>
              <a:off x="848034" y="0"/>
              <a:ext cx="2140765" cy="2140757"/>
              <a:chOff x="0" y="0"/>
              <a:chExt cx="6350000" cy="6349975"/>
            </a:xfrm>
          </p:grpSpPr>
          <p:sp>
            <p:nvSpPr>
              <p:cNvPr id="21" name="Freeform 21"/>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6"/>
                <a:stretch>
                  <a:fillRect t="-1592" b="-1592"/>
                </a:stretch>
              </a:blipFill>
            </p:spPr>
            <p:txBody>
              <a:bodyPr/>
              <a:lstStyle/>
              <a:p>
                <a:endParaRPr lang="pt-BR" sz="1200"/>
              </a:p>
            </p:txBody>
          </p:sp>
        </p:grpSp>
        <p:sp>
          <p:nvSpPr>
            <p:cNvPr id="22" name="TextBox 22"/>
            <p:cNvSpPr txBox="1"/>
            <p:nvPr/>
          </p:nvSpPr>
          <p:spPr>
            <a:xfrm>
              <a:off x="0" y="2192160"/>
              <a:ext cx="3836834" cy="686854"/>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MAURICIO DE PAULA</a:t>
              </a:r>
            </a:p>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Packaging </a:t>
              </a:r>
            </a:p>
          </p:txBody>
        </p:sp>
      </p:grpSp>
      <p:grpSp>
        <p:nvGrpSpPr>
          <p:cNvPr id="23" name="Group 23"/>
          <p:cNvGrpSpPr/>
          <p:nvPr/>
        </p:nvGrpSpPr>
        <p:grpSpPr>
          <a:xfrm>
            <a:off x="2530652" y="1487940"/>
            <a:ext cx="1747119" cy="1331737"/>
            <a:chOff x="0" y="0"/>
            <a:chExt cx="3494239" cy="2663473"/>
          </a:xfrm>
        </p:grpSpPr>
        <p:grpSp>
          <p:nvGrpSpPr>
            <p:cNvPr id="24" name="Group 24"/>
            <p:cNvGrpSpPr/>
            <p:nvPr/>
          </p:nvGrpSpPr>
          <p:grpSpPr>
            <a:xfrm>
              <a:off x="526640" y="0"/>
              <a:ext cx="2140765" cy="2140757"/>
              <a:chOff x="0" y="0"/>
              <a:chExt cx="6350000" cy="6349975"/>
            </a:xfrm>
          </p:grpSpPr>
          <p:sp>
            <p:nvSpPr>
              <p:cNvPr id="25" name="Freeform 25"/>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7"/>
                <a:stretch>
                  <a:fillRect t="-12970" b="-12970"/>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26" name="TextBox 26"/>
            <p:cNvSpPr txBox="1"/>
            <p:nvPr/>
          </p:nvSpPr>
          <p:spPr>
            <a:xfrm>
              <a:off x="0" y="2334023"/>
              <a:ext cx="3494239" cy="329450"/>
            </a:xfrm>
            <a:prstGeom prst="rect">
              <a:avLst/>
            </a:prstGeom>
          </p:spPr>
          <p:txBody>
            <a:bodyPr wrap="square"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Dr. HENRIQUE MARANDUBA</a:t>
              </a:r>
            </a:p>
          </p:txBody>
        </p:sp>
      </p:grpSp>
      <p:grpSp>
        <p:nvGrpSpPr>
          <p:cNvPr id="27" name="Group 27"/>
          <p:cNvGrpSpPr/>
          <p:nvPr/>
        </p:nvGrpSpPr>
        <p:grpSpPr>
          <a:xfrm>
            <a:off x="4402711" y="1469835"/>
            <a:ext cx="1918417" cy="1350157"/>
            <a:chOff x="0" y="0"/>
            <a:chExt cx="3836834" cy="2700313"/>
          </a:xfrm>
        </p:grpSpPr>
        <p:grpSp>
          <p:nvGrpSpPr>
            <p:cNvPr id="28" name="Group 28"/>
            <p:cNvGrpSpPr/>
            <p:nvPr/>
          </p:nvGrpSpPr>
          <p:grpSpPr>
            <a:xfrm>
              <a:off x="777680" y="0"/>
              <a:ext cx="2140765" cy="2140757"/>
              <a:chOff x="0" y="0"/>
              <a:chExt cx="6350000" cy="6349975"/>
            </a:xfrm>
          </p:grpSpPr>
          <p:sp>
            <p:nvSpPr>
              <p:cNvPr id="29" name="Freeform 29"/>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8"/>
                <a:stretch>
                  <a:fillRect t="-5886" b="-6183"/>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30" name="TextBox 30"/>
            <p:cNvSpPr txBox="1"/>
            <p:nvPr/>
          </p:nvSpPr>
          <p:spPr>
            <a:xfrm>
              <a:off x="0" y="2372531"/>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Dra. MILENA SOUZA </a:t>
              </a:r>
            </a:p>
          </p:txBody>
        </p:sp>
      </p:grpSp>
      <p:grpSp>
        <p:nvGrpSpPr>
          <p:cNvPr id="31" name="Group 31"/>
          <p:cNvGrpSpPr/>
          <p:nvPr/>
        </p:nvGrpSpPr>
        <p:grpSpPr>
          <a:xfrm>
            <a:off x="10064890" y="1487941"/>
            <a:ext cx="1918417" cy="1340762"/>
            <a:chOff x="0" y="0"/>
            <a:chExt cx="3836834" cy="2681525"/>
          </a:xfrm>
        </p:grpSpPr>
        <p:grpSp>
          <p:nvGrpSpPr>
            <p:cNvPr id="32" name="Group 32"/>
            <p:cNvGrpSpPr/>
            <p:nvPr/>
          </p:nvGrpSpPr>
          <p:grpSpPr>
            <a:xfrm>
              <a:off x="839228" y="0"/>
              <a:ext cx="2140765" cy="2140757"/>
              <a:chOff x="0" y="0"/>
              <a:chExt cx="6350000" cy="6349975"/>
            </a:xfrm>
          </p:grpSpPr>
          <p:sp>
            <p:nvSpPr>
              <p:cNvPr id="33" name="Freeform 33"/>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9"/>
                <a:stretch>
                  <a:fillRect t="-12539" r="-66770" b="-12539"/>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34" name="TextBox 34"/>
            <p:cNvSpPr txBox="1"/>
            <p:nvPr/>
          </p:nvSpPr>
          <p:spPr>
            <a:xfrm>
              <a:off x="0" y="2353743"/>
              <a:ext cx="3836834" cy="327782"/>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Dra. VANESSA MEIRELES</a:t>
              </a:r>
            </a:p>
          </p:txBody>
        </p:sp>
      </p:grpSp>
      <p:grpSp>
        <p:nvGrpSpPr>
          <p:cNvPr id="35" name="Group 35"/>
          <p:cNvGrpSpPr/>
          <p:nvPr/>
        </p:nvGrpSpPr>
        <p:grpSpPr>
          <a:xfrm>
            <a:off x="8494691" y="1487941"/>
            <a:ext cx="1232561" cy="1488762"/>
            <a:chOff x="0" y="0"/>
            <a:chExt cx="2465123" cy="2977525"/>
          </a:xfrm>
        </p:grpSpPr>
        <p:grpSp>
          <p:nvGrpSpPr>
            <p:cNvPr id="36" name="Group 36"/>
            <p:cNvGrpSpPr/>
            <p:nvPr/>
          </p:nvGrpSpPr>
          <p:grpSpPr>
            <a:xfrm>
              <a:off x="89098" y="0"/>
              <a:ext cx="2140765" cy="2140757"/>
              <a:chOff x="0" y="0"/>
              <a:chExt cx="6350000" cy="6349975"/>
            </a:xfrm>
          </p:grpSpPr>
          <p:sp>
            <p:nvSpPr>
              <p:cNvPr id="37" name="Freeform 37"/>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0"/>
                <a:stretch>
                  <a:fillRect t="-2103" b="-2207"/>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38" name="TextBox 38"/>
            <p:cNvSpPr txBox="1"/>
            <p:nvPr/>
          </p:nvSpPr>
          <p:spPr>
            <a:xfrm>
              <a:off x="0" y="2290671"/>
              <a:ext cx="2465123" cy="686854"/>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Dra. EFIGENIA ROSSI</a:t>
              </a:r>
            </a:p>
          </p:txBody>
        </p:sp>
      </p:grpSp>
      <p:grpSp>
        <p:nvGrpSpPr>
          <p:cNvPr id="39" name="Group 39"/>
          <p:cNvGrpSpPr/>
          <p:nvPr/>
        </p:nvGrpSpPr>
        <p:grpSpPr>
          <a:xfrm>
            <a:off x="6511457" y="1469835"/>
            <a:ext cx="1285875" cy="1538403"/>
            <a:chOff x="0" y="0"/>
            <a:chExt cx="2571750" cy="3076806"/>
          </a:xfrm>
        </p:grpSpPr>
        <p:grpSp>
          <p:nvGrpSpPr>
            <p:cNvPr id="40" name="Group 40"/>
            <p:cNvGrpSpPr/>
            <p:nvPr/>
          </p:nvGrpSpPr>
          <p:grpSpPr>
            <a:xfrm>
              <a:off x="181299" y="0"/>
              <a:ext cx="2140765" cy="2140757"/>
              <a:chOff x="0" y="0"/>
              <a:chExt cx="6350000" cy="6349975"/>
            </a:xfrm>
          </p:grpSpPr>
          <p:sp>
            <p:nvSpPr>
              <p:cNvPr id="41" name="Freeform 41"/>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1"/>
                <a:stretch>
                  <a:fillRect t="-2783" b="-3099"/>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42" name="TextBox 42"/>
            <p:cNvSpPr txBox="1"/>
            <p:nvPr/>
          </p:nvSpPr>
          <p:spPr>
            <a:xfrm>
              <a:off x="0" y="2389952"/>
              <a:ext cx="2571750" cy="686854"/>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Dr. RICARDO CASTRO</a:t>
              </a:r>
            </a:p>
          </p:txBody>
        </p:sp>
      </p:grpSp>
      <p:grpSp>
        <p:nvGrpSpPr>
          <p:cNvPr id="43" name="Group 43"/>
          <p:cNvGrpSpPr/>
          <p:nvPr/>
        </p:nvGrpSpPr>
        <p:grpSpPr>
          <a:xfrm>
            <a:off x="1678868" y="3315997"/>
            <a:ext cx="1918417" cy="1439507"/>
            <a:chOff x="0" y="0"/>
            <a:chExt cx="3836834" cy="2879014"/>
          </a:xfrm>
        </p:grpSpPr>
        <p:grpSp>
          <p:nvGrpSpPr>
            <p:cNvPr id="44" name="Group 44"/>
            <p:cNvGrpSpPr/>
            <p:nvPr/>
          </p:nvGrpSpPr>
          <p:grpSpPr>
            <a:xfrm>
              <a:off x="848034" y="0"/>
              <a:ext cx="2140765" cy="2140757"/>
              <a:chOff x="0" y="0"/>
              <a:chExt cx="6350000" cy="6349975"/>
            </a:xfrm>
          </p:grpSpPr>
          <p:sp>
            <p:nvSpPr>
              <p:cNvPr id="45" name="Freeform 45"/>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2"/>
                <a:stretch>
                  <a:fillRect l="-1403" r="-1403" b="-83"/>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46" name="TextBox 46"/>
            <p:cNvSpPr txBox="1"/>
            <p:nvPr/>
          </p:nvSpPr>
          <p:spPr>
            <a:xfrm>
              <a:off x="0" y="2192160"/>
              <a:ext cx="3836834" cy="686854"/>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RENAN RUFFO</a:t>
              </a:r>
            </a:p>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Environmental</a:t>
              </a:r>
            </a:p>
          </p:txBody>
        </p:sp>
      </p:grpSp>
      <p:grpSp>
        <p:nvGrpSpPr>
          <p:cNvPr id="47" name="Group 47"/>
          <p:cNvGrpSpPr/>
          <p:nvPr/>
        </p:nvGrpSpPr>
        <p:grpSpPr>
          <a:xfrm>
            <a:off x="2956634" y="3315997"/>
            <a:ext cx="1918417" cy="1439507"/>
            <a:chOff x="0" y="0"/>
            <a:chExt cx="3836834" cy="2879014"/>
          </a:xfrm>
        </p:grpSpPr>
        <p:grpSp>
          <p:nvGrpSpPr>
            <p:cNvPr id="48" name="Group 48"/>
            <p:cNvGrpSpPr/>
            <p:nvPr/>
          </p:nvGrpSpPr>
          <p:grpSpPr>
            <a:xfrm>
              <a:off x="848034" y="0"/>
              <a:ext cx="2140765" cy="2140757"/>
              <a:chOff x="0" y="0"/>
              <a:chExt cx="6350000" cy="6349975"/>
            </a:xfrm>
          </p:grpSpPr>
          <p:sp>
            <p:nvSpPr>
              <p:cNvPr id="49" name="Freeform 49"/>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3"/>
                <a:stretch>
                  <a:fillRect t="-8146" b="-8146"/>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50" name="TextBox 50"/>
            <p:cNvSpPr txBox="1"/>
            <p:nvPr/>
          </p:nvSpPr>
          <p:spPr>
            <a:xfrm>
              <a:off x="0" y="2192160"/>
              <a:ext cx="3836834" cy="686854"/>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GUILHERME ZEPONI</a:t>
              </a:r>
            </a:p>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Environmental</a:t>
              </a:r>
            </a:p>
          </p:txBody>
        </p:sp>
      </p:grpSp>
      <p:grpSp>
        <p:nvGrpSpPr>
          <p:cNvPr id="51" name="Group 51"/>
          <p:cNvGrpSpPr/>
          <p:nvPr/>
        </p:nvGrpSpPr>
        <p:grpSpPr>
          <a:xfrm>
            <a:off x="4238260" y="3315997"/>
            <a:ext cx="1918417" cy="1439507"/>
            <a:chOff x="0" y="0"/>
            <a:chExt cx="3836834" cy="2879014"/>
          </a:xfrm>
        </p:grpSpPr>
        <p:grpSp>
          <p:nvGrpSpPr>
            <p:cNvPr id="52" name="Group 52"/>
            <p:cNvGrpSpPr/>
            <p:nvPr/>
          </p:nvGrpSpPr>
          <p:grpSpPr>
            <a:xfrm>
              <a:off x="848034" y="0"/>
              <a:ext cx="2140765" cy="2140757"/>
              <a:chOff x="0" y="0"/>
              <a:chExt cx="6350000" cy="6349975"/>
            </a:xfrm>
          </p:grpSpPr>
          <p:sp>
            <p:nvSpPr>
              <p:cNvPr id="53" name="Freeform 53"/>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4"/>
                <a:stretch>
                  <a:fillRect t="-16562" b="-16771"/>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54" name="TextBox 54"/>
            <p:cNvSpPr txBox="1"/>
            <p:nvPr/>
          </p:nvSpPr>
          <p:spPr>
            <a:xfrm>
              <a:off x="0" y="2192160"/>
              <a:ext cx="3836834" cy="686854"/>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ELINE AGUIAR</a:t>
              </a:r>
            </a:p>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Environmental</a:t>
              </a:r>
            </a:p>
          </p:txBody>
        </p:sp>
      </p:grpSp>
      <p:grpSp>
        <p:nvGrpSpPr>
          <p:cNvPr id="55" name="Group 55"/>
          <p:cNvGrpSpPr/>
          <p:nvPr/>
        </p:nvGrpSpPr>
        <p:grpSpPr>
          <a:xfrm>
            <a:off x="5514148" y="3315997"/>
            <a:ext cx="1918417" cy="1439507"/>
            <a:chOff x="0" y="0"/>
            <a:chExt cx="3836834" cy="2879014"/>
          </a:xfrm>
        </p:grpSpPr>
        <p:grpSp>
          <p:nvGrpSpPr>
            <p:cNvPr id="56" name="Group 56"/>
            <p:cNvGrpSpPr/>
            <p:nvPr/>
          </p:nvGrpSpPr>
          <p:grpSpPr>
            <a:xfrm>
              <a:off x="848034" y="0"/>
              <a:ext cx="2140765" cy="2140757"/>
              <a:chOff x="0" y="0"/>
              <a:chExt cx="6350000" cy="6349975"/>
            </a:xfrm>
          </p:grpSpPr>
          <p:sp>
            <p:nvSpPr>
              <p:cNvPr id="57" name="Freeform 57"/>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5"/>
                <a:stretch>
                  <a:fillRect t="-24895" b="-25104"/>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58" name="TextBox 58"/>
            <p:cNvSpPr txBox="1"/>
            <p:nvPr/>
          </p:nvSpPr>
          <p:spPr>
            <a:xfrm>
              <a:off x="0" y="2192160"/>
              <a:ext cx="3836834" cy="686854"/>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WILLIAMS COSTA</a:t>
              </a:r>
            </a:p>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Mechanical</a:t>
              </a:r>
            </a:p>
          </p:txBody>
        </p:sp>
      </p:grpSp>
      <p:grpSp>
        <p:nvGrpSpPr>
          <p:cNvPr id="59" name="Group 59"/>
          <p:cNvGrpSpPr/>
          <p:nvPr/>
        </p:nvGrpSpPr>
        <p:grpSpPr>
          <a:xfrm>
            <a:off x="6825424" y="3315997"/>
            <a:ext cx="1918417" cy="1439507"/>
            <a:chOff x="0" y="0"/>
            <a:chExt cx="3836834" cy="2879014"/>
          </a:xfrm>
        </p:grpSpPr>
        <p:grpSp>
          <p:nvGrpSpPr>
            <p:cNvPr id="60" name="Group 60"/>
            <p:cNvGrpSpPr/>
            <p:nvPr/>
          </p:nvGrpSpPr>
          <p:grpSpPr>
            <a:xfrm>
              <a:off x="848034" y="0"/>
              <a:ext cx="2140765" cy="2140757"/>
              <a:chOff x="0" y="0"/>
              <a:chExt cx="6350000" cy="6349975"/>
            </a:xfrm>
          </p:grpSpPr>
          <p:sp>
            <p:nvSpPr>
              <p:cNvPr id="61" name="Freeform 61"/>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6"/>
                <a:stretch>
                  <a:fillRect t="-8863" b="-9071"/>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62" name="TextBox 62"/>
            <p:cNvSpPr txBox="1"/>
            <p:nvPr/>
          </p:nvSpPr>
          <p:spPr>
            <a:xfrm>
              <a:off x="0" y="2192160"/>
              <a:ext cx="3836834" cy="686854"/>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FERNANDO JUNIOR</a:t>
              </a:r>
            </a:p>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Electrical </a:t>
              </a:r>
            </a:p>
          </p:txBody>
        </p:sp>
      </p:grpSp>
      <p:grpSp>
        <p:nvGrpSpPr>
          <p:cNvPr id="63" name="Group 63"/>
          <p:cNvGrpSpPr/>
          <p:nvPr/>
        </p:nvGrpSpPr>
        <p:grpSpPr>
          <a:xfrm>
            <a:off x="691465" y="5303945"/>
            <a:ext cx="1918417" cy="1283801"/>
            <a:chOff x="0" y="0"/>
            <a:chExt cx="3836834" cy="2567602"/>
          </a:xfrm>
        </p:grpSpPr>
        <p:grpSp>
          <p:nvGrpSpPr>
            <p:cNvPr id="64" name="Group 64"/>
            <p:cNvGrpSpPr/>
            <p:nvPr/>
          </p:nvGrpSpPr>
          <p:grpSpPr>
            <a:xfrm>
              <a:off x="871044" y="0"/>
              <a:ext cx="2140765" cy="2140757"/>
              <a:chOff x="0" y="0"/>
              <a:chExt cx="6350000" cy="6349975"/>
            </a:xfrm>
          </p:grpSpPr>
          <p:sp>
            <p:nvSpPr>
              <p:cNvPr id="65" name="Freeform 65"/>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7"/>
                <a:stretch>
                  <a:fillRect t="-16737" b="-16737"/>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66" name="TextBox 66"/>
            <p:cNvSpPr txBox="1"/>
            <p:nvPr/>
          </p:nvSpPr>
          <p:spPr>
            <a:xfrm>
              <a:off x="0" y="2239820"/>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FRANCISCO RODRIGUES</a:t>
              </a:r>
            </a:p>
          </p:txBody>
        </p:sp>
      </p:grpSp>
      <p:grpSp>
        <p:nvGrpSpPr>
          <p:cNvPr id="67" name="Group 67"/>
          <p:cNvGrpSpPr/>
          <p:nvPr/>
        </p:nvGrpSpPr>
        <p:grpSpPr>
          <a:xfrm>
            <a:off x="2336987" y="5303945"/>
            <a:ext cx="1918417" cy="1283801"/>
            <a:chOff x="0" y="0"/>
            <a:chExt cx="3836834" cy="2567602"/>
          </a:xfrm>
        </p:grpSpPr>
        <p:grpSp>
          <p:nvGrpSpPr>
            <p:cNvPr id="68" name="Group 68"/>
            <p:cNvGrpSpPr/>
            <p:nvPr/>
          </p:nvGrpSpPr>
          <p:grpSpPr>
            <a:xfrm>
              <a:off x="871044" y="0"/>
              <a:ext cx="2140765" cy="2140757"/>
              <a:chOff x="0" y="0"/>
              <a:chExt cx="6350000" cy="6349975"/>
            </a:xfrm>
          </p:grpSpPr>
          <p:sp>
            <p:nvSpPr>
              <p:cNvPr id="69" name="Freeform 69"/>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8"/>
                <a:stretch>
                  <a:fillRect l="-457" r="-457" b="-100"/>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70" name="TextBox 70"/>
            <p:cNvSpPr txBox="1"/>
            <p:nvPr/>
          </p:nvSpPr>
          <p:spPr>
            <a:xfrm>
              <a:off x="0" y="2239820"/>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PAULO DOURADO</a:t>
              </a:r>
            </a:p>
          </p:txBody>
        </p:sp>
      </p:grpSp>
      <p:grpSp>
        <p:nvGrpSpPr>
          <p:cNvPr id="71" name="Group 71"/>
          <p:cNvGrpSpPr/>
          <p:nvPr/>
        </p:nvGrpSpPr>
        <p:grpSpPr>
          <a:xfrm>
            <a:off x="3842249" y="5303945"/>
            <a:ext cx="1918417" cy="1283801"/>
            <a:chOff x="0" y="0"/>
            <a:chExt cx="3836834" cy="2567602"/>
          </a:xfrm>
        </p:grpSpPr>
        <p:grpSp>
          <p:nvGrpSpPr>
            <p:cNvPr id="72" name="Group 72"/>
            <p:cNvGrpSpPr/>
            <p:nvPr/>
          </p:nvGrpSpPr>
          <p:grpSpPr>
            <a:xfrm>
              <a:off x="871044" y="0"/>
              <a:ext cx="2140765" cy="2140757"/>
              <a:chOff x="0" y="0"/>
              <a:chExt cx="6350000" cy="6349975"/>
            </a:xfrm>
          </p:grpSpPr>
          <p:sp>
            <p:nvSpPr>
              <p:cNvPr id="73" name="Freeform 73"/>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19"/>
                <a:stretch>
                  <a:fillRect t="-7171" b="-7171"/>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74" name="TextBox 74"/>
            <p:cNvSpPr txBox="1"/>
            <p:nvPr/>
          </p:nvSpPr>
          <p:spPr>
            <a:xfrm>
              <a:off x="0" y="2239820"/>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SABRINA LUCIANA</a:t>
              </a:r>
            </a:p>
          </p:txBody>
        </p:sp>
      </p:grpSp>
      <p:grpSp>
        <p:nvGrpSpPr>
          <p:cNvPr id="75" name="Group 75"/>
          <p:cNvGrpSpPr/>
          <p:nvPr/>
        </p:nvGrpSpPr>
        <p:grpSpPr>
          <a:xfrm>
            <a:off x="9586394" y="3315997"/>
            <a:ext cx="1494400" cy="1440341"/>
            <a:chOff x="0" y="0"/>
            <a:chExt cx="2988800" cy="2880682"/>
          </a:xfrm>
        </p:grpSpPr>
        <p:grpSp>
          <p:nvGrpSpPr>
            <p:cNvPr id="76" name="Group 76"/>
            <p:cNvGrpSpPr/>
            <p:nvPr/>
          </p:nvGrpSpPr>
          <p:grpSpPr>
            <a:xfrm>
              <a:off x="424017" y="0"/>
              <a:ext cx="2140765" cy="2140757"/>
              <a:chOff x="0" y="0"/>
              <a:chExt cx="6350000" cy="6349975"/>
            </a:xfrm>
          </p:grpSpPr>
          <p:sp>
            <p:nvSpPr>
              <p:cNvPr id="77" name="Freeform 77"/>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0"/>
                <a:stretch>
                  <a:fillRect l="-27139" t="-4839" b="-18089"/>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78" name="TextBox 78"/>
            <p:cNvSpPr txBox="1"/>
            <p:nvPr/>
          </p:nvSpPr>
          <p:spPr>
            <a:xfrm>
              <a:off x="0" y="2192160"/>
              <a:ext cx="2988800" cy="688522"/>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KELYSON ANJOS</a:t>
              </a:r>
            </a:p>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Assistant</a:t>
              </a:r>
            </a:p>
          </p:txBody>
        </p:sp>
      </p:grpSp>
      <p:grpSp>
        <p:nvGrpSpPr>
          <p:cNvPr id="79" name="Group 79"/>
          <p:cNvGrpSpPr/>
          <p:nvPr/>
        </p:nvGrpSpPr>
        <p:grpSpPr>
          <a:xfrm>
            <a:off x="8332022" y="3315997"/>
            <a:ext cx="1494400" cy="1439507"/>
            <a:chOff x="0" y="0"/>
            <a:chExt cx="2988800" cy="2879014"/>
          </a:xfrm>
        </p:grpSpPr>
        <p:grpSp>
          <p:nvGrpSpPr>
            <p:cNvPr id="80" name="Group 80"/>
            <p:cNvGrpSpPr/>
            <p:nvPr/>
          </p:nvGrpSpPr>
          <p:grpSpPr>
            <a:xfrm>
              <a:off x="424017" y="0"/>
              <a:ext cx="2140765" cy="2140757"/>
              <a:chOff x="0" y="0"/>
              <a:chExt cx="6350000" cy="6349975"/>
            </a:xfrm>
          </p:grpSpPr>
          <p:sp>
            <p:nvSpPr>
              <p:cNvPr id="81" name="Freeform 81"/>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1"/>
                <a:stretch>
                  <a:fillRect l="-460" r="-460" b="-100"/>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82" name="TextBox 82"/>
            <p:cNvSpPr txBox="1"/>
            <p:nvPr/>
          </p:nvSpPr>
          <p:spPr>
            <a:xfrm>
              <a:off x="0" y="2192160"/>
              <a:ext cx="2988800" cy="686854"/>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SILAS FERNANDES</a:t>
              </a:r>
            </a:p>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Automation</a:t>
              </a:r>
            </a:p>
          </p:txBody>
        </p:sp>
      </p:grpSp>
      <p:grpSp>
        <p:nvGrpSpPr>
          <p:cNvPr id="83" name="Group 83"/>
          <p:cNvGrpSpPr/>
          <p:nvPr/>
        </p:nvGrpSpPr>
        <p:grpSpPr>
          <a:xfrm>
            <a:off x="10823445" y="3315997"/>
            <a:ext cx="1494400" cy="1439507"/>
            <a:chOff x="0" y="0"/>
            <a:chExt cx="2988800" cy="2879014"/>
          </a:xfrm>
        </p:grpSpPr>
        <p:grpSp>
          <p:nvGrpSpPr>
            <p:cNvPr id="84" name="Group 84"/>
            <p:cNvGrpSpPr/>
            <p:nvPr/>
          </p:nvGrpSpPr>
          <p:grpSpPr>
            <a:xfrm>
              <a:off x="424017" y="0"/>
              <a:ext cx="2140765" cy="2140757"/>
              <a:chOff x="0" y="0"/>
              <a:chExt cx="6350000" cy="6349975"/>
            </a:xfrm>
          </p:grpSpPr>
          <p:sp>
            <p:nvSpPr>
              <p:cNvPr id="85" name="Freeform 85"/>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2"/>
                <a:stretch>
                  <a:fillRect t="-2049" b="-2152"/>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86" name="TextBox 86"/>
            <p:cNvSpPr txBox="1"/>
            <p:nvPr/>
          </p:nvSpPr>
          <p:spPr>
            <a:xfrm>
              <a:off x="0" y="2192160"/>
              <a:ext cx="2988800" cy="686854"/>
            </a:xfrm>
            <a:prstGeom prst="rect">
              <a:avLst/>
            </a:prstGeom>
          </p:spPr>
          <p:txBody>
            <a:bodyPr lIns="0" tIns="0" rIns="0" bIns="0" rtlCol="0" anchor="t">
              <a:spAutoFit/>
            </a:bodyPr>
            <a:lstStyle/>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GABRIEL SISTERNA</a:t>
              </a:r>
            </a:p>
            <a:p>
              <a:pPr algn="ctr">
                <a:lnSpc>
                  <a:spcPts val="1400"/>
                </a:lnSpc>
                <a:spcBef>
                  <a:spcPct val="0"/>
                </a:spcBef>
              </a:pPr>
              <a:r>
                <a:rPr lang="en-US" sz="1000" dirty="0">
                  <a:solidFill>
                    <a:srgbClr val="000000">
                      <a:alpha val="84706"/>
                    </a:srgbClr>
                  </a:solidFill>
                  <a:latin typeface="Times New Roman" panose="02020603050405020304" pitchFamily="18" charset="0"/>
                  <a:ea typeface="Alice"/>
                  <a:cs typeface="Times New Roman" panose="02020603050405020304" pitchFamily="18" charset="0"/>
                  <a:sym typeface="Alice"/>
                </a:rPr>
                <a:t>Assistant</a:t>
              </a:r>
            </a:p>
          </p:txBody>
        </p:sp>
      </p:grpSp>
      <p:grpSp>
        <p:nvGrpSpPr>
          <p:cNvPr id="87" name="Group 87"/>
          <p:cNvGrpSpPr/>
          <p:nvPr/>
        </p:nvGrpSpPr>
        <p:grpSpPr>
          <a:xfrm>
            <a:off x="5331796" y="5305030"/>
            <a:ext cx="1918417" cy="1283801"/>
            <a:chOff x="0" y="0"/>
            <a:chExt cx="3836834" cy="2567602"/>
          </a:xfrm>
        </p:grpSpPr>
        <p:grpSp>
          <p:nvGrpSpPr>
            <p:cNvPr id="88" name="Group 88"/>
            <p:cNvGrpSpPr/>
            <p:nvPr/>
          </p:nvGrpSpPr>
          <p:grpSpPr>
            <a:xfrm>
              <a:off x="871044" y="0"/>
              <a:ext cx="2140765" cy="2140757"/>
              <a:chOff x="0" y="0"/>
              <a:chExt cx="6350000" cy="6349975"/>
            </a:xfrm>
          </p:grpSpPr>
          <p:sp>
            <p:nvSpPr>
              <p:cNvPr id="89" name="Freeform 89"/>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3"/>
                <a:stretch>
                  <a:fillRect t="-6254" b="-6473"/>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90" name="TextBox 90"/>
            <p:cNvSpPr txBox="1"/>
            <p:nvPr/>
          </p:nvSpPr>
          <p:spPr>
            <a:xfrm>
              <a:off x="0" y="2239820"/>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MICHEL MATOS </a:t>
              </a:r>
            </a:p>
          </p:txBody>
        </p:sp>
      </p:grpSp>
      <p:grpSp>
        <p:nvGrpSpPr>
          <p:cNvPr id="91" name="Group 91"/>
          <p:cNvGrpSpPr/>
          <p:nvPr/>
        </p:nvGrpSpPr>
        <p:grpSpPr>
          <a:xfrm>
            <a:off x="6844724" y="5303945"/>
            <a:ext cx="1918417" cy="1283801"/>
            <a:chOff x="0" y="0"/>
            <a:chExt cx="3836834" cy="2567602"/>
          </a:xfrm>
        </p:grpSpPr>
        <p:grpSp>
          <p:nvGrpSpPr>
            <p:cNvPr id="92" name="Group 92"/>
            <p:cNvGrpSpPr/>
            <p:nvPr/>
          </p:nvGrpSpPr>
          <p:grpSpPr>
            <a:xfrm>
              <a:off x="871044" y="0"/>
              <a:ext cx="2140765" cy="2140757"/>
              <a:chOff x="0" y="0"/>
              <a:chExt cx="6350000" cy="6349975"/>
            </a:xfrm>
          </p:grpSpPr>
          <p:sp>
            <p:nvSpPr>
              <p:cNvPr id="93" name="Freeform 93"/>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4"/>
                <a:stretch>
                  <a:fillRect t="-3654" b="-3654"/>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94" name="TextBox 94"/>
            <p:cNvSpPr txBox="1"/>
            <p:nvPr/>
          </p:nvSpPr>
          <p:spPr>
            <a:xfrm>
              <a:off x="0" y="2239820"/>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HUMBERTO JUNIOR </a:t>
              </a:r>
            </a:p>
          </p:txBody>
        </p:sp>
      </p:grpSp>
      <p:grpSp>
        <p:nvGrpSpPr>
          <p:cNvPr id="95" name="Group 95"/>
          <p:cNvGrpSpPr/>
          <p:nvPr/>
        </p:nvGrpSpPr>
        <p:grpSpPr>
          <a:xfrm>
            <a:off x="8457116" y="5305030"/>
            <a:ext cx="1918417" cy="1283801"/>
            <a:chOff x="0" y="0"/>
            <a:chExt cx="3836834" cy="2567602"/>
          </a:xfrm>
        </p:grpSpPr>
        <p:grpSp>
          <p:nvGrpSpPr>
            <p:cNvPr id="96" name="Group 96"/>
            <p:cNvGrpSpPr/>
            <p:nvPr/>
          </p:nvGrpSpPr>
          <p:grpSpPr>
            <a:xfrm>
              <a:off x="871044" y="0"/>
              <a:ext cx="2140765" cy="2140757"/>
              <a:chOff x="0" y="0"/>
              <a:chExt cx="6350000" cy="6349975"/>
            </a:xfrm>
          </p:grpSpPr>
          <p:sp>
            <p:nvSpPr>
              <p:cNvPr id="97" name="Freeform 97"/>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5"/>
                <a:stretch>
                  <a:fillRect t="-7984" r="-16065" b="-8081"/>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98" name="TextBox 98"/>
            <p:cNvSpPr txBox="1"/>
            <p:nvPr/>
          </p:nvSpPr>
          <p:spPr>
            <a:xfrm>
              <a:off x="0" y="2239820"/>
              <a:ext cx="3836834" cy="327782"/>
            </a:xfrm>
            <a:prstGeom prst="rect">
              <a:avLst/>
            </a:prstGeom>
          </p:spPr>
          <p:txBody>
            <a:bodyPr lIns="0" tIns="0" rIns="0" bIns="0" rtlCol="0" anchor="t">
              <a:spAutoFit/>
            </a:bodyPr>
            <a:lstStyle/>
            <a:p>
              <a:pPr algn="ctr">
                <a:lnSpc>
                  <a:spcPts val="1400"/>
                </a:lnSpc>
                <a:spcBef>
                  <a:spcPct val="0"/>
                </a:spcBef>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ADAILTON SILVA</a:t>
              </a:r>
            </a:p>
          </p:txBody>
        </p:sp>
      </p:grpSp>
      <p:grpSp>
        <p:nvGrpSpPr>
          <p:cNvPr id="99" name="Group 99"/>
          <p:cNvGrpSpPr/>
          <p:nvPr/>
        </p:nvGrpSpPr>
        <p:grpSpPr>
          <a:xfrm>
            <a:off x="10111466" y="5305029"/>
            <a:ext cx="1918417" cy="1642874"/>
            <a:chOff x="0" y="0"/>
            <a:chExt cx="3836834" cy="3285748"/>
          </a:xfrm>
        </p:grpSpPr>
        <p:grpSp>
          <p:nvGrpSpPr>
            <p:cNvPr id="100" name="Group 100"/>
            <p:cNvGrpSpPr/>
            <p:nvPr/>
          </p:nvGrpSpPr>
          <p:grpSpPr>
            <a:xfrm>
              <a:off x="871044" y="0"/>
              <a:ext cx="2140765" cy="2140757"/>
              <a:chOff x="0" y="0"/>
              <a:chExt cx="6350000" cy="6349975"/>
            </a:xfrm>
          </p:grpSpPr>
          <p:sp>
            <p:nvSpPr>
              <p:cNvPr id="101" name="Freeform 101"/>
              <p:cNvSpPr/>
              <p:nvPr/>
            </p:nvSpPr>
            <p:spPr>
              <a:xfrm>
                <a:off x="0" y="0"/>
                <a:ext cx="6350000" cy="6349975"/>
              </a:xfrm>
              <a:custGeom>
                <a:avLst/>
                <a:gdLst/>
                <a:ahLst/>
                <a:cxnLst/>
                <a:rect l="l" t="t" r="r" b="b"/>
                <a:pathLst>
                  <a:path w="6350000" h="6349975">
                    <a:moveTo>
                      <a:pt x="6350000" y="3175025"/>
                    </a:moveTo>
                    <a:cubicBezTo>
                      <a:pt x="6350000" y="4928451"/>
                      <a:pt x="4928476" y="6349975"/>
                      <a:pt x="3175000" y="6349975"/>
                    </a:cubicBezTo>
                    <a:cubicBezTo>
                      <a:pt x="1421498" y="6349975"/>
                      <a:pt x="0" y="4928451"/>
                      <a:pt x="0" y="3175025"/>
                    </a:cubicBezTo>
                    <a:cubicBezTo>
                      <a:pt x="0" y="1421511"/>
                      <a:pt x="1421498" y="0"/>
                      <a:pt x="3175000" y="0"/>
                    </a:cubicBezTo>
                    <a:cubicBezTo>
                      <a:pt x="4928502" y="0"/>
                      <a:pt x="6350000" y="1421511"/>
                      <a:pt x="6350000" y="3175025"/>
                    </a:cubicBezTo>
                    <a:close/>
                  </a:path>
                </a:pathLst>
              </a:custGeom>
              <a:blipFill>
                <a:blip r:embed="rId26"/>
                <a:stretch>
                  <a:fillRect t="-974" b="-1176"/>
                </a:stretch>
              </a:blipFill>
            </p:spPr>
            <p:txBody>
              <a:bodyPr/>
              <a:lstStyle/>
              <a:p>
                <a:endParaRPr lang="pt-BR" sz="1200">
                  <a:latin typeface="Times New Roman" panose="02020603050405020304" pitchFamily="18" charset="0"/>
                  <a:cs typeface="Times New Roman" panose="02020603050405020304" pitchFamily="18" charset="0"/>
                </a:endParaRPr>
              </a:p>
            </p:txBody>
          </p:sp>
        </p:grpSp>
        <p:sp>
          <p:nvSpPr>
            <p:cNvPr id="102" name="TextBox 102"/>
            <p:cNvSpPr txBox="1"/>
            <p:nvPr/>
          </p:nvSpPr>
          <p:spPr>
            <a:xfrm>
              <a:off x="0" y="2239820"/>
              <a:ext cx="3836834" cy="1045928"/>
            </a:xfrm>
            <a:prstGeom prst="rect">
              <a:avLst/>
            </a:prstGeom>
          </p:spPr>
          <p:txBody>
            <a:bodyPr lIns="0" tIns="0" rIns="0" bIns="0" rtlCol="0" anchor="t">
              <a:spAutoFit/>
            </a:bodyPr>
            <a:lstStyle/>
            <a:p>
              <a:pPr algn="ctr">
                <a:lnSpc>
                  <a:spcPts val="1400"/>
                </a:lnSpc>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DIEGO SANTOS</a:t>
              </a:r>
            </a:p>
            <a:p>
              <a:pPr algn="ctr">
                <a:lnSpc>
                  <a:spcPts val="1400"/>
                </a:lnSpc>
              </a:pPr>
              <a:r>
                <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rPr>
                <a:t>Intern </a:t>
              </a:r>
            </a:p>
            <a:p>
              <a:pPr algn="ctr">
                <a:lnSpc>
                  <a:spcPts val="1400"/>
                </a:lnSpc>
                <a:spcBef>
                  <a:spcPct val="0"/>
                </a:spcBef>
              </a:pPr>
              <a:endParaRPr lang="en-US" sz="1000">
                <a:solidFill>
                  <a:srgbClr val="000000">
                    <a:alpha val="84706"/>
                  </a:srgbClr>
                </a:solidFill>
                <a:latin typeface="Times New Roman" panose="02020603050405020304" pitchFamily="18" charset="0"/>
                <a:ea typeface="Alice"/>
                <a:cs typeface="Times New Roman" panose="02020603050405020304" pitchFamily="18" charset="0"/>
                <a:sym typeface="Alice"/>
              </a:endParaRPr>
            </a:p>
          </p:txBody>
        </p:sp>
      </p:grpSp>
      <p:sp>
        <p:nvSpPr>
          <p:cNvPr id="103" name="TextBox 103"/>
          <p:cNvSpPr txBox="1"/>
          <p:nvPr/>
        </p:nvSpPr>
        <p:spPr>
          <a:xfrm rot="-5400000">
            <a:off x="-1037815" y="4983294"/>
            <a:ext cx="2654969" cy="179536"/>
          </a:xfrm>
          <a:prstGeom prst="rect">
            <a:avLst/>
          </a:prstGeom>
        </p:spPr>
        <p:txBody>
          <a:bodyPr lIns="0" tIns="0" rIns="0" bIns="0" rtlCol="0" anchor="t">
            <a:spAutoFit/>
          </a:bodyPr>
          <a:lstStyle/>
          <a:p>
            <a:pPr>
              <a:lnSpc>
                <a:spcPts val="1440"/>
              </a:lnSpc>
            </a:pPr>
            <a:r>
              <a:rPr lang="en-US" sz="1200">
                <a:solidFill>
                  <a:srgbClr val="FFFFFF"/>
                </a:solidFill>
                <a:latin typeface="Arimo"/>
                <a:ea typeface="Arimo"/>
                <a:cs typeface="Arimo"/>
                <a:sym typeface="Arimo"/>
              </a:rPr>
              <a:t>www.fit-tecnologia.org.br</a:t>
            </a:r>
          </a:p>
        </p:txBody>
      </p:sp>
      <p:sp>
        <p:nvSpPr>
          <p:cNvPr id="104" name="TextBox 104"/>
          <p:cNvSpPr txBox="1"/>
          <p:nvPr/>
        </p:nvSpPr>
        <p:spPr>
          <a:xfrm>
            <a:off x="581779" y="1131368"/>
            <a:ext cx="1160727" cy="246734"/>
          </a:xfrm>
          <a:prstGeom prst="rect">
            <a:avLst/>
          </a:prstGeom>
        </p:spPr>
        <p:txBody>
          <a:bodyPr lIns="0" tIns="0" rIns="0" bIns="0" rtlCol="0" anchor="t">
            <a:spAutoFit/>
          </a:bodyPr>
          <a:lstStyle/>
          <a:p>
            <a:pPr algn="ctr">
              <a:lnSpc>
                <a:spcPts val="2146"/>
              </a:lnSpc>
              <a:spcBef>
                <a:spcPct val="0"/>
              </a:spcBef>
            </a:pPr>
            <a:r>
              <a:rPr lang="en-US" sz="1533" dirty="0">
                <a:solidFill>
                  <a:srgbClr val="009ADD">
                    <a:alpha val="84706"/>
                  </a:srgbClr>
                </a:solidFill>
                <a:latin typeface="Times New Roman" panose="02020603050405020304" pitchFamily="18" charset="0"/>
                <a:ea typeface="Alice"/>
                <a:cs typeface="Times New Roman" panose="02020603050405020304" pitchFamily="18" charset="0"/>
                <a:sym typeface="Alice"/>
              </a:rPr>
              <a:t>Research </a:t>
            </a:r>
          </a:p>
        </p:txBody>
      </p:sp>
      <p:sp>
        <p:nvSpPr>
          <p:cNvPr id="105" name="TextBox 105"/>
          <p:cNvSpPr txBox="1"/>
          <p:nvPr/>
        </p:nvSpPr>
        <p:spPr>
          <a:xfrm>
            <a:off x="691465" y="2942624"/>
            <a:ext cx="786474" cy="246734"/>
          </a:xfrm>
          <a:prstGeom prst="rect">
            <a:avLst/>
          </a:prstGeom>
        </p:spPr>
        <p:txBody>
          <a:bodyPr lIns="0" tIns="0" rIns="0" bIns="0" rtlCol="0" anchor="t">
            <a:spAutoFit/>
          </a:bodyPr>
          <a:lstStyle/>
          <a:p>
            <a:pPr algn="ctr">
              <a:lnSpc>
                <a:spcPts val="2146"/>
              </a:lnSpc>
              <a:spcBef>
                <a:spcPct val="0"/>
              </a:spcBef>
            </a:pPr>
            <a:r>
              <a:rPr lang="en-US" sz="1533" dirty="0">
                <a:solidFill>
                  <a:srgbClr val="009ADD">
                    <a:alpha val="84706"/>
                  </a:srgbClr>
                </a:solidFill>
                <a:latin typeface="Times New Roman" panose="02020603050405020304" pitchFamily="18" charset="0"/>
                <a:ea typeface="Alice"/>
                <a:cs typeface="Times New Roman" panose="02020603050405020304" pitchFamily="18" charset="0"/>
                <a:sym typeface="Alice"/>
              </a:rPr>
              <a:t>Engineer</a:t>
            </a:r>
          </a:p>
        </p:txBody>
      </p:sp>
      <p:sp>
        <p:nvSpPr>
          <p:cNvPr id="106" name="TextBox 106"/>
          <p:cNvSpPr txBox="1"/>
          <p:nvPr/>
        </p:nvSpPr>
        <p:spPr>
          <a:xfrm>
            <a:off x="768839" y="4990935"/>
            <a:ext cx="786606" cy="246734"/>
          </a:xfrm>
          <a:prstGeom prst="rect">
            <a:avLst/>
          </a:prstGeom>
        </p:spPr>
        <p:txBody>
          <a:bodyPr lIns="0" tIns="0" rIns="0" bIns="0" rtlCol="0" anchor="t">
            <a:spAutoFit/>
          </a:bodyPr>
          <a:lstStyle/>
          <a:p>
            <a:pPr algn="ctr">
              <a:lnSpc>
                <a:spcPts val="2146"/>
              </a:lnSpc>
              <a:spcBef>
                <a:spcPct val="0"/>
              </a:spcBef>
            </a:pPr>
            <a:r>
              <a:rPr lang="en-US" sz="1533" dirty="0">
                <a:solidFill>
                  <a:srgbClr val="009ADD">
                    <a:alpha val="84706"/>
                  </a:srgbClr>
                </a:solidFill>
                <a:latin typeface="Times New Roman" panose="02020603050405020304" pitchFamily="18" charset="0"/>
                <a:ea typeface="Alice"/>
                <a:cs typeface="Times New Roman" panose="02020603050405020304" pitchFamily="18" charset="0"/>
                <a:sym typeface="Alice"/>
              </a:rPr>
              <a:t>Software</a:t>
            </a:r>
          </a:p>
        </p:txBody>
      </p:sp>
      <p:sp>
        <p:nvSpPr>
          <p:cNvPr id="107" name="TextBox 107"/>
          <p:cNvSpPr txBox="1"/>
          <p:nvPr/>
        </p:nvSpPr>
        <p:spPr>
          <a:xfrm>
            <a:off x="8131952" y="278754"/>
            <a:ext cx="1429147" cy="246734"/>
          </a:xfrm>
          <a:prstGeom prst="rect">
            <a:avLst/>
          </a:prstGeom>
        </p:spPr>
        <p:txBody>
          <a:bodyPr lIns="0" tIns="0" rIns="0" bIns="0" rtlCol="0" anchor="t">
            <a:spAutoFit/>
          </a:bodyPr>
          <a:lstStyle/>
          <a:p>
            <a:pPr algn="ctr">
              <a:lnSpc>
                <a:spcPts val="2146"/>
              </a:lnSpc>
              <a:spcBef>
                <a:spcPct val="0"/>
              </a:spcBef>
            </a:pPr>
            <a:r>
              <a:rPr lang="en-US" sz="1533" dirty="0">
                <a:solidFill>
                  <a:srgbClr val="009ADD">
                    <a:alpha val="84706"/>
                  </a:srgbClr>
                </a:solidFill>
                <a:latin typeface="Times New Roman" panose="02020603050405020304" pitchFamily="18" charset="0"/>
                <a:ea typeface="Alice"/>
                <a:cs typeface="Times New Roman" panose="02020603050405020304" pitchFamily="18" charset="0"/>
                <a:sym typeface="Alice"/>
              </a:rPr>
              <a:t>Technical leader</a:t>
            </a:r>
          </a:p>
        </p:txBody>
      </p:sp>
      <p:sp>
        <p:nvSpPr>
          <p:cNvPr id="108" name="TextBox 106">
            <a:extLst>
              <a:ext uri="{FF2B5EF4-FFF2-40B4-BE49-F238E27FC236}">
                <a16:creationId xmlns:a16="http://schemas.microsoft.com/office/drawing/2014/main" id="{D8ADF9D4-5AA8-4929-B3E2-870AE4E25FCE}"/>
              </a:ext>
            </a:extLst>
          </p:cNvPr>
          <p:cNvSpPr txBox="1"/>
          <p:nvPr/>
        </p:nvSpPr>
        <p:spPr>
          <a:xfrm>
            <a:off x="10111466" y="4968392"/>
            <a:ext cx="786606" cy="248017"/>
          </a:xfrm>
          <a:prstGeom prst="rect">
            <a:avLst/>
          </a:prstGeom>
        </p:spPr>
        <p:txBody>
          <a:bodyPr lIns="0" tIns="0" rIns="0" bIns="0" rtlCol="0" anchor="t">
            <a:spAutoFit/>
          </a:bodyPr>
          <a:lstStyle/>
          <a:p>
            <a:pPr algn="ctr">
              <a:lnSpc>
                <a:spcPts val="2146"/>
              </a:lnSpc>
              <a:spcBef>
                <a:spcPct val="0"/>
              </a:spcBef>
            </a:pPr>
            <a:r>
              <a:rPr lang="en-US" sz="1533" dirty="0">
                <a:solidFill>
                  <a:srgbClr val="009ADD">
                    <a:alpha val="84706"/>
                  </a:srgbClr>
                </a:solidFill>
                <a:latin typeface="Times New Roman" panose="02020603050405020304" pitchFamily="18" charset="0"/>
                <a:ea typeface="Alice"/>
                <a:cs typeface="Times New Roman" panose="02020603050405020304" pitchFamily="18" charset="0"/>
                <a:sym typeface="Alice"/>
              </a:rPr>
              <a:t>Intern</a:t>
            </a: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E92D66-FFAB-DA70-30D4-8E39ACB010A9}"/>
              </a:ext>
            </a:extLst>
          </p:cNvPr>
          <p:cNvSpPr>
            <a:spLocks noGrp="1"/>
          </p:cNvSpPr>
          <p:nvPr>
            <p:ph type="body" sz="quarter" idx="11"/>
          </p:nvPr>
        </p:nvSpPr>
        <p:spPr/>
        <p:txBody>
          <a:bodyPr/>
          <a:lstStyle/>
          <a:p>
            <a:r>
              <a:rPr lang="pt-BR" dirty="0"/>
              <a:t>4</a:t>
            </a:r>
          </a:p>
        </p:txBody>
      </p:sp>
      <p:sp>
        <p:nvSpPr>
          <p:cNvPr id="5" name="Text Placeholder 4">
            <a:extLst>
              <a:ext uri="{FF2B5EF4-FFF2-40B4-BE49-F238E27FC236}">
                <a16:creationId xmlns:a16="http://schemas.microsoft.com/office/drawing/2014/main" id="{14EE278B-E622-92E6-3332-1449A9EC8EC6}"/>
              </a:ext>
            </a:extLst>
          </p:cNvPr>
          <p:cNvSpPr>
            <a:spLocks noGrp="1"/>
          </p:cNvSpPr>
          <p:nvPr>
            <p:ph type="body" sz="quarter" idx="12"/>
          </p:nvPr>
        </p:nvSpPr>
        <p:spPr>
          <a:xfrm>
            <a:off x="6498454" y="2582569"/>
            <a:ext cx="5358584" cy="754356"/>
          </a:xfrm>
        </p:spPr>
        <p:txBody>
          <a:bodyPr/>
          <a:lstStyle/>
          <a:p>
            <a:r>
              <a:rPr lang="pt-BR" dirty="0"/>
              <a:t>Our Know-How</a:t>
            </a:r>
          </a:p>
        </p:txBody>
      </p:sp>
    </p:spTree>
    <p:extLst>
      <p:ext uri="{BB962C8B-B14F-4D97-AF65-F5344CB8AC3E}">
        <p14:creationId xmlns:p14="http://schemas.microsoft.com/office/powerpoint/2010/main" val="3794675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D.GujWrBz.tUfMtNcqt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D.GujWrBz.tUfMtNcqt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T2i.0c_jsS3.1MIHLy7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nKYFFrOSdaLLH8riMeU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GNOREPOSITION"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CiZkEg8xwSE8wd2.iIJ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10.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9BDA"/>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latin typeface="Arial"/>
            <a:cs typeface="Arial"/>
          </a:defRPr>
        </a:defPPr>
      </a:lstStyle>
    </a:txDef>
  </a:objectDefaults>
  <a:extraClrSchemeLst/>
</a:theme>
</file>

<file path=ppt/theme/theme11.xml><?xml version="1.0" encoding="utf-8"?>
<a:theme xmlns:a="http://schemas.openxmlformats.org/drawingml/2006/main" name="18_Flex - Light 2020 Template">
  <a:themeElements>
    <a:clrScheme name="Flex 2020">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F1B52C"/>
      </a:accent5>
      <a:accent6>
        <a:srgbClr val="CE6D28"/>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Fuschia">
      <a:srgbClr val="B9247C"/>
    </a:custClr>
    <a:custClr name="Dark Fuschia">
      <a:srgbClr val="7F1D5E"/>
    </a:custClr>
  </a:custClrLst>
  <a:extLst>
    <a:ext uri="{05A4C25C-085E-4340-85A3-A5531E510DB2}">
      <thm15:themeFamily xmlns:thm15="http://schemas.microsoft.com/office/thememl/2012/main" name="1_Flex Template 2020" id="{8DF2165D-458E-4230-9248-837C3DF81159}" vid="{EB779456-C802-48B3-8A80-C66EF3A77C33}"/>
    </a:ext>
  </a:extLst>
</a:theme>
</file>

<file path=ppt/theme/theme12.xml><?xml version="1.0" encoding="utf-8"?>
<a:theme xmlns:a="http://schemas.openxmlformats.org/drawingml/2006/main" name="1_Flex_template_3.0">
  <a:themeElements>
    <a:clrScheme name="Custom 2">
      <a:dk1>
        <a:srgbClr val="777779"/>
      </a:dk1>
      <a:lt1>
        <a:srgbClr val="009ADD"/>
      </a:lt1>
      <a:dk2>
        <a:srgbClr val="000000"/>
      </a:dk2>
      <a:lt2>
        <a:srgbClr val="FFFFFF"/>
      </a:lt2>
      <a:accent1>
        <a:srgbClr val="005486"/>
      </a:accent1>
      <a:accent2>
        <a:srgbClr val="9E1B64"/>
      </a:accent2>
      <a:accent3>
        <a:srgbClr val="D03238"/>
      </a:accent3>
      <a:accent4>
        <a:srgbClr val="F58021"/>
      </a:accent4>
      <a:accent5>
        <a:srgbClr val="F9C20A"/>
      </a:accent5>
      <a:accent6>
        <a:srgbClr val="82BC00"/>
      </a:accent6>
      <a:hlink>
        <a:srgbClr val="777779"/>
      </a:hlink>
      <a:folHlink>
        <a:srgbClr val="6A478D"/>
      </a:folHlink>
    </a:clrScheme>
    <a:fontScheme name="Custom 6">
      <a:majorFont>
        <a:latin typeface="ITC Avant Garde Pro Md"/>
        <a:ea typeface=""/>
        <a:cs typeface=""/>
      </a:majorFont>
      <a:minorFont>
        <a:latin typeface="ITC Avant Garde Pro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Flex_Template.pptx" id="{05664F35-B0EE-45C0-9F97-B0914ACEBB1D}" vid="{DA1DF668-EEED-4BA6-AE39-A5683F28F857}"/>
    </a:ext>
  </a:extLst>
</a:theme>
</file>

<file path=ppt/theme/theme13.xml><?xml version="1.0" encoding="utf-8"?>
<a:theme xmlns:a="http://schemas.openxmlformats.org/drawingml/2006/main" name="3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14.xml><?xml version="1.0" encoding="utf-8"?>
<a:theme xmlns:a="http://schemas.openxmlformats.org/drawingml/2006/main" name="33_Flex - Light 2020 Template">
  <a:themeElements>
    <a:clrScheme name="Flex 2020">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F1B52C"/>
      </a:accent5>
      <a:accent6>
        <a:srgbClr val="CE6D28"/>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Fuschia">
      <a:srgbClr val="B9247C"/>
    </a:custClr>
    <a:custClr name="Dark Fuschia">
      <a:srgbClr val="7F1D5E"/>
    </a:custClr>
  </a:custClrLst>
  <a:extLst>
    <a:ext uri="{05A4C25C-085E-4340-85A3-A5531E510DB2}">
      <thm15:themeFamily xmlns:thm15="http://schemas.microsoft.com/office/thememl/2012/main" name="1_Flex Template 2020" id="{8DF2165D-458E-4230-9248-837C3DF81159}" vid="{EB779456-C802-48B3-8A80-C66EF3A77C33}"/>
    </a:ext>
  </a:extLst>
</a:theme>
</file>

<file path=ppt/theme/theme15.xml><?xml version="1.0" encoding="utf-8"?>
<a:theme xmlns:a="http://schemas.openxmlformats.org/drawingml/2006/main" name="4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16.xml><?xml version="1.0" encoding="utf-8"?>
<a:theme xmlns:a="http://schemas.openxmlformats.org/drawingml/2006/main" name="34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17.xml><?xml version="1.0" encoding="utf-8"?>
<a:theme xmlns:a="http://schemas.openxmlformats.org/drawingml/2006/main" name="37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18.xml><?xml version="1.0" encoding="utf-8"?>
<a:theme xmlns:a="http://schemas.openxmlformats.org/drawingml/2006/main" name="32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19.xml><?xml version="1.0" encoding="utf-8"?>
<a:theme xmlns:a="http://schemas.openxmlformats.org/drawingml/2006/main" name="Tema Livre Imagens">
  <a:themeElements>
    <a:clrScheme name="Personalizada 3">
      <a:dk1>
        <a:srgbClr val="313847"/>
      </a:dk1>
      <a:lt1>
        <a:srgbClr val="FFFFFF"/>
      </a:lt1>
      <a:dk2>
        <a:srgbClr val="313847"/>
      </a:dk2>
      <a:lt2>
        <a:srgbClr val="FFFFFF"/>
      </a:lt2>
      <a:accent1>
        <a:srgbClr val="006D93"/>
      </a:accent1>
      <a:accent2>
        <a:srgbClr val="ED7D31"/>
      </a:accent2>
      <a:accent3>
        <a:srgbClr val="B6ECFF"/>
      </a:accent3>
      <a:accent4>
        <a:srgbClr val="FFC000"/>
      </a:accent4>
      <a:accent5>
        <a:srgbClr val="74BDE1"/>
      </a:accent5>
      <a:accent6>
        <a:srgbClr val="8DC44B"/>
      </a:accent6>
      <a:hlink>
        <a:srgbClr val="00B0F0"/>
      </a:hlink>
      <a:folHlink>
        <a:srgbClr val="7030A0"/>
      </a:folHlink>
    </a:clrScheme>
    <a:fontScheme name="Personalizada 2">
      <a:majorFont>
        <a:latin typeface="Montserrat Medium"/>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_Flex - Light 2020 Template">
  <a:themeElements>
    <a:clrScheme name="Flex 2020">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F1B52C"/>
      </a:accent5>
      <a:accent6>
        <a:srgbClr val="CE6D28"/>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Fuschia">
      <a:srgbClr val="B9247C"/>
    </a:custClr>
    <a:custClr name="Dark Fuschia">
      <a:srgbClr val="7F1D5E"/>
    </a:custClr>
  </a:custClrLst>
  <a:extLst>
    <a:ext uri="{05A4C25C-085E-4340-85A3-A5531E510DB2}">
      <thm15:themeFamily xmlns:thm15="http://schemas.microsoft.com/office/thememl/2012/main" name="1_Flex Template 2020" id="{8DF2165D-458E-4230-9248-837C3DF81159}" vid="{EB779456-C802-48B3-8A80-C66EF3A77C33}"/>
    </a:ext>
  </a:extLst>
</a:theme>
</file>

<file path=ppt/theme/theme20.xml><?xml version="1.0" encoding="utf-8"?>
<a:theme xmlns:a="http://schemas.openxmlformats.org/drawingml/2006/main" name="FIT Oficial Template">
  <a:themeElements>
    <a:clrScheme name="Custom 1">
      <a:dk1>
        <a:srgbClr val="000532"/>
      </a:dk1>
      <a:lt1>
        <a:sysClr val="window" lastClr="FFFFFF"/>
      </a:lt1>
      <a:dk2>
        <a:srgbClr val="000532"/>
      </a:dk2>
      <a:lt2>
        <a:srgbClr val="E9ECF4"/>
      </a:lt2>
      <a:accent1>
        <a:srgbClr val="009ADD"/>
      </a:accent1>
      <a:accent2>
        <a:srgbClr val="00BC29"/>
      </a:accent2>
      <a:accent3>
        <a:srgbClr val="E02B86"/>
      </a:accent3>
      <a:accent4>
        <a:srgbClr val="F9C111"/>
      </a:accent4>
      <a:accent5>
        <a:srgbClr val="DF1B1B"/>
      </a:accent5>
      <a:accent6>
        <a:srgbClr val="F9620C"/>
      </a:accent6>
      <a:hlink>
        <a:srgbClr val="009ADD"/>
      </a:hlink>
      <a:folHlink>
        <a:srgbClr val="E02B86"/>
      </a:folHlink>
    </a:clrScheme>
    <a:fontScheme name="Tipografia FIT 2022">
      <a:majorFont>
        <a:latin typeface="Gill Sans MT"/>
        <a:ea typeface=""/>
        <a:cs typeface=""/>
      </a:majorFont>
      <a:minorFont>
        <a:latin typeface="Abadi MT Pro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537EA57-5772-4797-BFC3-1B4699DC05C3}" vid="{89CE8D9D-EA09-4D93-8DE6-36B235043E0C}"/>
    </a:ext>
  </a:extLst>
</a:theme>
</file>

<file path=ppt/theme/theme21.xml><?xml version="1.0" encoding="utf-8"?>
<a:theme xmlns:a="http://schemas.openxmlformats.org/drawingml/2006/main" name="1_Tema Livre Imagens">
  <a:themeElements>
    <a:clrScheme name="Personalizada 3">
      <a:dk1>
        <a:srgbClr val="313847"/>
      </a:dk1>
      <a:lt1>
        <a:srgbClr val="FFFFFF"/>
      </a:lt1>
      <a:dk2>
        <a:srgbClr val="313847"/>
      </a:dk2>
      <a:lt2>
        <a:srgbClr val="FFFFFF"/>
      </a:lt2>
      <a:accent1>
        <a:srgbClr val="006D93"/>
      </a:accent1>
      <a:accent2>
        <a:srgbClr val="ED7D31"/>
      </a:accent2>
      <a:accent3>
        <a:srgbClr val="B6ECFF"/>
      </a:accent3>
      <a:accent4>
        <a:srgbClr val="FFC000"/>
      </a:accent4>
      <a:accent5>
        <a:srgbClr val="74BDE1"/>
      </a:accent5>
      <a:accent6>
        <a:srgbClr val="8DC44B"/>
      </a:accent6>
      <a:hlink>
        <a:srgbClr val="00B0F0"/>
      </a:hlink>
      <a:folHlink>
        <a:srgbClr val="7030A0"/>
      </a:folHlink>
    </a:clrScheme>
    <a:fontScheme name="Personalizada 2">
      <a:majorFont>
        <a:latin typeface="Montserrat Medium"/>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_Tema Livre Imagens">
  <a:themeElements>
    <a:clrScheme name="Personalizada 3">
      <a:dk1>
        <a:srgbClr val="313847"/>
      </a:dk1>
      <a:lt1>
        <a:srgbClr val="FFFFFF"/>
      </a:lt1>
      <a:dk2>
        <a:srgbClr val="313847"/>
      </a:dk2>
      <a:lt2>
        <a:srgbClr val="FFFFFF"/>
      </a:lt2>
      <a:accent1>
        <a:srgbClr val="006D93"/>
      </a:accent1>
      <a:accent2>
        <a:srgbClr val="ED7D31"/>
      </a:accent2>
      <a:accent3>
        <a:srgbClr val="B6ECFF"/>
      </a:accent3>
      <a:accent4>
        <a:srgbClr val="FFC000"/>
      </a:accent4>
      <a:accent5>
        <a:srgbClr val="74BDE1"/>
      </a:accent5>
      <a:accent6>
        <a:srgbClr val="8DC44B"/>
      </a:accent6>
      <a:hlink>
        <a:srgbClr val="00B0F0"/>
      </a:hlink>
      <a:folHlink>
        <a:srgbClr val="7030A0"/>
      </a:folHlink>
    </a:clrScheme>
    <a:fontScheme name="Personalizada 2">
      <a:majorFont>
        <a:latin typeface="Montserrat Medium"/>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4.xml><?xml version="1.0" encoding="utf-8"?>
<a:theme xmlns:a="http://schemas.openxmlformats.org/drawingml/2006/main" name="25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5.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09BDA"/>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latin typeface="Arial"/>
            <a:cs typeface="Arial"/>
          </a:defRPr>
        </a:defPPr>
      </a:lstStyle>
    </a:txDef>
  </a:objectDefaults>
  <a:extraClrSchemeLst/>
</a:theme>
</file>

<file path=ppt/theme/theme6.xml><?xml version="1.0" encoding="utf-8"?>
<a:theme xmlns:a="http://schemas.openxmlformats.org/drawingml/2006/main" name="15_Flex - Light 2020 Template">
  <a:themeElements>
    <a:clrScheme name="Flex 2020">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F1B52C"/>
      </a:accent5>
      <a:accent6>
        <a:srgbClr val="CE6D28"/>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Fuschia">
      <a:srgbClr val="B9247C"/>
    </a:custClr>
    <a:custClr name="Dark Fuschia">
      <a:srgbClr val="7F1D5E"/>
    </a:custClr>
  </a:custClrLst>
  <a:extLst>
    <a:ext uri="{05A4C25C-085E-4340-85A3-A5531E510DB2}">
      <thm15:themeFamily xmlns:thm15="http://schemas.microsoft.com/office/thememl/2012/main" name="1_Flex Template 2020" id="{8DF2165D-458E-4230-9248-837C3DF81159}" vid="{EB779456-C802-48B3-8A80-C66EF3A77C33}"/>
    </a:ext>
  </a:extLst>
</a:theme>
</file>

<file path=ppt/theme/theme7.xml><?xml version="1.0" encoding="utf-8"?>
<a:theme xmlns:a="http://schemas.openxmlformats.org/drawingml/2006/main" name="Flex - Light 2022 Template">
  <a:themeElements>
    <a:clrScheme name="Flex Colors">
      <a:dk1>
        <a:srgbClr val="262626"/>
      </a:dk1>
      <a:lt1>
        <a:srgbClr val="FFFFFF"/>
      </a:lt1>
      <a:dk2>
        <a:srgbClr val="949494"/>
      </a:dk2>
      <a:lt2>
        <a:srgbClr val="F3F3F3"/>
      </a:lt2>
      <a:accent1>
        <a:srgbClr val="005486"/>
      </a:accent1>
      <a:accent2>
        <a:srgbClr val="009ADD"/>
      </a:accent2>
      <a:accent3>
        <a:srgbClr val="82BC00"/>
      </a:accent3>
      <a:accent4>
        <a:srgbClr val="006432"/>
      </a:accent4>
      <a:accent5>
        <a:srgbClr val="BA257D"/>
      </a:accent5>
      <a:accent6>
        <a:srgbClr val="7F1E54"/>
      </a:accent6>
      <a:hlink>
        <a:srgbClr val="009ADD"/>
      </a:hlink>
      <a:folHlink>
        <a:srgbClr val="0054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sz="2400" dirty="0">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PowerPoint Template_ Light" id="{499611FE-C25B-4A94-B4D0-F8433C7B91CF}" vid="{F37EEA41-5AB8-46F7-85CE-2915403D2A27}"/>
    </a:ext>
  </a:extLst>
</a:theme>
</file>

<file path=ppt/theme/theme8.xml><?xml version="1.0" encoding="utf-8"?>
<a:theme xmlns:a="http://schemas.openxmlformats.org/drawingml/2006/main" name="2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ppt/theme/theme9.xml><?xml version="1.0" encoding="utf-8"?>
<a:theme xmlns:a="http://schemas.openxmlformats.org/drawingml/2006/main" name="27_Flex - Light 2020 Template">
  <a:themeElements>
    <a:clrScheme name="Custom 3">
      <a:dk1>
        <a:srgbClr val="333333"/>
      </a:dk1>
      <a:lt1>
        <a:srgbClr val="FFFFFF"/>
      </a:lt1>
      <a:dk2>
        <a:srgbClr val="949494"/>
      </a:dk2>
      <a:lt2>
        <a:srgbClr val="DEDEDE"/>
      </a:lt2>
      <a:accent1>
        <a:srgbClr val="005386"/>
      </a:accent1>
      <a:accent2>
        <a:srgbClr val="0099DD"/>
      </a:accent2>
      <a:accent3>
        <a:srgbClr val="82BC00"/>
      </a:accent3>
      <a:accent4>
        <a:srgbClr val="006332"/>
      </a:accent4>
      <a:accent5>
        <a:srgbClr val="BA247D"/>
      </a:accent5>
      <a:accent6>
        <a:srgbClr val="7F1E5E"/>
      </a:accent6>
      <a:hlink>
        <a:srgbClr val="0099DD"/>
      </a:hlink>
      <a:folHlink>
        <a:srgbClr val="005386"/>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0000">
              <a:schemeClr val="accent2">
                <a:lumMod val="80000"/>
              </a:schemeClr>
            </a:gs>
            <a:gs pos="100000">
              <a:schemeClr val="accent2"/>
            </a:gs>
            <a:gs pos="0">
              <a:schemeClr val="accent1"/>
            </a:gs>
          </a:gsLst>
          <a:lin ang="2700000" scaled="1"/>
        </a:gradFill>
        <a:ln>
          <a:noFill/>
        </a:ln>
        <a:effectLst/>
      </a:spPr>
      <a:bodyPr rtlCol="0" anchor="ctr"/>
      <a:lstStyle>
        <a:defPPr algn="ctr">
          <a:defRPr>
            <a:solidFill>
              <a:schemeClr val="lt1"/>
            </a:solidFill>
          </a:defRPr>
        </a:defPPr>
      </a:lstStyle>
      <a:style>
        <a:lnRef idx="1">
          <a:schemeClr val="accent1"/>
        </a:lnRef>
        <a:fillRef idx="3">
          <a:schemeClr val="accent1"/>
        </a:fillRef>
        <a:effectRef idx="2">
          <a:schemeClr val="accent1"/>
        </a:effectRef>
        <a:fontRef idx="minor">
          <a:schemeClr val="lt1"/>
        </a:fontRef>
      </a:style>
    </a:spDef>
    <a:lnDef>
      <a:spPr>
        <a:ln w="28575">
          <a:solidFill>
            <a:schemeClr val="tx1">
              <a:lumMod val="20000"/>
              <a:lumOff val="8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400" dirty="0" smtClean="0"/>
        </a:defPPr>
      </a:lstStyle>
    </a:txDef>
  </a:objectDefaults>
  <a:extraClrSchemeLst/>
  <a:custClrLst>
    <a:custClr name="Gold">
      <a:srgbClr val="F1B52C"/>
    </a:custClr>
    <a:custClr name="Dark Gold">
      <a:srgbClr val="CE6D28"/>
    </a:custClr>
  </a:custClrLst>
  <a:extLst>
    <a:ext uri="{05A4C25C-085E-4340-85A3-A5531E510DB2}">
      <thm15:themeFamily xmlns:thm15="http://schemas.microsoft.com/office/thememl/2012/main" name="Flex_PowerPoint_Light Template_02.pptx" id="{1695BFC0-3F7A-4820-9526-7ADBA0AD2ED4}" vid="{C3AA712B-B16B-45E6-977B-0AFE0402965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9f28b28-9232-4a4a-9769-1eaa520f7807" xsi:nil="true"/>
    <Titulo xmlns="fde9991f-d5e2-45b6-82f7-54071d68d3eb" xsi:nil="true"/>
    <lcf76f155ced4ddcb4097134ff3c332f xmlns="fde9991f-d5e2-45b6-82f7-54071d68d3eb">
      <Terms xmlns="http://schemas.microsoft.com/office/infopath/2007/PartnerControls"/>
    </lcf76f155ced4ddcb4097134ff3c332f>
    <_Flow_SignoffStatus xmlns="fde9991f-d5e2-45b6-82f7-54071d68d3e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2832933ED81B540BA2FD282AF5C5266" ma:contentTypeVersion="17" ma:contentTypeDescription="Create a new document." ma:contentTypeScope="" ma:versionID="848566e00d6061f5055d648855628837">
  <xsd:schema xmlns:xsd="http://www.w3.org/2001/XMLSchema" xmlns:xs="http://www.w3.org/2001/XMLSchema" xmlns:p="http://schemas.microsoft.com/office/2006/metadata/properties" xmlns:ns2="fde9991f-d5e2-45b6-82f7-54071d68d3eb" xmlns:ns3="99f28b28-9232-4a4a-9769-1eaa520f7807" targetNamespace="http://schemas.microsoft.com/office/2006/metadata/properties" ma:root="true" ma:fieldsID="d886f9a9f87a504d7c138f407085b017" ns2:_="" ns3:_="">
    <xsd:import namespace="fde9991f-d5e2-45b6-82f7-54071d68d3eb"/>
    <xsd:import namespace="99f28b28-9232-4a4a-9769-1eaa520f780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Titulo" minOccurs="0"/>
                <xsd:element ref="ns2:_Flow_SignoffStatus" minOccurs="0"/>
                <xsd:element ref="ns2:MediaServiceDateTaken" minOccurs="0"/>
                <xsd:element ref="ns2:MediaLengthInSecond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e9991f-d5e2-45b6-82f7-54071d68d3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80102068-9c90-4286-99c1-cd9f6fbf3451"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Titulo" ma:index="19" nillable="true" ma:displayName="Titulo" ma:format="Dropdown" ma:internalName="Titulo">
      <xsd:simpleType>
        <xsd:restriction base="dms:Text">
          <xsd:maxLength value="255"/>
        </xsd:restriction>
      </xsd:simpleType>
    </xsd:element>
    <xsd:element name="_Flow_SignoffStatus" ma:index="20" nillable="true" ma:displayName="Sign-off status" ma:internalName="Sign_x002d_off_x0020_status">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9f28b28-9232-4a4a-9769-1eaa520f7807"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c4e5d6c-f033-48a6-8506-5aaadb8fc29b}" ma:internalName="TaxCatchAll" ma:showField="CatchAllData" ma:web="99f28b28-9232-4a4a-9769-1eaa520f7807">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25BB90-5364-4888-B6BF-377BF4957336}">
  <ds:schemaRefs>
    <ds:schemaRef ds:uri="http://schemas.microsoft.com/sharepoint/v3/contenttype/forms"/>
  </ds:schemaRefs>
</ds:datastoreItem>
</file>

<file path=customXml/itemProps2.xml><?xml version="1.0" encoding="utf-8"?>
<ds:datastoreItem xmlns:ds="http://schemas.openxmlformats.org/officeDocument/2006/customXml" ds:itemID="{E37DC70D-BB27-4AEE-8089-3DABF4ED210E}">
  <ds:schemaRefs>
    <ds:schemaRef ds:uri="http://schemas.microsoft.com/office/2006/metadata/properties"/>
    <ds:schemaRef ds:uri="http://schemas.microsoft.com/office/infopath/2007/PartnerControls"/>
    <ds:schemaRef ds:uri="99f28b28-9232-4a4a-9769-1eaa520f7807"/>
    <ds:schemaRef ds:uri="fde9991f-d5e2-45b6-82f7-54071d68d3eb"/>
  </ds:schemaRefs>
</ds:datastoreItem>
</file>

<file path=customXml/itemProps3.xml><?xml version="1.0" encoding="utf-8"?>
<ds:datastoreItem xmlns:ds="http://schemas.openxmlformats.org/officeDocument/2006/customXml" ds:itemID="{9A259E87-A284-45D5-B124-C638323974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e9991f-d5e2-45b6-82f7-54071d68d3eb"/>
    <ds:schemaRef ds:uri="99f28b28-9232-4a4a-9769-1eaa520f78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071</TotalTime>
  <Words>747</Words>
  <Application>Microsoft Office PowerPoint</Application>
  <PresentationFormat>Widescreen</PresentationFormat>
  <Paragraphs>150</Paragraphs>
  <Slides>21</Slides>
  <Notes>2</Notes>
  <HiddenSlides>0</HiddenSlides>
  <MMClips>0</MMClips>
  <ScaleCrop>false</ScaleCrop>
  <HeadingPairs>
    <vt:vector size="8" baseType="variant">
      <vt:variant>
        <vt:lpstr>Fonts Used</vt:lpstr>
      </vt:variant>
      <vt:variant>
        <vt:i4>18</vt:i4>
      </vt:variant>
      <vt:variant>
        <vt:lpstr>Theme</vt:lpstr>
      </vt:variant>
      <vt:variant>
        <vt:i4>22</vt:i4>
      </vt:variant>
      <vt:variant>
        <vt:lpstr>Embedded OLE Servers</vt:lpstr>
      </vt:variant>
      <vt:variant>
        <vt:i4>1</vt:i4>
      </vt:variant>
      <vt:variant>
        <vt:lpstr>Slide Titles</vt:lpstr>
      </vt:variant>
      <vt:variant>
        <vt:i4>21</vt:i4>
      </vt:variant>
    </vt:vector>
  </HeadingPairs>
  <TitlesOfParts>
    <vt:vector size="62" baseType="lpstr">
      <vt:lpstr>Abadi MT Pro Light</vt:lpstr>
      <vt:lpstr>Arial</vt:lpstr>
      <vt:lpstr>Arimo</vt:lpstr>
      <vt:lpstr>Calibri</vt:lpstr>
      <vt:lpstr>Century Gothic</vt:lpstr>
      <vt:lpstr>Courier New</vt:lpstr>
      <vt:lpstr>Gill Sans MT</vt:lpstr>
      <vt:lpstr>Helvetica Neue Light</vt:lpstr>
      <vt:lpstr>HP Simplified</vt:lpstr>
      <vt:lpstr>ITC Avant Garde Pro Bk</vt:lpstr>
      <vt:lpstr>ITC Avant Garde Pro Md</vt:lpstr>
      <vt:lpstr>Montserrat</vt:lpstr>
      <vt:lpstr>Montserrat Light</vt:lpstr>
      <vt:lpstr>Montserrat Medium</vt:lpstr>
      <vt:lpstr>Rounded Elegance</vt:lpstr>
      <vt:lpstr>Times New Roman</vt:lpstr>
      <vt:lpstr>TT Smalls Bold</vt:lpstr>
      <vt:lpstr>Verdana</vt:lpstr>
      <vt:lpstr>5_Flex - Light 2020 Template</vt:lpstr>
      <vt:lpstr>16_Flex - Light 2020 Template</vt:lpstr>
      <vt:lpstr>6_Flex - Light 2020 Template</vt:lpstr>
      <vt:lpstr>25_Flex - Light 2020 Template</vt:lpstr>
      <vt:lpstr>8_Custom Design</vt:lpstr>
      <vt:lpstr>15_Flex - Light 2020 Template</vt:lpstr>
      <vt:lpstr>Flex - Light 2022 Template</vt:lpstr>
      <vt:lpstr>2_Flex - Light 2020 Template</vt:lpstr>
      <vt:lpstr>27_Flex - Light 2020 Template</vt:lpstr>
      <vt:lpstr>7_Custom Design</vt:lpstr>
      <vt:lpstr>18_Flex - Light 2020 Template</vt:lpstr>
      <vt:lpstr>1_Flex_template_3.0</vt:lpstr>
      <vt:lpstr>3_Flex - Light 2020 Template</vt:lpstr>
      <vt:lpstr>33_Flex - Light 2020 Template</vt:lpstr>
      <vt:lpstr>4_Flex - Light 2020 Template</vt:lpstr>
      <vt:lpstr>34_Flex - Light 2020 Template</vt:lpstr>
      <vt:lpstr>37_Flex - Light 2020 Template</vt:lpstr>
      <vt:lpstr>32_Flex - Light 2020 Template</vt:lpstr>
      <vt:lpstr>Tema Livre Imagens</vt:lpstr>
      <vt:lpstr>FIT Oficial Template</vt:lpstr>
      <vt:lpstr>1_Tema Livre Imagens</vt:lpstr>
      <vt:lpstr>2_Tema Livre Imagens</vt:lpstr>
      <vt:lpstr>think-cell Slide</vt:lpstr>
      <vt:lpstr>PowerPoint Presentation</vt:lpstr>
      <vt:lpstr>Standard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SG</vt:lpstr>
      <vt:lpstr>PowerPoint Presentation</vt:lpstr>
      <vt:lpstr>D4CE of Packaging </vt:lpstr>
      <vt:lpstr>D4CE of Products 
</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stavo Cardoso</dc:creator>
  <cp:lastModifiedBy>Isabel Dinola</cp:lastModifiedBy>
  <cp:revision>504</cp:revision>
  <dcterms:created xsi:type="dcterms:W3CDTF">2022-05-17T12:26:12Z</dcterms:created>
  <dcterms:modified xsi:type="dcterms:W3CDTF">2024-09-30T14:4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832933ED81B540BA2FD282AF5C5266</vt:lpwstr>
  </property>
  <property fmtid="{D5CDD505-2E9C-101B-9397-08002B2CF9AE}" pid="3" name="MediaServiceImageTags">
    <vt:lpwstr/>
  </property>
</Properties>
</file>